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1094" r:id="rId2"/>
    <p:sldId id="6803" r:id="rId3"/>
    <p:sldId id="410" r:id="rId4"/>
    <p:sldId id="6804" r:id="rId5"/>
    <p:sldId id="6721" r:id="rId6"/>
    <p:sldId id="6807" r:id="rId7"/>
    <p:sldId id="367" r:id="rId8"/>
    <p:sldId id="6806" r:id="rId9"/>
    <p:sldId id="356" r:id="rId10"/>
    <p:sldId id="599" r:id="rId11"/>
    <p:sldId id="1039" r:id="rId12"/>
    <p:sldId id="418" r:id="rId13"/>
    <p:sldId id="404" r:id="rId14"/>
    <p:sldId id="400" r:id="rId15"/>
    <p:sldId id="1018" r:id="rId16"/>
    <p:sldId id="1085" r:id="rId17"/>
    <p:sldId id="409" r:id="rId18"/>
    <p:sldId id="597" r:id="rId19"/>
    <p:sldId id="260" r:id="rId20"/>
  </p:sldIdLst>
  <p:sldSz cx="12190413" cy="6858000"/>
  <p:notesSz cx="7315200" cy="9601200"/>
  <p:embeddedFontLst>
    <p:embeddedFont>
      <p:font typeface="ABBvoice" panose="020B0604020202020204" charset="0"/>
      <p:regular r:id="rId23"/>
      <p:bold r:id="rId24"/>
    </p:embeddedFont>
    <p:embeddedFont>
      <p:font typeface="ABBvoiceOffice" panose="020D0603020503020204" pitchFamily="34" charset="0"/>
      <p:regular r:id="rId25"/>
      <p:bold r:id="rId26"/>
    </p:embeddedFont>
  </p:embeddedFontLst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46">
          <p15:clr>
            <a:srgbClr val="A4A3A4"/>
          </p15:clr>
        </p15:guide>
        <p15:guide id="2" orient="horz" pos="3726">
          <p15:clr>
            <a:srgbClr val="A4A3A4"/>
          </p15:clr>
        </p15:guide>
        <p15:guide id="3" orient="horz" pos="436" userDrawn="1">
          <p15:clr>
            <a:srgbClr val="A4A3A4"/>
          </p15:clr>
        </p15:guide>
        <p15:guide id="4" pos="176">
          <p15:clr>
            <a:srgbClr val="A4A3A4"/>
          </p15:clr>
        </p15:guide>
        <p15:guide id="5" pos="7501">
          <p15:clr>
            <a:srgbClr val="A4A3A4"/>
          </p15:clr>
        </p15:guide>
        <p15:guide id="8" pos="383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dward Schwarz" initials="ES" lastIdx="1" clrIdx="0">
    <p:extLst>
      <p:ext uri="{19B8F6BF-5375-455C-9EA6-DF929625EA0E}">
        <p15:presenceInfo xmlns:p15="http://schemas.microsoft.com/office/powerpoint/2012/main" userId="S::edward.schwarz@us.abb.com::5506f2a1-fec3-4c22-9e73-e3029142d44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C3C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Styl jasny 1 — Ak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ED083AE6-46FA-4A59-8FB0-9F97EB10719F}" styleName="Styl jasny 3 — Ak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Bez stylu, bez siatki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ABFCF23-3B69-468F-B69F-88F6DE6A72F2}" styleName="Mittlere Formatvorlage 1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73F8A54-F971-430D-9108-034FE38666EA}" styleName="ABB Default Table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0" cmpd="sng">
              <a:solidFill>
                <a:schemeClr val="dk1"/>
              </a:solidFill>
            </a:ln>
          </a:bottom>
          <a:insideH>
            <a:ln w="75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lt1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lt1"/>
          </a:solidFill>
        </a:fill>
      </a:tcStyle>
    </a:band1V>
    <a:band2V>
      <a:tcStyle>
        <a:tcBdr/>
      </a:tcStyle>
    </a:band2V>
    <a:lastCol>
      <a:tcTxStyle b="off">
        <a:fontRef idx="minor">
          <a:schemeClr val="dk1"/>
        </a:fontRef>
        <a:schemeClr val="dk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hemeClr val="dk1"/>
        </a:fontRef>
        <a:schemeClr val="dk1"/>
      </a:tcTxStyle>
      <a:tcStyle>
        <a:tcBdr/>
        <a:fill>
          <a:solidFill>
            <a:schemeClr val="lt1"/>
          </a:solidFill>
        </a:fill>
      </a:tcStyle>
    </a:firstCol>
    <a:lastRow>
      <a:tcTxStyle b="off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tx2"/>
      </a:tcTxStyle>
      <a:tcStyle>
        <a:tcBdr>
          <a:bottom>
            <a:ln w="15000" cmpd="sng">
              <a:solidFill>
                <a:schemeClr val="dk1"/>
              </a:solidFill>
            </a:ln>
          </a:bottom>
        </a:tcBdr>
        <a:fill>
          <a:solidFill>
            <a:schemeClr val="lt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185" autoAdjust="0"/>
    <p:restoredTop sz="95244" autoAdjust="0"/>
  </p:normalViewPr>
  <p:slideViewPr>
    <p:cSldViewPr snapToGrid="0" snapToObjects="1" showGuides="1">
      <p:cViewPr varScale="1">
        <p:scale>
          <a:sx n="125" d="100"/>
          <a:sy n="125" d="100"/>
        </p:scale>
        <p:origin x="1344" y="72"/>
      </p:cViewPr>
      <p:guideLst>
        <p:guide orient="horz" pos="1146"/>
        <p:guide orient="horz" pos="3726"/>
        <p:guide orient="horz" pos="436"/>
        <p:guide pos="176"/>
        <p:guide pos="7501"/>
        <p:guide pos="383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 showGuides="1">
      <p:cViewPr varScale="1">
        <p:scale>
          <a:sx n="84" d="100"/>
          <a:sy n="84" d="100"/>
        </p:scale>
        <p:origin x="-3804" y="-78"/>
      </p:cViewPr>
      <p:guideLst>
        <p:guide orient="horz" pos="3024"/>
        <p:guide pos="2304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4.fntdata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3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2.fntdata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1.fntdata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11-06T10:38:06.434" idx="1">
    <p:pos x="10" y="10"/>
    <p:text/>
    <p:extLst>
      <p:ext uri="{C676402C-5697-4E1C-873F-D02D1690AC5C}">
        <p15:threadingInfo xmlns:p15="http://schemas.microsoft.com/office/powerpoint/2012/main" timeZoneBias="30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3169921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4143587" y="0"/>
            <a:ext cx="3169921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6490A3-8906-4C15-BA06-29841194A30F}" type="datetimeFigureOut">
              <a:rPr lang="en-US" smtClean="0"/>
              <a:t>11/6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gray">
          <a:xfrm>
            <a:off x="0" y="9119474"/>
            <a:ext cx="3169921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4143587" y="9119474"/>
            <a:ext cx="3169921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ABD733-F72C-4484-8056-9C6167F848B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56115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0" y="0"/>
            <a:ext cx="3169921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gray">
          <a:xfrm>
            <a:off x="4143587" y="0"/>
            <a:ext cx="3169921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9B1A6A-6BBE-4409-8C9E-DA0703379151}" type="datetimeFigureOut">
              <a:rPr lang="en-US" smtClean="0"/>
              <a:t>11/6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346075" y="720725"/>
            <a:ext cx="6396038" cy="3598863"/>
          </a:xfrm>
          <a:prstGeom prst="rect">
            <a:avLst/>
          </a:prstGeom>
          <a:noFill/>
          <a:ln w="12700">
            <a:solidFill>
              <a:schemeClr val="accent5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409411" y="4560571"/>
            <a:ext cx="6496380" cy="432054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gray">
          <a:xfrm>
            <a:off x="0" y="9119474"/>
            <a:ext cx="3169921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gray">
          <a:xfrm>
            <a:off x="4143587" y="9119474"/>
            <a:ext cx="3169921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94E69C-C28A-4BE6-BE89-71D8FB2035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08856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buFont typeface="ABBvoiceOffice" panose="020D0603020503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0000" indent="-180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373063" y="685800"/>
            <a:ext cx="6096001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94E69C-C28A-4BE6-BE89-71D8FB2035F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81651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4175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8253ED-71C5-46AD-802A-013CA7885C0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79535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469900" y="566738"/>
            <a:ext cx="8913813" cy="50149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E3404-78B9-4819-95A6-F9D07B45CDE8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35890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94E69C-C28A-4BE6-BE89-71D8FB2035F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81781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94E69C-C28A-4BE6-BE89-71D8FB2035FD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87983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94E69C-C28A-4BE6-BE89-71D8FB2035F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18052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4175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94E69C-C28A-4BE6-BE89-71D8FB2035FD}" type="slidenum">
              <a:rPr lang="en-US" smtClean="0">
                <a:solidFill>
                  <a:srgbClr val="000000"/>
                </a:solidFill>
              </a:rPr>
              <a:pPr/>
              <a:t>16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21895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94E69C-C28A-4BE6-BE89-71D8FB2035FD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70306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4175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Insert products here by catego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94E69C-C28A-4BE6-BE89-71D8FB2035FD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80784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1219041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 Placehold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77167" y="4539037"/>
            <a:ext cx="11629504" cy="147520"/>
          </a:xfrm>
        </p:spPr>
        <p:txBody>
          <a:bodyPr lIns="0" tIns="0" rIns="0" bIns="0" anchor="b"/>
          <a:lstStyle>
            <a:lvl1pPr marL="1588" indent="0">
              <a:buFont typeface="Arial" panose="020B0604020202020204" pitchFamily="34" charset="0"/>
              <a:buNone/>
              <a:defRPr sz="1400" cap="all" baseline="0"/>
            </a:lvl1pPr>
            <a:lvl2pPr marL="1588" indent="0">
              <a:buNone/>
              <a:defRPr sz="1400" cap="all" baseline="0"/>
            </a:lvl2pPr>
            <a:lvl3pPr marL="1588" indent="0">
              <a:buNone/>
              <a:defRPr sz="1400" cap="all" baseline="0"/>
            </a:lvl3pPr>
            <a:lvl4pPr marL="1588" indent="0">
              <a:buNone/>
              <a:defRPr sz="1400" cap="all" baseline="0"/>
            </a:lvl4pPr>
            <a:lvl5pPr marL="1588" indent="0">
              <a:buNone/>
              <a:defRPr sz="1400" cap="all" baseline="0"/>
            </a:lvl5pPr>
            <a:lvl6pPr marL="1588" indent="0">
              <a:buNone/>
              <a:defRPr sz="1400" cap="all" baseline="0"/>
            </a:lvl6pPr>
            <a:lvl7pPr marL="1588" indent="0">
              <a:buNone/>
              <a:defRPr sz="1400" cap="all" baseline="0"/>
            </a:lvl7pPr>
            <a:lvl8pPr marL="1588" indent="0">
              <a:buNone/>
              <a:defRPr sz="1400" cap="all" baseline="0"/>
            </a:lvl8pPr>
            <a:lvl9pPr marL="1588" indent="0">
              <a:buNone/>
              <a:defRPr sz="1400" cap="all" baseline="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77166" y="4724365"/>
            <a:ext cx="11629504" cy="592406"/>
          </a:xfrm>
        </p:spPr>
        <p:txBody>
          <a:bodyPr/>
          <a:lstStyle>
            <a:lvl1pPr>
              <a:defRPr sz="5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277167" y="5449618"/>
            <a:ext cx="11629504" cy="287188"/>
          </a:xfrm>
        </p:spPr>
        <p:txBody>
          <a:bodyPr lIns="0" tIns="0" rIns="0" bIns="0"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7167" y="6094136"/>
            <a:ext cx="11629504" cy="216000"/>
          </a:xfr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None/>
              <a:defRPr sz="2000"/>
            </a:lvl1pPr>
            <a:lvl2pPr marL="0" indent="0">
              <a:buNone/>
              <a:defRPr sz="2000"/>
            </a:lvl2pPr>
            <a:lvl3pPr marL="0" indent="0">
              <a:buNone/>
              <a:defRPr sz="20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  <a:lvl6pPr marL="0" indent="0">
              <a:buNone/>
              <a:defRPr sz="2000"/>
            </a:lvl6pPr>
            <a:lvl7pPr marL="0" indent="0">
              <a:buNone/>
              <a:defRPr sz="2000"/>
            </a:lvl7pPr>
            <a:lvl8pPr marL="0" indent="0">
              <a:buNone/>
              <a:defRPr sz="2000"/>
            </a:lvl8pPr>
            <a:lvl9pPr marL="0" indent="0">
              <a:buNone/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1F7BD2C3-4265-4E29-AAEA-54890CFB4547}" type="datetime4">
              <a:rPr lang="en-US" smtClean="0"/>
              <a:t>November 6, 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07585" y="361851"/>
            <a:ext cx="896803" cy="350784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gray">
          <a:xfrm>
            <a:off x="279400" y="519805"/>
            <a:ext cx="327600" cy="39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7733943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grid - no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44451" y="6393898"/>
            <a:ext cx="510942" cy="196180"/>
          </a:xfrm>
          <a:prstGeom prst="rect">
            <a:avLst/>
          </a:prstGeom>
        </p:spPr>
      </p:pic>
      <p:sp>
        <p:nvSpPr>
          <p:cNvPr id="17" name="Rectangle 16">
            <a:hlinkClick r:id="" action="ppaction://noaction"/>
          </p:cNvPr>
          <p:cNvSpPr/>
          <p:nvPr userDrawn="1"/>
        </p:nvSpPr>
        <p:spPr>
          <a:xfrm>
            <a:off x="334227" y="1592457"/>
            <a:ext cx="3599531" cy="2042919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  <a:effectLst>
            <a:outerShdw blurRad="127000" dist="508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334225" y="1592458"/>
            <a:ext cx="3599531" cy="1218200"/>
          </a:xfrm>
          <a:prstGeom prst="rect">
            <a:avLst/>
          </a:prstGeom>
          <a:solidFill>
            <a:srgbClr val="D2D2D2"/>
          </a:solidFill>
          <a:effectLst/>
        </p:spPr>
        <p:txBody>
          <a:bodyPr bIns="612000" anchor="ctr">
            <a:normAutofit/>
          </a:bodyPr>
          <a:lstStyle>
            <a:lvl1pPr marL="0" indent="0" algn="ctr">
              <a:buNone/>
              <a:defRPr sz="120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r>
              <a:rPr lang="en-US"/>
              <a:t>Add a picture</a:t>
            </a:r>
          </a:p>
        </p:txBody>
      </p:sp>
      <p:sp>
        <p:nvSpPr>
          <p:cNvPr id="25" name="Text Placeholder 18"/>
          <p:cNvSpPr>
            <a:spLocks noGrp="1"/>
          </p:cNvSpPr>
          <p:nvPr>
            <p:ph type="body" sz="quarter" idx="23" hasCustomPrompt="1"/>
          </p:nvPr>
        </p:nvSpPr>
        <p:spPr>
          <a:xfrm>
            <a:off x="522137" y="3006895"/>
            <a:ext cx="2966427" cy="2308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800"/>
              </a:lnSpc>
              <a:buNone/>
              <a:defRPr sz="1600" b="1" i="0">
                <a:latin typeface="ABBvoice" charset="0"/>
                <a:ea typeface="ABBvoice" charset="0"/>
                <a:cs typeface="ABBvoice" charset="0"/>
              </a:defRPr>
            </a:lvl1pPr>
            <a:lvl2pPr marL="457154" indent="0">
              <a:buNone/>
              <a:defRPr/>
            </a:lvl2pPr>
            <a:lvl3pPr marL="914309" indent="0">
              <a:buNone/>
              <a:defRPr/>
            </a:lvl3pPr>
            <a:lvl4pPr marL="1371463" indent="0">
              <a:buNone/>
              <a:defRPr/>
            </a:lvl4pPr>
            <a:lvl5pPr marL="1828617" indent="0">
              <a:buNone/>
              <a:defRPr/>
            </a:lvl5pPr>
          </a:lstStyle>
          <a:p>
            <a:pPr lvl="0"/>
            <a:r>
              <a:rPr lang="en-US"/>
              <a:t>Enter title here</a:t>
            </a:r>
          </a:p>
        </p:txBody>
      </p:sp>
      <p:sp>
        <p:nvSpPr>
          <p:cNvPr id="26" name="Text Placeholder 18"/>
          <p:cNvSpPr>
            <a:spLocks noGrp="1"/>
          </p:cNvSpPr>
          <p:nvPr>
            <p:ph type="body" sz="quarter" idx="24" hasCustomPrompt="1"/>
          </p:nvPr>
        </p:nvSpPr>
        <p:spPr>
          <a:xfrm>
            <a:off x="522137" y="3284997"/>
            <a:ext cx="2966427" cy="35037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ts val="1800"/>
              </a:lnSpc>
              <a:buNone/>
              <a:defRPr sz="1200" b="0" i="0">
                <a:latin typeface="ABBvoice" charset="0"/>
                <a:ea typeface="ABBvoice" charset="0"/>
                <a:cs typeface="ABBvoice" charset="0"/>
              </a:defRPr>
            </a:lvl1pPr>
            <a:lvl2pPr marL="457154" indent="0">
              <a:buNone/>
              <a:defRPr/>
            </a:lvl2pPr>
            <a:lvl3pPr marL="914309" indent="0">
              <a:buNone/>
              <a:defRPr/>
            </a:lvl3pPr>
            <a:lvl4pPr marL="1371463" indent="0">
              <a:buNone/>
              <a:defRPr/>
            </a:lvl4pPr>
            <a:lvl5pPr marL="1828617" indent="0">
              <a:buNone/>
              <a:defRPr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7" name="Rectangle 36">
            <a:hlinkClick r:id="" action="ppaction://noaction"/>
          </p:cNvPr>
          <p:cNvSpPr/>
          <p:nvPr userDrawn="1"/>
        </p:nvSpPr>
        <p:spPr>
          <a:xfrm>
            <a:off x="4295043" y="1581966"/>
            <a:ext cx="3599531" cy="2042919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  <a:effectLst>
            <a:outerShdw blurRad="127000" dist="508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8" name="Picture Placeholder 2"/>
          <p:cNvSpPr>
            <a:spLocks noGrp="1"/>
          </p:cNvSpPr>
          <p:nvPr>
            <p:ph type="pic" sz="quarter" idx="35" hasCustomPrompt="1"/>
          </p:nvPr>
        </p:nvSpPr>
        <p:spPr>
          <a:xfrm>
            <a:off x="4295041" y="1581967"/>
            <a:ext cx="3599531" cy="1218200"/>
          </a:xfrm>
          <a:prstGeom prst="rect">
            <a:avLst/>
          </a:prstGeom>
          <a:solidFill>
            <a:srgbClr val="D2D2D2"/>
          </a:solidFill>
        </p:spPr>
        <p:txBody>
          <a:bodyPr bIns="612000" anchor="ctr">
            <a:normAutofit/>
          </a:bodyPr>
          <a:lstStyle>
            <a:lvl1pPr marL="0" indent="0" algn="ctr">
              <a:buNone/>
              <a:defRPr sz="120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r>
              <a:rPr lang="en-US"/>
              <a:t>Add a picture</a:t>
            </a:r>
          </a:p>
        </p:txBody>
      </p:sp>
      <p:sp>
        <p:nvSpPr>
          <p:cNvPr id="39" name="Text Placeholder 18"/>
          <p:cNvSpPr>
            <a:spLocks noGrp="1"/>
          </p:cNvSpPr>
          <p:nvPr>
            <p:ph type="body" sz="quarter" idx="36" hasCustomPrompt="1"/>
          </p:nvPr>
        </p:nvSpPr>
        <p:spPr>
          <a:xfrm>
            <a:off x="4482954" y="2996404"/>
            <a:ext cx="2966427" cy="2308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800"/>
              </a:lnSpc>
              <a:buNone/>
              <a:defRPr sz="1600" b="1" i="0">
                <a:latin typeface="ABBvoice" charset="0"/>
                <a:ea typeface="ABBvoice" charset="0"/>
                <a:cs typeface="ABBvoice" charset="0"/>
              </a:defRPr>
            </a:lvl1pPr>
            <a:lvl2pPr marL="457154" indent="0">
              <a:buNone/>
              <a:defRPr/>
            </a:lvl2pPr>
            <a:lvl3pPr marL="914309" indent="0">
              <a:buNone/>
              <a:defRPr/>
            </a:lvl3pPr>
            <a:lvl4pPr marL="1371463" indent="0">
              <a:buNone/>
              <a:defRPr/>
            </a:lvl4pPr>
            <a:lvl5pPr marL="1828617" indent="0">
              <a:buNone/>
              <a:defRPr/>
            </a:lvl5pPr>
          </a:lstStyle>
          <a:p>
            <a:pPr lvl="0"/>
            <a:r>
              <a:rPr lang="en-US"/>
              <a:t>Enter title here</a:t>
            </a:r>
          </a:p>
        </p:txBody>
      </p:sp>
      <p:sp>
        <p:nvSpPr>
          <p:cNvPr id="49" name="Text Placeholder 18"/>
          <p:cNvSpPr>
            <a:spLocks noGrp="1"/>
          </p:cNvSpPr>
          <p:nvPr>
            <p:ph type="body" sz="quarter" idx="37" hasCustomPrompt="1"/>
          </p:nvPr>
        </p:nvSpPr>
        <p:spPr>
          <a:xfrm>
            <a:off x="4482954" y="3274506"/>
            <a:ext cx="2966427" cy="35037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ts val="1800"/>
              </a:lnSpc>
              <a:buNone/>
              <a:defRPr sz="1200" b="0" i="0">
                <a:latin typeface="ABBvoice" charset="0"/>
                <a:ea typeface="ABBvoice" charset="0"/>
                <a:cs typeface="ABBvoice" charset="0"/>
              </a:defRPr>
            </a:lvl1pPr>
            <a:lvl2pPr marL="457154" indent="0">
              <a:buNone/>
              <a:defRPr/>
            </a:lvl2pPr>
            <a:lvl3pPr marL="914309" indent="0">
              <a:buNone/>
              <a:defRPr/>
            </a:lvl3pPr>
            <a:lvl4pPr marL="1371463" indent="0">
              <a:buNone/>
              <a:defRPr/>
            </a:lvl4pPr>
            <a:lvl5pPr marL="1828617" indent="0">
              <a:buNone/>
              <a:defRPr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54" name="Rectangle 53">
            <a:hlinkClick r:id="" action="ppaction://noaction"/>
          </p:cNvPr>
          <p:cNvSpPr/>
          <p:nvPr userDrawn="1"/>
        </p:nvSpPr>
        <p:spPr>
          <a:xfrm>
            <a:off x="8255863" y="1592455"/>
            <a:ext cx="3599531" cy="2042919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  <a:effectLst>
            <a:outerShdw blurRad="127000" dist="508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55" name="Picture Placeholder 2"/>
          <p:cNvSpPr>
            <a:spLocks noGrp="1"/>
          </p:cNvSpPr>
          <p:nvPr>
            <p:ph type="pic" sz="quarter" idx="38" hasCustomPrompt="1"/>
          </p:nvPr>
        </p:nvSpPr>
        <p:spPr>
          <a:xfrm>
            <a:off x="8255861" y="1592456"/>
            <a:ext cx="3599531" cy="1218200"/>
          </a:xfrm>
          <a:prstGeom prst="rect">
            <a:avLst/>
          </a:prstGeom>
          <a:solidFill>
            <a:srgbClr val="D2D2D2"/>
          </a:solidFill>
        </p:spPr>
        <p:txBody>
          <a:bodyPr bIns="612000" anchor="ctr">
            <a:normAutofit/>
          </a:bodyPr>
          <a:lstStyle>
            <a:lvl1pPr marL="0" indent="0" algn="ctr">
              <a:buNone/>
              <a:defRPr sz="120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r>
              <a:rPr lang="en-US"/>
              <a:t>Add a picture</a:t>
            </a:r>
          </a:p>
        </p:txBody>
      </p:sp>
      <p:sp>
        <p:nvSpPr>
          <p:cNvPr id="56" name="Text Placeholder 18"/>
          <p:cNvSpPr>
            <a:spLocks noGrp="1"/>
          </p:cNvSpPr>
          <p:nvPr>
            <p:ph type="body" sz="quarter" idx="39" hasCustomPrompt="1"/>
          </p:nvPr>
        </p:nvSpPr>
        <p:spPr>
          <a:xfrm>
            <a:off x="8443774" y="3006893"/>
            <a:ext cx="2966427" cy="2308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800"/>
              </a:lnSpc>
              <a:buNone/>
              <a:defRPr sz="1600" b="1" i="0">
                <a:latin typeface="ABBvoice" charset="0"/>
                <a:ea typeface="ABBvoice" charset="0"/>
                <a:cs typeface="ABBvoice" charset="0"/>
              </a:defRPr>
            </a:lvl1pPr>
            <a:lvl2pPr marL="457154" indent="0">
              <a:buNone/>
              <a:defRPr/>
            </a:lvl2pPr>
            <a:lvl3pPr marL="914309" indent="0">
              <a:buNone/>
              <a:defRPr/>
            </a:lvl3pPr>
            <a:lvl4pPr marL="1371463" indent="0">
              <a:buNone/>
              <a:defRPr/>
            </a:lvl4pPr>
            <a:lvl5pPr marL="1828617" indent="0">
              <a:buNone/>
              <a:defRPr/>
            </a:lvl5pPr>
          </a:lstStyle>
          <a:p>
            <a:pPr lvl="0"/>
            <a:r>
              <a:rPr lang="en-US"/>
              <a:t>Enter title here</a:t>
            </a:r>
          </a:p>
        </p:txBody>
      </p:sp>
      <p:sp>
        <p:nvSpPr>
          <p:cNvPr id="57" name="Text Placeholder 18"/>
          <p:cNvSpPr>
            <a:spLocks noGrp="1"/>
          </p:cNvSpPr>
          <p:nvPr>
            <p:ph type="body" sz="quarter" idx="40" hasCustomPrompt="1"/>
          </p:nvPr>
        </p:nvSpPr>
        <p:spPr>
          <a:xfrm>
            <a:off x="8443774" y="3284995"/>
            <a:ext cx="2966427" cy="35037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ts val="1800"/>
              </a:lnSpc>
              <a:buNone/>
              <a:defRPr sz="1200" b="0" i="0">
                <a:latin typeface="ABBvoice" charset="0"/>
                <a:ea typeface="ABBvoice" charset="0"/>
                <a:cs typeface="ABBvoice" charset="0"/>
              </a:defRPr>
            </a:lvl1pPr>
            <a:lvl2pPr marL="457154" indent="0">
              <a:buNone/>
              <a:defRPr/>
            </a:lvl2pPr>
            <a:lvl3pPr marL="914309" indent="0">
              <a:buNone/>
              <a:defRPr/>
            </a:lvl3pPr>
            <a:lvl4pPr marL="1371463" indent="0">
              <a:buNone/>
              <a:defRPr/>
            </a:lvl4pPr>
            <a:lvl5pPr marL="1828617" indent="0">
              <a:buNone/>
              <a:defRPr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58" name="Rectangle 57">
            <a:hlinkClick r:id="" action="ppaction://noaction"/>
          </p:cNvPr>
          <p:cNvSpPr/>
          <p:nvPr userDrawn="1"/>
        </p:nvSpPr>
        <p:spPr>
          <a:xfrm>
            <a:off x="337401" y="3939669"/>
            <a:ext cx="3599531" cy="2042919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  <a:effectLst>
            <a:outerShdw blurRad="127000" dist="508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59" name="Picture Placeholder 2"/>
          <p:cNvSpPr>
            <a:spLocks noGrp="1"/>
          </p:cNvSpPr>
          <p:nvPr>
            <p:ph type="pic" sz="quarter" idx="41" hasCustomPrompt="1"/>
          </p:nvPr>
        </p:nvSpPr>
        <p:spPr>
          <a:xfrm>
            <a:off x="337399" y="3939670"/>
            <a:ext cx="3599531" cy="1218200"/>
          </a:xfrm>
          <a:prstGeom prst="rect">
            <a:avLst/>
          </a:prstGeom>
          <a:solidFill>
            <a:srgbClr val="D2D2D2"/>
          </a:solidFill>
        </p:spPr>
        <p:txBody>
          <a:bodyPr bIns="612000" anchor="ctr">
            <a:normAutofit/>
          </a:bodyPr>
          <a:lstStyle>
            <a:lvl1pPr marL="0" indent="0" algn="ctr">
              <a:buNone/>
              <a:defRPr sz="120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r>
              <a:rPr lang="en-US"/>
              <a:t>Add a picture</a:t>
            </a:r>
          </a:p>
        </p:txBody>
      </p:sp>
      <p:sp>
        <p:nvSpPr>
          <p:cNvPr id="60" name="Text Placeholder 18"/>
          <p:cNvSpPr>
            <a:spLocks noGrp="1"/>
          </p:cNvSpPr>
          <p:nvPr>
            <p:ph type="body" sz="quarter" idx="42" hasCustomPrompt="1"/>
          </p:nvPr>
        </p:nvSpPr>
        <p:spPr>
          <a:xfrm>
            <a:off x="525312" y="5354107"/>
            <a:ext cx="2966427" cy="2308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800"/>
              </a:lnSpc>
              <a:buNone/>
              <a:defRPr sz="1600" b="1" i="0">
                <a:latin typeface="ABBvoice" charset="0"/>
                <a:ea typeface="ABBvoice" charset="0"/>
                <a:cs typeface="ABBvoice" charset="0"/>
              </a:defRPr>
            </a:lvl1pPr>
            <a:lvl2pPr marL="457154" indent="0">
              <a:buNone/>
              <a:defRPr/>
            </a:lvl2pPr>
            <a:lvl3pPr marL="914309" indent="0">
              <a:buNone/>
              <a:defRPr/>
            </a:lvl3pPr>
            <a:lvl4pPr marL="1371463" indent="0">
              <a:buNone/>
              <a:defRPr/>
            </a:lvl4pPr>
            <a:lvl5pPr marL="1828617" indent="0">
              <a:buNone/>
              <a:defRPr/>
            </a:lvl5pPr>
          </a:lstStyle>
          <a:p>
            <a:pPr lvl="0"/>
            <a:r>
              <a:rPr lang="en-US"/>
              <a:t>Enter title here</a:t>
            </a:r>
          </a:p>
        </p:txBody>
      </p:sp>
      <p:sp>
        <p:nvSpPr>
          <p:cNvPr id="61" name="Text Placeholder 18"/>
          <p:cNvSpPr>
            <a:spLocks noGrp="1"/>
          </p:cNvSpPr>
          <p:nvPr>
            <p:ph type="body" sz="quarter" idx="43" hasCustomPrompt="1"/>
          </p:nvPr>
        </p:nvSpPr>
        <p:spPr>
          <a:xfrm>
            <a:off x="525312" y="5632209"/>
            <a:ext cx="2966427" cy="35037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ts val="1800"/>
              </a:lnSpc>
              <a:buNone/>
              <a:defRPr sz="1200" b="0" i="0">
                <a:latin typeface="ABBvoice" charset="0"/>
                <a:ea typeface="ABBvoice" charset="0"/>
                <a:cs typeface="ABBvoice" charset="0"/>
              </a:defRPr>
            </a:lvl1pPr>
            <a:lvl2pPr marL="457154" indent="0">
              <a:buNone/>
              <a:defRPr/>
            </a:lvl2pPr>
            <a:lvl3pPr marL="914309" indent="0">
              <a:buNone/>
              <a:defRPr/>
            </a:lvl3pPr>
            <a:lvl4pPr marL="1371463" indent="0">
              <a:buNone/>
              <a:defRPr/>
            </a:lvl4pPr>
            <a:lvl5pPr marL="1828617" indent="0">
              <a:buNone/>
              <a:defRPr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62" name="Rectangle 61">
            <a:hlinkClick r:id="" action="ppaction://noaction"/>
          </p:cNvPr>
          <p:cNvSpPr/>
          <p:nvPr userDrawn="1"/>
        </p:nvSpPr>
        <p:spPr>
          <a:xfrm>
            <a:off x="4298218" y="3929178"/>
            <a:ext cx="3599531" cy="2042919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  <a:effectLst>
            <a:outerShdw blurRad="127000" dist="508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63" name="Picture Placeholder 2"/>
          <p:cNvSpPr>
            <a:spLocks noGrp="1"/>
          </p:cNvSpPr>
          <p:nvPr>
            <p:ph type="pic" sz="quarter" idx="44" hasCustomPrompt="1"/>
          </p:nvPr>
        </p:nvSpPr>
        <p:spPr>
          <a:xfrm>
            <a:off x="4298216" y="3929179"/>
            <a:ext cx="3599531" cy="1218200"/>
          </a:xfrm>
          <a:prstGeom prst="rect">
            <a:avLst/>
          </a:prstGeom>
          <a:solidFill>
            <a:srgbClr val="D2D2D2"/>
          </a:solidFill>
        </p:spPr>
        <p:txBody>
          <a:bodyPr bIns="612000" anchor="ctr">
            <a:normAutofit/>
          </a:bodyPr>
          <a:lstStyle>
            <a:lvl1pPr marL="0" indent="0" algn="ctr">
              <a:buNone/>
              <a:defRPr sz="120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r>
              <a:rPr lang="en-US"/>
              <a:t>Add a picture</a:t>
            </a:r>
          </a:p>
        </p:txBody>
      </p:sp>
      <p:sp>
        <p:nvSpPr>
          <p:cNvPr id="64" name="Text Placeholder 18"/>
          <p:cNvSpPr>
            <a:spLocks noGrp="1"/>
          </p:cNvSpPr>
          <p:nvPr>
            <p:ph type="body" sz="quarter" idx="45" hasCustomPrompt="1"/>
          </p:nvPr>
        </p:nvSpPr>
        <p:spPr>
          <a:xfrm>
            <a:off x="4486128" y="5343616"/>
            <a:ext cx="2966427" cy="2308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800"/>
              </a:lnSpc>
              <a:buNone/>
              <a:defRPr sz="1600" b="1" i="0">
                <a:latin typeface="ABBvoice" charset="0"/>
                <a:ea typeface="ABBvoice" charset="0"/>
                <a:cs typeface="ABBvoice" charset="0"/>
              </a:defRPr>
            </a:lvl1pPr>
            <a:lvl2pPr marL="457154" indent="0">
              <a:buNone/>
              <a:defRPr/>
            </a:lvl2pPr>
            <a:lvl3pPr marL="914309" indent="0">
              <a:buNone/>
              <a:defRPr/>
            </a:lvl3pPr>
            <a:lvl4pPr marL="1371463" indent="0">
              <a:buNone/>
              <a:defRPr/>
            </a:lvl4pPr>
            <a:lvl5pPr marL="1828617" indent="0">
              <a:buNone/>
              <a:defRPr/>
            </a:lvl5pPr>
          </a:lstStyle>
          <a:p>
            <a:pPr lvl="0"/>
            <a:r>
              <a:rPr lang="en-US"/>
              <a:t>Enter title here</a:t>
            </a:r>
          </a:p>
        </p:txBody>
      </p:sp>
      <p:sp>
        <p:nvSpPr>
          <p:cNvPr id="65" name="Text Placeholder 18"/>
          <p:cNvSpPr>
            <a:spLocks noGrp="1"/>
          </p:cNvSpPr>
          <p:nvPr>
            <p:ph type="body" sz="quarter" idx="46" hasCustomPrompt="1"/>
          </p:nvPr>
        </p:nvSpPr>
        <p:spPr>
          <a:xfrm>
            <a:off x="4486128" y="5621718"/>
            <a:ext cx="2966427" cy="35037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ts val="1800"/>
              </a:lnSpc>
              <a:buNone/>
              <a:defRPr sz="1200" b="0" i="0">
                <a:latin typeface="ABBvoice" charset="0"/>
                <a:ea typeface="ABBvoice" charset="0"/>
                <a:cs typeface="ABBvoice" charset="0"/>
              </a:defRPr>
            </a:lvl1pPr>
            <a:lvl2pPr marL="457154" indent="0">
              <a:buNone/>
              <a:defRPr/>
            </a:lvl2pPr>
            <a:lvl3pPr marL="914309" indent="0">
              <a:buNone/>
              <a:defRPr/>
            </a:lvl3pPr>
            <a:lvl4pPr marL="1371463" indent="0">
              <a:buNone/>
              <a:defRPr/>
            </a:lvl4pPr>
            <a:lvl5pPr marL="1828617" indent="0">
              <a:buNone/>
              <a:defRPr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66" name="Rectangle 65">
            <a:hlinkClick r:id="" action="ppaction://noaction"/>
          </p:cNvPr>
          <p:cNvSpPr/>
          <p:nvPr userDrawn="1"/>
        </p:nvSpPr>
        <p:spPr>
          <a:xfrm>
            <a:off x="8259038" y="3939667"/>
            <a:ext cx="3599531" cy="2042919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  <a:effectLst>
            <a:outerShdw blurRad="127000" dist="508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67" name="Picture Placeholder 2"/>
          <p:cNvSpPr>
            <a:spLocks noGrp="1"/>
          </p:cNvSpPr>
          <p:nvPr>
            <p:ph type="pic" sz="quarter" idx="47" hasCustomPrompt="1"/>
          </p:nvPr>
        </p:nvSpPr>
        <p:spPr>
          <a:xfrm>
            <a:off x="8259036" y="3939668"/>
            <a:ext cx="3599531" cy="1218200"/>
          </a:xfrm>
          <a:prstGeom prst="rect">
            <a:avLst/>
          </a:prstGeom>
          <a:solidFill>
            <a:srgbClr val="D2D2D2"/>
          </a:solidFill>
        </p:spPr>
        <p:txBody>
          <a:bodyPr bIns="612000" anchor="ctr">
            <a:normAutofit/>
          </a:bodyPr>
          <a:lstStyle>
            <a:lvl1pPr marL="0" indent="0" algn="ctr">
              <a:buNone/>
              <a:defRPr sz="120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defRPr>
            </a:lvl1pPr>
          </a:lstStyle>
          <a:p>
            <a:r>
              <a:rPr lang="en-US"/>
              <a:t>Add a picture</a:t>
            </a:r>
          </a:p>
        </p:txBody>
      </p:sp>
      <p:sp>
        <p:nvSpPr>
          <p:cNvPr id="68" name="Text Placeholder 18"/>
          <p:cNvSpPr>
            <a:spLocks noGrp="1"/>
          </p:cNvSpPr>
          <p:nvPr>
            <p:ph type="body" sz="quarter" idx="48" hasCustomPrompt="1"/>
          </p:nvPr>
        </p:nvSpPr>
        <p:spPr>
          <a:xfrm>
            <a:off x="8446949" y="5354105"/>
            <a:ext cx="2966427" cy="2308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1800"/>
              </a:lnSpc>
              <a:buNone/>
              <a:defRPr sz="1600" b="1" i="0">
                <a:latin typeface="ABBvoice" charset="0"/>
                <a:ea typeface="ABBvoice" charset="0"/>
                <a:cs typeface="ABBvoice" charset="0"/>
              </a:defRPr>
            </a:lvl1pPr>
            <a:lvl2pPr marL="457154" indent="0">
              <a:buNone/>
              <a:defRPr/>
            </a:lvl2pPr>
            <a:lvl3pPr marL="914309" indent="0">
              <a:buNone/>
              <a:defRPr/>
            </a:lvl3pPr>
            <a:lvl4pPr marL="1371463" indent="0">
              <a:buNone/>
              <a:defRPr/>
            </a:lvl4pPr>
            <a:lvl5pPr marL="1828617" indent="0">
              <a:buNone/>
              <a:defRPr/>
            </a:lvl5pPr>
          </a:lstStyle>
          <a:p>
            <a:pPr lvl="0"/>
            <a:r>
              <a:rPr lang="en-US"/>
              <a:t>Enter title here</a:t>
            </a:r>
          </a:p>
        </p:txBody>
      </p:sp>
      <p:sp>
        <p:nvSpPr>
          <p:cNvPr id="69" name="Text Placeholder 18"/>
          <p:cNvSpPr>
            <a:spLocks noGrp="1"/>
          </p:cNvSpPr>
          <p:nvPr>
            <p:ph type="body" sz="quarter" idx="49" hasCustomPrompt="1"/>
          </p:nvPr>
        </p:nvSpPr>
        <p:spPr>
          <a:xfrm>
            <a:off x="8446949" y="5632207"/>
            <a:ext cx="2966427" cy="35037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ts val="1800"/>
              </a:lnSpc>
              <a:buNone/>
              <a:defRPr sz="1200" b="0" i="0">
                <a:latin typeface="ABBvoice" charset="0"/>
                <a:ea typeface="ABBvoice" charset="0"/>
                <a:cs typeface="ABBvoice" charset="0"/>
              </a:defRPr>
            </a:lvl1pPr>
            <a:lvl2pPr marL="457154" indent="0">
              <a:buNone/>
              <a:defRPr/>
            </a:lvl2pPr>
            <a:lvl3pPr marL="914309" indent="0">
              <a:buNone/>
              <a:defRPr/>
            </a:lvl3pPr>
            <a:lvl4pPr marL="1371463" indent="0">
              <a:buNone/>
              <a:defRPr/>
            </a:lvl4pPr>
            <a:lvl5pPr marL="1828617" indent="0">
              <a:buNone/>
              <a:defRPr/>
            </a:lvl5pPr>
          </a:lstStyle>
          <a:p>
            <a:pPr lvl="0"/>
            <a:r>
              <a:rPr lang="en-US"/>
              <a:t>Enter content here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0EED13D1-1BC3-2F49-8889-0DC1ED10DBA0}"/>
              </a:ext>
            </a:extLst>
          </p:cNvPr>
          <p:cNvSpPr>
            <a:spLocks noGrp="1"/>
          </p:cNvSpPr>
          <p:nvPr>
            <p:ph type="subTitle" idx="13"/>
          </p:nvPr>
        </p:nvSpPr>
        <p:spPr bwMode="gray">
          <a:xfrm>
            <a:off x="332325" y="1085213"/>
            <a:ext cx="11519396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8287565-F5BE-794D-9E7B-893EF90021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1B35F4-0DB7-2F44-81F7-B93CA9196090}"/>
              </a:ext>
            </a:extLst>
          </p:cNvPr>
          <p:cNvSpPr>
            <a:spLocks noGrp="1"/>
          </p:cNvSpPr>
          <p:nvPr>
            <p:ph type="dt" sz="half" idx="50"/>
          </p:nvPr>
        </p:nvSpPr>
        <p:spPr/>
        <p:txBody>
          <a:bodyPr/>
          <a:lstStyle/>
          <a:p>
            <a:fld id="{B2016A11-4950-4F3F-938B-45DEE5F72969}" type="datetime4">
              <a:rPr lang="en-US" smtClean="0"/>
              <a:pPr/>
              <a:t>November 6, 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05FABB-7E2F-C748-9C30-67506A761A1A}"/>
              </a:ext>
            </a:extLst>
          </p:cNvPr>
          <p:cNvSpPr>
            <a:spLocks noGrp="1"/>
          </p:cNvSpPr>
          <p:nvPr>
            <p:ph type="ftr" sz="quarter" idx="5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F560228-79E8-CA4A-8709-7DF56FE00D71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7787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523">
          <p15:clr>
            <a:srgbClr val="FBAE40"/>
          </p15:clr>
        </p15:guide>
        <p15:guide id="2" pos="520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4: 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70479A72-920A-415B-8469-E7772A79C549}" type="datetime4">
              <a:rPr lang="en-US" smtClean="0"/>
              <a:t>November 6, 2020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1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7037" y="2793574"/>
            <a:ext cx="3296347" cy="1264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43597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0"/>
            <a:ext cx="12190413" cy="1127462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1968243" y="1592263"/>
            <a:ext cx="8253927" cy="4608512"/>
          </a:xfrm>
        </p:spPr>
        <p:txBody>
          <a:bodyPr>
            <a:normAutofit/>
          </a:bodyPr>
          <a:lstStyle>
            <a:lvl1pPr marL="179388" indent="-179388"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1" name="Inhaltsplatzhalter 3"/>
          <p:cNvSpPr>
            <a:spLocks noGrp="1"/>
          </p:cNvSpPr>
          <p:nvPr>
            <p:ph sz="half" idx="11"/>
          </p:nvPr>
        </p:nvSpPr>
        <p:spPr>
          <a:xfrm>
            <a:off x="287830" y="1592263"/>
            <a:ext cx="1487824" cy="4608512"/>
          </a:xfrm>
        </p:spPr>
        <p:txBody>
          <a:bodyPr lIns="0" tIns="36000" rIns="0" bIns="0" numCol="1" spcCol="396000">
            <a:noAutofit/>
          </a:bodyPr>
          <a:lstStyle>
            <a:lvl1pPr marL="0" indent="0">
              <a:buClr>
                <a:schemeClr val="accent2"/>
              </a:buClr>
              <a:buFont typeface="+mj-lt"/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287829" y="6200776"/>
            <a:ext cx="3166122" cy="657224"/>
          </a:xfrm>
          <a:prstGeom prst="rect">
            <a:avLst/>
          </a:prstGeom>
        </p:spPr>
        <p:txBody>
          <a:bodyPr lIns="0" tIns="0" rIns="0" bIns="198000" anchor="b" anchorCtr="0"/>
          <a:lstStyle/>
          <a:p>
            <a:pPr marL="0" algn="l" defTabSz="914400" rtl="0" eaLnBrk="1" latinLnBrk="0" hangingPunct="1"/>
            <a:endParaRPr lang="en-US" sz="600" kern="1200" dirty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0" algn="l" defTabSz="914400" rtl="0" eaLnBrk="1" latinLnBrk="0" hangingPunct="1"/>
            <a:r>
              <a:rPr lang="en-US" sz="6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© ABB Group</a:t>
            </a:r>
            <a:endParaRPr lang="de-DE" sz="600" kern="1200" dirty="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0" algn="l" defTabSz="914400" rtl="0" eaLnBrk="1" latinLnBrk="0" hangingPunct="1"/>
            <a:fld id="{CFB884F6-5C41-4F29-A188-5B766EEA4B94}" type="datetime4">
              <a:rPr lang="en-US" sz="6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pPr marL="0" algn="l" defTabSz="914400" rtl="0" eaLnBrk="1" latinLnBrk="0" hangingPunct="1"/>
              <a:t>November 6, 2020</a:t>
            </a:fld>
            <a:r>
              <a:rPr lang="de-DE" sz="6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6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| </a:t>
            </a:r>
            <a:r>
              <a:rPr lang="en-US" sz="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Slide </a:t>
            </a:r>
            <a:fld id="{034DB2BE-7F3D-443E-9208-5F2182A8E656}" type="slidenum">
              <a:rPr lang="de-DE" sz="6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pPr marL="0" algn="l" defTabSz="914400" rtl="0" eaLnBrk="1" latinLnBrk="0" hangingPunct="1"/>
              <a:t>‹#›</a:t>
            </a:fld>
            <a:endParaRPr lang="de-DE" sz="600"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0" y="660364"/>
            <a:ext cx="12190413" cy="467099"/>
          </a:xfrm>
        </p:spPr>
        <p:txBody>
          <a:bodyPr vert="horz" lIns="187200" tIns="0" rIns="216000" bIns="0" rtlCol="0" anchor="t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de-DE" sz="2800" kern="1200" dirty="0" smtClean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8648372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3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A1F808C0-290B-4263-8A52-B569B4875133}" type="datetime4">
              <a:rPr lang="en-US" smtClean="0"/>
              <a:t>November 6, 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lvl="8"/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2324" y="1085213"/>
            <a:ext cx="11519398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18432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: Title (5) &amp; Content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 lvl="8"/>
            <a:endParaRPr lang="en-US" dirty="0">
              <a:solidFill>
                <a:srgbClr val="A9A9A9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fld id="{D8D4DCBA-4C7A-4489-854D-9CAAB7BC53A0}" type="datetime4">
              <a:rPr lang="en-US" smtClean="0">
                <a:solidFill>
                  <a:srgbClr val="A9A9A9"/>
                </a:solidFill>
              </a:rPr>
              <a:pPr/>
              <a:t>November 6, 2020</a:t>
            </a:fld>
            <a:endParaRPr lang="en-US" dirty="0">
              <a:solidFill>
                <a:srgbClr val="A9A9A9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en-US" smtClean="0">
                <a:solidFill>
                  <a:srgbClr val="A9A9A9"/>
                </a:solidFill>
              </a:rPr>
              <a:pPr/>
              <a:t>‹#›</a:t>
            </a:fld>
            <a:endParaRPr lang="en-US" dirty="0">
              <a:solidFill>
                <a:srgbClr val="A9A9A9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4271108" y="2238495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8208995" y="2238495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4" name="Text Placeholder 11"/>
          <p:cNvSpPr>
            <a:spLocks noGrp="1"/>
          </p:cNvSpPr>
          <p:nvPr>
            <p:ph type="body" sz="quarter" idx="17"/>
          </p:nvPr>
        </p:nvSpPr>
        <p:spPr bwMode="gray">
          <a:xfrm>
            <a:off x="4271108" y="1931193"/>
            <a:ext cx="3642726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8"/>
          </p:nvPr>
        </p:nvSpPr>
        <p:spPr bwMode="gray">
          <a:xfrm>
            <a:off x="8208995" y="1931193"/>
            <a:ext cx="3642726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9" name="Text Placeholder 11"/>
          <p:cNvSpPr>
            <a:spLocks noGrp="1"/>
          </p:cNvSpPr>
          <p:nvPr>
            <p:ph type="body" sz="quarter" idx="19"/>
          </p:nvPr>
        </p:nvSpPr>
        <p:spPr bwMode="gray">
          <a:xfrm>
            <a:off x="333221" y="4103378"/>
            <a:ext cx="3642726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333221" y="4410680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 bwMode="gray">
          <a:xfrm>
            <a:off x="4271108" y="4410680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 bwMode="gray">
          <a:xfrm>
            <a:off x="8208995" y="4410680"/>
            <a:ext cx="3642726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3" name="Text Placeholder 11"/>
          <p:cNvSpPr>
            <a:spLocks noGrp="1"/>
          </p:cNvSpPr>
          <p:nvPr>
            <p:ph type="body" sz="quarter" idx="20"/>
          </p:nvPr>
        </p:nvSpPr>
        <p:spPr bwMode="gray">
          <a:xfrm>
            <a:off x="4271108" y="4103378"/>
            <a:ext cx="3642726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24" name="Text Placeholder 11"/>
          <p:cNvSpPr>
            <a:spLocks noGrp="1"/>
          </p:cNvSpPr>
          <p:nvPr>
            <p:ph type="body" sz="quarter" idx="21"/>
          </p:nvPr>
        </p:nvSpPr>
        <p:spPr bwMode="gray">
          <a:xfrm>
            <a:off x="8208995" y="4103378"/>
            <a:ext cx="3642726" cy="252000"/>
          </a:xfrm>
        </p:spPr>
        <p:txBody>
          <a:bodyPr lIns="0" tIns="0" rIns="0" anchor="t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5pPr>
            <a:lvl6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6pPr>
            <a:lvl7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7pPr>
            <a:lvl8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8pPr>
            <a:lvl9pPr marL="0" indent="0">
              <a:spcBef>
                <a:spcPts val="0"/>
              </a:spcBef>
              <a:buNone/>
              <a:defRPr sz="1600" b="1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25" name="Content Placeholder 3"/>
          <p:cNvSpPr>
            <a:spLocks noGrp="1"/>
          </p:cNvSpPr>
          <p:nvPr>
            <p:ph sz="quarter" idx="23"/>
          </p:nvPr>
        </p:nvSpPr>
        <p:spPr bwMode="gray">
          <a:xfrm>
            <a:off x="333220" y="1931195"/>
            <a:ext cx="3642726" cy="1809264"/>
          </a:xfrm>
        </p:spPr>
        <p:txBody>
          <a:bodyPr lIns="0" tIns="0" rIns="0" bIns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26" name="Content Placeholder 3"/>
          <p:cNvSpPr>
            <a:spLocks noGrp="1"/>
          </p:cNvSpPr>
          <p:nvPr>
            <p:ph sz="quarter" idx="24"/>
          </p:nvPr>
        </p:nvSpPr>
        <p:spPr bwMode="gray">
          <a:xfrm>
            <a:off x="4271108" y="2317642"/>
            <a:ext cx="3642726" cy="1422821"/>
          </a:xfrm>
        </p:spPr>
        <p:txBody>
          <a:bodyPr lIns="0" tIns="0" rIns="0" bIns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27" name="Content Placeholder 3"/>
          <p:cNvSpPr>
            <a:spLocks noGrp="1"/>
          </p:cNvSpPr>
          <p:nvPr>
            <p:ph sz="quarter" idx="25"/>
          </p:nvPr>
        </p:nvSpPr>
        <p:spPr bwMode="gray">
          <a:xfrm>
            <a:off x="8208995" y="2317642"/>
            <a:ext cx="3642726" cy="1422821"/>
          </a:xfrm>
        </p:spPr>
        <p:txBody>
          <a:bodyPr lIns="0" tIns="0" rIns="0" bIns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28" name="Content Placeholder 3"/>
          <p:cNvSpPr>
            <a:spLocks noGrp="1"/>
          </p:cNvSpPr>
          <p:nvPr>
            <p:ph sz="quarter" idx="26"/>
          </p:nvPr>
        </p:nvSpPr>
        <p:spPr bwMode="gray">
          <a:xfrm>
            <a:off x="333220" y="4489827"/>
            <a:ext cx="3642726" cy="1422821"/>
          </a:xfrm>
        </p:spPr>
        <p:txBody>
          <a:bodyPr lIns="0" tIns="0" rIns="0" bIns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29" name="Content Placeholder 3"/>
          <p:cNvSpPr>
            <a:spLocks noGrp="1"/>
          </p:cNvSpPr>
          <p:nvPr>
            <p:ph sz="quarter" idx="27"/>
          </p:nvPr>
        </p:nvSpPr>
        <p:spPr bwMode="gray">
          <a:xfrm>
            <a:off x="4271108" y="4489827"/>
            <a:ext cx="3642726" cy="1422821"/>
          </a:xfrm>
        </p:spPr>
        <p:txBody>
          <a:bodyPr lIns="0" tIns="0" rIns="0" bIns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30" name="Content Placeholder 3"/>
          <p:cNvSpPr>
            <a:spLocks noGrp="1"/>
          </p:cNvSpPr>
          <p:nvPr>
            <p:ph sz="quarter" idx="28"/>
          </p:nvPr>
        </p:nvSpPr>
        <p:spPr bwMode="gray">
          <a:xfrm>
            <a:off x="8208995" y="4489827"/>
            <a:ext cx="3642726" cy="1422821"/>
          </a:xfrm>
        </p:spPr>
        <p:txBody>
          <a:bodyPr lIns="0" tIns="0" rIns="0" bIns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32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21" y="1085213"/>
            <a:ext cx="115185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5015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Cover - optiona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07585" y="361851"/>
            <a:ext cx="896803" cy="350784"/>
          </a:xfrm>
          <a:prstGeom prst="rect">
            <a:avLst/>
          </a:prstGeom>
        </p:spPr>
      </p:pic>
      <p:sp>
        <p:nvSpPr>
          <p:cNvPr id="19" name="Text Placehold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77167" y="4539037"/>
            <a:ext cx="11629504" cy="147520"/>
          </a:xfrm>
        </p:spPr>
        <p:txBody>
          <a:bodyPr lIns="0" tIns="0" rIns="0" bIns="0" anchor="b"/>
          <a:lstStyle>
            <a:lvl1pPr marL="1588" indent="0">
              <a:buFont typeface="Arial" panose="020B0604020202020204" pitchFamily="34" charset="0"/>
              <a:buNone/>
              <a:defRPr sz="1400" cap="all" baseline="0"/>
            </a:lvl1pPr>
            <a:lvl2pPr marL="1588" indent="0">
              <a:buNone/>
              <a:defRPr sz="1400" cap="all" baseline="0"/>
            </a:lvl2pPr>
            <a:lvl3pPr marL="1588" indent="0">
              <a:buNone/>
              <a:defRPr sz="1400" cap="all" baseline="0"/>
            </a:lvl3pPr>
            <a:lvl4pPr marL="1588" indent="0">
              <a:buNone/>
              <a:defRPr sz="1400" cap="all" baseline="0"/>
            </a:lvl4pPr>
            <a:lvl5pPr marL="1588" indent="0">
              <a:buNone/>
              <a:defRPr sz="1400" cap="all" baseline="0"/>
            </a:lvl5pPr>
            <a:lvl6pPr marL="1588" indent="0">
              <a:buNone/>
              <a:defRPr sz="1400" cap="all" baseline="0"/>
            </a:lvl6pPr>
            <a:lvl7pPr marL="1588" indent="0">
              <a:buNone/>
              <a:defRPr sz="1400" cap="all" baseline="0"/>
            </a:lvl7pPr>
            <a:lvl8pPr marL="1588" indent="0">
              <a:buNone/>
              <a:defRPr sz="1400" cap="all" baseline="0"/>
            </a:lvl8pPr>
            <a:lvl9pPr marL="1588" indent="0">
              <a:buNone/>
              <a:defRPr sz="1400" cap="all" baseline="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77166" y="4724365"/>
            <a:ext cx="11629504" cy="592406"/>
          </a:xfrm>
        </p:spPr>
        <p:txBody>
          <a:bodyPr/>
          <a:lstStyle>
            <a:lvl1pPr>
              <a:defRPr sz="5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 bwMode="gray">
          <a:xfrm>
            <a:off x="277167" y="5449618"/>
            <a:ext cx="11629504" cy="287188"/>
          </a:xfrm>
        </p:spPr>
        <p:txBody>
          <a:bodyPr lIns="0" tIns="0" rIns="0" bIns="0"/>
          <a:lstStyle>
            <a:lvl1pPr marL="0" indent="0" algn="l">
              <a:buNone/>
              <a:defRPr sz="2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7167" y="6094136"/>
            <a:ext cx="11629504" cy="216000"/>
          </a:xfr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None/>
              <a:defRPr sz="2000"/>
            </a:lvl1pPr>
            <a:lvl2pPr marL="0" indent="0">
              <a:buNone/>
              <a:defRPr sz="2000"/>
            </a:lvl2pPr>
            <a:lvl3pPr marL="0" indent="0">
              <a:buNone/>
              <a:defRPr sz="2000"/>
            </a:lvl3pPr>
            <a:lvl4pPr marL="0" indent="0">
              <a:buNone/>
              <a:defRPr sz="2000"/>
            </a:lvl4pPr>
            <a:lvl5pPr marL="0" indent="0">
              <a:buNone/>
              <a:defRPr sz="2000"/>
            </a:lvl5pPr>
            <a:lvl6pPr marL="0" indent="0">
              <a:buNone/>
              <a:defRPr sz="2000"/>
            </a:lvl6pPr>
            <a:lvl7pPr marL="0" indent="0">
              <a:buNone/>
              <a:defRPr sz="2000"/>
            </a:lvl7pPr>
            <a:lvl8pPr marL="0" indent="0">
              <a:buNone/>
              <a:defRPr sz="2000"/>
            </a:lvl8pPr>
            <a:lvl9pPr marL="0" indent="0">
              <a:buNone/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7096043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5542" y="1819425"/>
            <a:ext cx="11630692" cy="4093946"/>
          </a:xfrm>
        </p:spPr>
        <p:txBody>
          <a:bodyPr/>
          <a:lstStyle>
            <a:lvl1pPr>
              <a:spcBef>
                <a:spcPts val="900"/>
              </a:spcBef>
              <a:defRPr sz="2000"/>
            </a:lvl1pPr>
            <a:lvl2pPr marL="0" indent="0">
              <a:spcBef>
                <a:spcPts val="90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</a:defRPr>
            </a:lvl3pPr>
            <a:lvl4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</a:defRPr>
            </a:lvl4pPr>
            <a:lvl5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</a:defRPr>
            </a:lvl5pPr>
            <a:lvl6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</a:defRPr>
            </a:lvl6pPr>
            <a:lvl7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</a:defRPr>
            </a:lvl7pPr>
            <a:lvl8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</a:defRPr>
            </a:lvl8pPr>
            <a:lvl9pPr marL="252000" indent="-252000">
              <a:spcBef>
                <a:spcPts val="900"/>
              </a:spcBef>
              <a:buFont typeface="Symbol" panose="05050102010706020507" pitchFamily="18" charset="2"/>
              <a:buChar char="-"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E3EF050F-B85E-4E30-B69F-9970B4AED387}" type="datetime4">
              <a:rPr lang="en-US" smtClean="0"/>
              <a:t>November 6, 2020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4770793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 bwMode="gray">
          <a:xfrm>
            <a:off x="277019" y="1816571"/>
            <a:ext cx="11629215" cy="409686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 bwMode="gray">
          <a:xfrm>
            <a:off x="257845" y="1120928"/>
            <a:ext cx="11648389" cy="504000"/>
          </a:xfrm>
        </p:spPr>
        <p:txBody>
          <a:bodyPr lIns="0" tIns="0" rIns="0" bIns="0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57845" y="637075"/>
            <a:ext cx="11648389" cy="4108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F0F7C878-2F48-47C1-A60E-F6C764D931DE}" type="datetime4">
              <a:rPr lang="en-US" smtClean="0"/>
              <a:t>November 6, 2020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8424578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82466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ubtitle 2"/>
          <p:cNvSpPr>
            <a:spLocks noGrp="1"/>
          </p:cNvSpPr>
          <p:nvPr>
            <p:ph type="subTitle" idx="13"/>
          </p:nvPr>
        </p:nvSpPr>
        <p:spPr bwMode="gray">
          <a:xfrm>
            <a:off x="257845" y="1120928"/>
            <a:ext cx="11648389" cy="504000"/>
          </a:xfrm>
        </p:spPr>
        <p:txBody>
          <a:bodyPr lIns="0" tIns="0" rIns="0" bIns="0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604723B6-2C37-4C03-92C2-AA6C4A469955}" type="datetime4">
              <a:rPr lang="en-US" smtClean="0"/>
              <a:t>November 6, 2020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6464369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6_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7675" y="4430714"/>
            <a:ext cx="3838501" cy="1492516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 bwMode="gray">
          <a:xfrm>
            <a:off x="279400" y="459581"/>
            <a:ext cx="820800" cy="972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1A2D5558-364E-49CF-BD1C-98EA466A7C24}" type="datetime4">
              <a:rPr lang="en-US" smtClean="0"/>
              <a:t>November 6, 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4793732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 1"/>
          <p:cNvSpPr>
            <a:spLocks noGrp="1"/>
          </p:cNvSpPr>
          <p:nvPr>
            <p:ph type="title"/>
          </p:nvPr>
        </p:nvSpPr>
        <p:spPr>
          <a:xfrm>
            <a:off x="0" y="-1"/>
            <a:ext cx="12190413" cy="1161899"/>
          </a:xfrm>
        </p:spPr>
        <p:txBody>
          <a:bodyPr vert="horz" lIns="187200" tIns="313200" rIns="21600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kern="1200" baseline="0" dirty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23" name="Untertitel 2"/>
          <p:cNvSpPr>
            <a:spLocks noGrp="1"/>
          </p:cNvSpPr>
          <p:nvPr>
            <p:ph type="subTitle" idx="1"/>
          </p:nvPr>
        </p:nvSpPr>
        <p:spPr>
          <a:xfrm>
            <a:off x="0" y="694800"/>
            <a:ext cx="12190413" cy="467099"/>
          </a:xfrm>
        </p:spPr>
        <p:txBody>
          <a:bodyPr vert="horz" lIns="187200" tIns="0" rIns="216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  <a:defRPr lang="de-DE" sz="2800" kern="1200" dirty="0">
                <a:solidFill>
                  <a:schemeClr val="accent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179388" lvl="0" indent="-179388" algn="l" defTabSz="914400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tx2"/>
              </a:buClr>
              <a:buSzPct val="70000"/>
              <a:buFont typeface="Wingdings" pitchFamily="2" charset="2"/>
              <a:buNone/>
            </a:pPr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1AE4DC8-611E-4ED8-9E66-1428966E2B61}" type="datetime1">
              <a:rPr lang="en-US">
                <a:solidFill>
                  <a:srgbClr val="666666"/>
                </a:solidFill>
              </a:rPr>
              <a:pPr/>
              <a:t>11/6/2020</a:t>
            </a:fld>
            <a:endParaRPr dirty="0">
              <a:solidFill>
                <a:srgbClr val="666666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>
                <a:solidFill>
                  <a:srgbClr val="666666"/>
                </a:solidFill>
              </a:rPr>
              <a:t>| Slide </a:t>
            </a:r>
            <a:fld id="{CF363E95-653D-48D7-8EB0-A81FED805B5F}" type="slidenum">
              <a:rPr>
                <a:solidFill>
                  <a:srgbClr val="666666"/>
                </a:solidFill>
              </a:rPr>
              <a:pPr/>
              <a:t>‹#›</a:t>
            </a:fld>
            <a:endParaRPr dirty="0">
              <a:solidFill>
                <a:srgbClr val="666666"/>
              </a:solidFill>
            </a:endParaRP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>
              <a:solidFill>
                <a:srgbClr val="666666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5"/>
          </p:nvPr>
        </p:nvSpPr>
        <p:spPr/>
        <p:txBody>
          <a:bodyPr/>
          <a:lstStyle>
            <a:lvl5pPr>
              <a:defRPr/>
            </a:lvl5pPr>
            <a:lvl6pPr>
              <a:defRPr baseline="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5299649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: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21"/>
          </p:nvPr>
        </p:nvSpPr>
        <p:spPr bwMode="gray">
          <a:xfrm>
            <a:off x="332324" y="1931198"/>
            <a:ext cx="11518500" cy="3982245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xfrm>
            <a:off x="333221" y="682313"/>
            <a:ext cx="11518500" cy="396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fld id="{FFAB2352-921F-4DD8-A99A-A1474F6943FF}" type="datetime4">
              <a:rPr lang="en-US" smtClean="0">
                <a:solidFill>
                  <a:srgbClr val="A9A9A9"/>
                </a:solidFill>
              </a:rPr>
              <a:pPr/>
              <a:t>November 6, 2020</a:t>
            </a:fld>
            <a:endParaRPr lang="en-US" dirty="0">
              <a:solidFill>
                <a:srgbClr val="A9A9A9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pPr lvl="8"/>
            <a:endParaRPr lang="en-US" dirty="0">
              <a:solidFill>
                <a:srgbClr val="A9A9A9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r>
              <a:rPr lang="en-US" dirty="0">
                <a:solidFill>
                  <a:srgbClr val="A9A9A9"/>
                </a:solidFill>
              </a:rPr>
              <a:t>Slide </a:t>
            </a:r>
            <a:fld id="{619F89D8-7AE3-494A-97F3-03D680869632}" type="slidenum">
              <a:rPr lang="en-US" smtClean="0">
                <a:solidFill>
                  <a:srgbClr val="A9A9A9"/>
                </a:solidFill>
              </a:rPr>
              <a:pPr/>
              <a:t>‹#›</a:t>
            </a:fld>
            <a:endParaRPr lang="en-US" dirty="0">
              <a:solidFill>
                <a:srgbClr val="A9A9A9"/>
              </a:solidFill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333221" y="1085213"/>
            <a:ext cx="11518500" cy="504000"/>
          </a:xfrm>
        </p:spPr>
        <p:txBody>
          <a:bodyPr lIns="0" tIns="0" rIns="0" bIns="0"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8788834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: 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5"/>
          </p:nvPr>
        </p:nvSpPr>
        <p:spPr bwMode="gray">
          <a:xfrm>
            <a:off x="2" y="0"/>
            <a:ext cx="12190413" cy="46101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6"/>
          </p:nvPr>
        </p:nvSpPr>
        <p:spPr bwMode="gray">
          <a:xfrm>
            <a:off x="334919" y="365752"/>
            <a:ext cx="1528743" cy="2304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900" cap="all" baseline="0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9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3"/>
          </p:nvPr>
        </p:nvSpPr>
        <p:spPr bwMode="gray">
          <a:xfrm>
            <a:off x="340475" y="5000633"/>
            <a:ext cx="10111621" cy="224432"/>
          </a:xfrm>
        </p:spPr>
        <p:txBody>
          <a:bodyPr lIns="0" tIns="0" rIns="0" bIns="0" anchor="b"/>
          <a:lstStyle>
            <a:lvl1pPr marL="1588" indent="0">
              <a:buFont typeface="Arial" panose="020B0604020202020204" pitchFamily="34" charset="0"/>
              <a:buNone/>
              <a:defRPr sz="1000" cap="all" baseline="0"/>
            </a:lvl1pPr>
            <a:lvl2pPr marL="1588" indent="0">
              <a:buNone/>
              <a:defRPr sz="1000" cap="all" baseline="0"/>
            </a:lvl2pPr>
            <a:lvl3pPr marL="1588" indent="0">
              <a:buNone/>
              <a:defRPr sz="1000" cap="all" baseline="0"/>
            </a:lvl3pPr>
            <a:lvl4pPr marL="1588" indent="0">
              <a:buNone/>
              <a:defRPr sz="1000" cap="all" baseline="0"/>
            </a:lvl4pPr>
            <a:lvl5pPr marL="1588" indent="0">
              <a:buNone/>
              <a:defRPr sz="1000" cap="all" baseline="0"/>
            </a:lvl5pPr>
            <a:lvl6pPr marL="1588" indent="0">
              <a:buNone/>
              <a:defRPr sz="1000" cap="all" baseline="0"/>
            </a:lvl6pPr>
            <a:lvl7pPr marL="1588" indent="0">
              <a:buNone/>
              <a:defRPr sz="1000" cap="all" baseline="0"/>
            </a:lvl7pPr>
            <a:lvl8pPr marL="1588" indent="0">
              <a:buNone/>
              <a:defRPr sz="1000" cap="all" baseline="0"/>
            </a:lvl8pPr>
            <a:lvl9pPr marL="1588" indent="0">
              <a:buNone/>
              <a:defRPr sz="1000" cap="all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 bwMode="gray">
          <a:xfrm>
            <a:off x="340475" y="5205567"/>
            <a:ext cx="10110832" cy="504001"/>
          </a:xfrm>
        </p:spPr>
        <p:txBody>
          <a:bodyPr lIns="0" tIns="0" rIns="0" bIns="0"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 bwMode="gray">
          <a:xfrm>
            <a:off x="340475" y="5751515"/>
            <a:ext cx="10110831" cy="360865"/>
          </a:xfrm>
        </p:spPr>
        <p:txBody>
          <a:bodyPr lIns="0" tIns="0" rIns="0" bIns="0"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0" indent="0" algn="l">
              <a:buNone/>
              <a:defRPr sz="2000">
                <a:solidFill>
                  <a:schemeClr val="tx1"/>
                </a:solidFill>
              </a:defRPr>
            </a:lvl2pPr>
            <a:lvl3pPr marL="0" indent="0" algn="l">
              <a:buNone/>
              <a:defRPr sz="2000">
                <a:solidFill>
                  <a:schemeClr val="tx1"/>
                </a:solidFill>
              </a:defRPr>
            </a:lvl3pPr>
            <a:lvl4pPr marL="0" indent="0" algn="l">
              <a:buNone/>
              <a:defRPr sz="2000">
                <a:solidFill>
                  <a:schemeClr val="tx1"/>
                </a:solidFill>
              </a:defRPr>
            </a:lvl4pPr>
            <a:lvl5pPr marL="0" indent="0" algn="l">
              <a:buNone/>
              <a:defRPr sz="2000">
                <a:solidFill>
                  <a:schemeClr val="tx1"/>
                </a:solidFill>
              </a:defRPr>
            </a:lvl5pPr>
            <a:lvl6pPr marL="0" indent="0" algn="l">
              <a:buNone/>
              <a:defRPr sz="2000">
                <a:solidFill>
                  <a:schemeClr val="tx1"/>
                </a:solidFill>
              </a:defRPr>
            </a:lvl6pPr>
            <a:lvl7pPr marL="0" indent="0" algn="l">
              <a:buNone/>
              <a:defRPr sz="2000">
                <a:solidFill>
                  <a:schemeClr val="tx1"/>
                </a:solidFill>
              </a:defRPr>
            </a:lvl7pPr>
            <a:lvl8pPr marL="0" indent="0" algn="l">
              <a:buNone/>
              <a:defRPr sz="2000">
                <a:solidFill>
                  <a:schemeClr val="tx1"/>
                </a:solidFill>
              </a:defRPr>
            </a:lvl8pPr>
            <a:lvl9pPr marL="0" indent="0" algn="l">
              <a:buNone/>
              <a:defRPr sz="20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13" name="Text Placeholder 19"/>
          <p:cNvSpPr>
            <a:spLocks noGrp="1"/>
          </p:cNvSpPr>
          <p:nvPr>
            <p:ph type="body" sz="quarter" idx="14"/>
          </p:nvPr>
        </p:nvSpPr>
        <p:spPr bwMode="gray">
          <a:xfrm>
            <a:off x="340475" y="6109996"/>
            <a:ext cx="10111621" cy="280092"/>
          </a:xfr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None/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  <a:lvl6pPr marL="0" indent="0">
              <a:buNone/>
              <a:defRPr/>
            </a:lvl6pPr>
            <a:lvl7pPr marL="0" indent="0">
              <a:buNone/>
              <a:defRPr/>
            </a:lvl7pPr>
            <a:lvl8pPr marL="0" indent="0">
              <a:buNone/>
              <a:defRPr/>
            </a:lvl8pPr>
            <a:lvl9pPr marL="0" indent="0"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Rectangle 17"/>
          <p:cNvSpPr/>
          <p:nvPr userDrawn="1"/>
        </p:nvSpPr>
        <p:spPr bwMode="gray">
          <a:xfrm>
            <a:off x="249325" y="4828013"/>
            <a:ext cx="550899" cy="1583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de-DE" sz="3200" b="1">
                <a:solidFill>
                  <a:schemeClr val="bg2"/>
                </a:solidFill>
              </a:rPr>
              <a:t>—</a:t>
            </a:r>
            <a:endParaRPr lang="en-US" sz="3200" b="1" err="1">
              <a:solidFill>
                <a:schemeClr val="bg2"/>
              </a:solidFill>
            </a:endParaRPr>
          </a:p>
        </p:txBody>
      </p:sp>
      <p:pic>
        <p:nvPicPr>
          <p:cNvPr id="14" name="Picture 1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8214" y="6160150"/>
            <a:ext cx="873507" cy="334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3894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848926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4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3849" y="6397296"/>
            <a:ext cx="504523" cy="195001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2440941" y="6207919"/>
            <a:ext cx="8599905" cy="5905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  <a:lvl2pPr marL="0" indent="0">
              <a:defRPr sz="1000">
                <a:solidFill>
                  <a:schemeClr val="accent4"/>
                </a:solidFill>
              </a:defRPr>
            </a:lvl2pPr>
            <a:lvl3pPr marL="0" indent="0">
              <a:defRPr sz="1000">
                <a:solidFill>
                  <a:schemeClr val="accent4"/>
                </a:solidFill>
              </a:defRPr>
            </a:lvl3pPr>
            <a:lvl4pPr marL="0" indent="0">
              <a:defRPr sz="1000">
                <a:solidFill>
                  <a:schemeClr val="accent4"/>
                </a:solidFill>
              </a:defRPr>
            </a:lvl4pPr>
            <a:lvl5pPr marL="0" indent="0">
              <a:defRPr sz="1000">
                <a:solidFill>
                  <a:schemeClr val="accent4"/>
                </a:solidFill>
              </a:defRPr>
            </a:lvl5pPr>
            <a:lvl6pPr marL="0" indent="0">
              <a:defRPr sz="1000">
                <a:solidFill>
                  <a:schemeClr val="accent4"/>
                </a:solidFill>
              </a:defRPr>
            </a:lvl6pPr>
            <a:lvl7pPr marL="0" indent="0">
              <a:defRPr sz="1000">
                <a:solidFill>
                  <a:schemeClr val="accent4"/>
                </a:solidFill>
              </a:defRPr>
            </a:lvl7pPr>
            <a:lvl8pPr marL="0" indent="0">
              <a:defRPr sz="1000">
                <a:solidFill>
                  <a:schemeClr val="accent4"/>
                </a:solidFill>
              </a:defRPr>
            </a:lvl8pPr>
            <a:lvl9pPr marL="0" indent="0">
              <a:defRPr sz="1000">
                <a:solidFill>
                  <a:schemeClr val="accent4"/>
                </a:solidFill>
              </a:defRPr>
            </a:lvl9pPr>
          </a:lstStyle>
          <a:p>
            <a:pPr lvl="8"/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273808" y="6489341"/>
            <a:ext cx="1162800" cy="11819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accent4"/>
                </a:solidFill>
              </a:defRPr>
            </a:lvl1pPr>
            <a:lvl2pPr marL="0" indent="0">
              <a:defRPr sz="1000">
                <a:solidFill>
                  <a:schemeClr val="accent4"/>
                </a:solidFill>
              </a:defRPr>
            </a:lvl2pPr>
            <a:lvl3pPr marL="0" indent="0">
              <a:defRPr sz="1000">
                <a:solidFill>
                  <a:schemeClr val="accent4"/>
                </a:solidFill>
              </a:defRPr>
            </a:lvl3pPr>
            <a:lvl4pPr marL="0" indent="0">
              <a:defRPr sz="1000">
                <a:solidFill>
                  <a:schemeClr val="accent4"/>
                </a:solidFill>
              </a:defRPr>
            </a:lvl4pPr>
            <a:lvl5pPr marL="0" indent="0">
              <a:defRPr sz="1000">
                <a:solidFill>
                  <a:schemeClr val="accent4"/>
                </a:solidFill>
              </a:defRPr>
            </a:lvl5pPr>
            <a:lvl6pPr marL="0" indent="0">
              <a:defRPr sz="1000">
                <a:solidFill>
                  <a:schemeClr val="accent4"/>
                </a:solidFill>
              </a:defRPr>
            </a:lvl6pPr>
            <a:lvl7pPr marL="0" indent="0">
              <a:defRPr sz="1000">
                <a:solidFill>
                  <a:schemeClr val="accent4"/>
                </a:solidFill>
              </a:defRPr>
            </a:lvl7pPr>
            <a:lvl8pPr marL="0" indent="0">
              <a:defRPr sz="1000">
                <a:solidFill>
                  <a:schemeClr val="accent4"/>
                </a:solidFill>
              </a:defRPr>
            </a:lvl8pPr>
            <a:lvl9pPr marL="0" indent="0">
              <a:defRPr sz="1000">
                <a:solidFill>
                  <a:schemeClr val="accent4"/>
                </a:solidFill>
              </a:defRPr>
            </a:lvl9pPr>
          </a:lstStyle>
          <a:p>
            <a:fld id="{CD1A06C5-A2CA-46BC-B3AE-AF5C4D0BE255}" type="datetime4">
              <a:rPr lang="en-US" smtClean="0"/>
              <a:t>November 6, 2020</a:t>
            </a:fld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7019" y="1816571"/>
            <a:ext cx="11629133" cy="4096800"/>
          </a:xfrm>
          <a:prstGeom prst="rect">
            <a:avLst/>
          </a:prstGeom>
        </p:spPr>
        <p:txBody>
          <a:bodyPr vert="horz" lIns="72000" tIns="72000" rIns="72000" bIns="7200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57845" y="637075"/>
            <a:ext cx="11648389" cy="4108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739366" y="6473853"/>
            <a:ext cx="676800" cy="13274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accent4"/>
                </a:solidFill>
              </a:defRPr>
            </a:lvl1pPr>
            <a:lvl2pPr marL="0" indent="0">
              <a:defRPr sz="1200">
                <a:solidFill>
                  <a:schemeClr val="accent4"/>
                </a:solidFill>
              </a:defRPr>
            </a:lvl2pPr>
            <a:lvl3pPr marL="0" indent="0">
              <a:defRPr sz="1200">
                <a:solidFill>
                  <a:schemeClr val="accent4"/>
                </a:solidFill>
              </a:defRPr>
            </a:lvl3pPr>
            <a:lvl4pPr marL="0" indent="0">
              <a:defRPr sz="1200">
                <a:solidFill>
                  <a:schemeClr val="accent4"/>
                </a:solidFill>
              </a:defRPr>
            </a:lvl4pPr>
            <a:lvl5pPr marL="0" indent="0">
              <a:defRPr sz="1200">
                <a:solidFill>
                  <a:schemeClr val="accent4"/>
                </a:solidFill>
              </a:defRPr>
            </a:lvl5pPr>
            <a:lvl6pPr marL="0" indent="0">
              <a:defRPr sz="1200">
                <a:solidFill>
                  <a:schemeClr val="accent4"/>
                </a:solidFill>
              </a:defRPr>
            </a:lvl6pPr>
            <a:lvl7pPr marL="0" indent="0">
              <a:defRPr sz="1200">
                <a:solidFill>
                  <a:schemeClr val="accent4"/>
                </a:solidFill>
              </a:defRPr>
            </a:lvl7pPr>
            <a:lvl8pPr marL="0" indent="0">
              <a:defRPr sz="1200">
                <a:solidFill>
                  <a:schemeClr val="accent4"/>
                </a:solidFill>
              </a:defRPr>
            </a:lvl8pPr>
            <a:lvl9pPr marL="0" indent="0">
              <a:defRPr sz="1200">
                <a:solidFill>
                  <a:schemeClr val="accent4"/>
                </a:solidFill>
              </a:defRPr>
            </a:lvl9pPr>
          </a:lstStyle>
          <a:p>
            <a:r>
              <a:rPr lang="en-US" dirty="0"/>
              <a:t>Slide </a:t>
            </a:r>
            <a:fld id="{619F89D8-7AE3-494A-97F3-03D680869632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35" name="Straight Connector 34"/>
          <p:cNvCxnSpPr/>
          <p:nvPr userDrawn="1"/>
        </p:nvCxnSpPr>
        <p:spPr bwMode="gray">
          <a:xfrm>
            <a:off x="279400" y="6094413"/>
            <a:ext cx="11626752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45" name="Rectangle 44"/>
          <p:cNvSpPr/>
          <p:nvPr userDrawn="1"/>
        </p:nvSpPr>
        <p:spPr bwMode="gray">
          <a:xfrm>
            <a:off x="279400" y="519805"/>
            <a:ext cx="327600" cy="39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8" name="Group 67"/>
          <p:cNvGrpSpPr/>
          <p:nvPr userDrawn="1"/>
        </p:nvGrpSpPr>
        <p:grpSpPr bwMode="gray">
          <a:xfrm>
            <a:off x="275713" y="6327549"/>
            <a:ext cx="337902" cy="88364"/>
            <a:chOff x="61913" y="5218113"/>
            <a:chExt cx="3138487" cy="820737"/>
          </a:xfrm>
          <a:solidFill>
            <a:schemeClr val="accent4"/>
          </a:solidFill>
        </p:grpSpPr>
        <p:sp>
          <p:nvSpPr>
            <p:cNvPr id="69" name="Freeform 16"/>
            <p:cNvSpPr>
              <a:spLocks noEditPoints="1"/>
            </p:cNvSpPr>
            <p:nvPr userDrawn="1"/>
          </p:nvSpPr>
          <p:spPr bwMode="gray">
            <a:xfrm>
              <a:off x="61913" y="5218113"/>
              <a:ext cx="828675" cy="820737"/>
            </a:xfrm>
            <a:custGeom>
              <a:avLst/>
              <a:gdLst>
                <a:gd name="T0" fmla="*/ 111 w 221"/>
                <a:gd name="T1" fmla="*/ 219 h 219"/>
                <a:gd name="T2" fmla="*/ 53 w 221"/>
                <a:gd name="T3" fmla="*/ 203 h 219"/>
                <a:gd name="T4" fmla="*/ 14 w 221"/>
                <a:gd name="T5" fmla="*/ 163 h 219"/>
                <a:gd name="T6" fmla="*/ 0 w 221"/>
                <a:gd name="T7" fmla="*/ 109 h 219"/>
                <a:gd name="T8" fmla="*/ 15 w 221"/>
                <a:gd name="T9" fmla="*/ 53 h 219"/>
                <a:gd name="T10" fmla="*/ 56 w 221"/>
                <a:gd name="T11" fmla="*/ 14 h 219"/>
                <a:gd name="T12" fmla="*/ 111 w 221"/>
                <a:gd name="T13" fmla="*/ 0 h 219"/>
                <a:gd name="T14" fmla="*/ 168 w 221"/>
                <a:gd name="T15" fmla="*/ 15 h 219"/>
                <a:gd name="T16" fmla="*/ 207 w 221"/>
                <a:gd name="T17" fmla="*/ 55 h 219"/>
                <a:gd name="T18" fmla="*/ 221 w 221"/>
                <a:gd name="T19" fmla="*/ 109 h 219"/>
                <a:gd name="T20" fmla="*/ 206 w 221"/>
                <a:gd name="T21" fmla="*/ 166 h 219"/>
                <a:gd name="T22" fmla="*/ 165 w 221"/>
                <a:gd name="T23" fmla="*/ 205 h 219"/>
                <a:gd name="T24" fmla="*/ 111 w 221"/>
                <a:gd name="T25" fmla="*/ 219 h 219"/>
                <a:gd name="T26" fmla="*/ 111 w 221"/>
                <a:gd name="T27" fmla="*/ 190 h 219"/>
                <a:gd name="T28" fmla="*/ 153 w 221"/>
                <a:gd name="T29" fmla="*/ 180 h 219"/>
                <a:gd name="T30" fmla="*/ 181 w 221"/>
                <a:gd name="T31" fmla="*/ 151 h 219"/>
                <a:gd name="T32" fmla="*/ 191 w 221"/>
                <a:gd name="T33" fmla="*/ 109 h 219"/>
                <a:gd name="T34" fmla="*/ 180 w 221"/>
                <a:gd name="T35" fmla="*/ 67 h 219"/>
                <a:gd name="T36" fmla="*/ 151 w 221"/>
                <a:gd name="T37" fmla="*/ 38 h 219"/>
                <a:gd name="T38" fmla="*/ 111 w 221"/>
                <a:gd name="T39" fmla="*/ 28 h 219"/>
                <a:gd name="T40" fmla="*/ 68 w 221"/>
                <a:gd name="T41" fmla="*/ 39 h 219"/>
                <a:gd name="T42" fmla="*/ 40 w 221"/>
                <a:gd name="T43" fmla="*/ 68 h 219"/>
                <a:gd name="T44" fmla="*/ 31 w 221"/>
                <a:gd name="T45" fmla="*/ 109 h 219"/>
                <a:gd name="T46" fmla="*/ 41 w 221"/>
                <a:gd name="T47" fmla="*/ 152 h 219"/>
                <a:gd name="T48" fmla="*/ 70 w 221"/>
                <a:gd name="T49" fmla="*/ 180 h 219"/>
                <a:gd name="T50" fmla="*/ 111 w 221"/>
                <a:gd name="T51" fmla="*/ 190 h 219"/>
                <a:gd name="T52" fmla="*/ 115 w 221"/>
                <a:gd name="T53" fmla="*/ 50 h 219"/>
                <a:gd name="T54" fmla="*/ 139 w 221"/>
                <a:gd name="T55" fmla="*/ 54 h 219"/>
                <a:gd name="T56" fmla="*/ 156 w 221"/>
                <a:gd name="T57" fmla="*/ 63 h 219"/>
                <a:gd name="T58" fmla="*/ 145 w 221"/>
                <a:gd name="T59" fmla="*/ 85 h 219"/>
                <a:gd name="T60" fmla="*/ 117 w 221"/>
                <a:gd name="T61" fmla="*/ 76 h 219"/>
                <a:gd name="T62" fmla="*/ 93 w 221"/>
                <a:gd name="T63" fmla="*/ 85 h 219"/>
                <a:gd name="T64" fmla="*/ 84 w 221"/>
                <a:gd name="T65" fmla="*/ 110 h 219"/>
                <a:gd name="T66" fmla="*/ 93 w 221"/>
                <a:gd name="T67" fmla="*/ 134 h 219"/>
                <a:gd name="T68" fmla="*/ 117 w 221"/>
                <a:gd name="T69" fmla="*/ 143 h 219"/>
                <a:gd name="T70" fmla="*/ 146 w 221"/>
                <a:gd name="T71" fmla="*/ 132 h 219"/>
                <a:gd name="T72" fmla="*/ 158 w 221"/>
                <a:gd name="T73" fmla="*/ 153 h 219"/>
                <a:gd name="T74" fmla="*/ 140 w 221"/>
                <a:gd name="T75" fmla="*/ 165 h 219"/>
                <a:gd name="T76" fmla="*/ 115 w 221"/>
                <a:gd name="T77" fmla="*/ 169 h 219"/>
                <a:gd name="T78" fmla="*/ 71 w 221"/>
                <a:gd name="T79" fmla="*/ 153 h 219"/>
                <a:gd name="T80" fmla="*/ 54 w 221"/>
                <a:gd name="T81" fmla="*/ 111 h 219"/>
                <a:gd name="T82" fmla="*/ 71 w 221"/>
                <a:gd name="T83" fmla="*/ 67 h 219"/>
                <a:gd name="T84" fmla="*/ 115 w 221"/>
                <a:gd name="T85" fmla="*/ 5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21" h="219">
                  <a:moveTo>
                    <a:pt x="111" y="219"/>
                  </a:moveTo>
                  <a:cubicBezTo>
                    <a:pt x="89" y="219"/>
                    <a:pt x="70" y="214"/>
                    <a:pt x="53" y="203"/>
                  </a:cubicBezTo>
                  <a:cubicBezTo>
                    <a:pt x="36" y="193"/>
                    <a:pt x="23" y="180"/>
                    <a:pt x="14" y="163"/>
                  </a:cubicBezTo>
                  <a:cubicBezTo>
                    <a:pt x="4" y="147"/>
                    <a:pt x="0" y="129"/>
                    <a:pt x="0" y="109"/>
                  </a:cubicBezTo>
                  <a:cubicBezTo>
                    <a:pt x="0" y="88"/>
                    <a:pt x="5" y="70"/>
                    <a:pt x="15" y="53"/>
                  </a:cubicBezTo>
                  <a:cubicBezTo>
                    <a:pt x="25" y="36"/>
                    <a:pt x="39" y="23"/>
                    <a:pt x="56" y="14"/>
                  </a:cubicBezTo>
                  <a:cubicBezTo>
                    <a:pt x="73" y="5"/>
                    <a:pt x="91" y="0"/>
                    <a:pt x="111" y="0"/>
                  </a:cubicBezTo>
                  <a:cubicBezTo>
                    <a:pt x="132" y="0"/>
                    <a:pt x="151" y="5"/>
                    <a:pt x="168" y="15"/>
                  </a:cubicBezTo>
                  <a:cubicBezTo>
                    <a:pt x="185" y="26"/>
                    <a:pt x="198" y="39"/>
                    <a:pt x="207" y="55"/>
                  </a:cubicBezTo>
                  <a:cubicBezTo>
                    <a:pt x="217" y="72"/>
                    <a:pt x="221" y="90"/>
                    <a:pt x="221" y="109"/>
                  </a:cubicBezTo>
                  <a:cubicBezTo>
                    <a:pt x="221" y="130"/>
                    <a:pt x="216" y="149"/>
                    <a:pt x="206" y="166"/>
                  </a:cubicBezTo>
                  <a:cubicBezTo>
                    <a:pt x="196" y="183"/>
                    <a:pt x="182" y="196"/>
                    <a:pt x="165" y="205"/>
                  </a:cubicBezTo>
                  <a:cubicBezTo>
                    <a:pt x="149" y="214"/>
                    <a:pt x="130" y="219"/>
                    <a:pt x="111" y="219"/>
                  </a:cubicBezTo>
                  <a:close/>
                  <a:moveTo>
                    <a:pt x="111" y="190"/>
                  </a:moveTo>
                  <a:cubicBezTo>
                    <a:pt x="127" y="190"/>
                    <a:pt x="141" y="187"/>
                    <a:pt x="153" y="180"/>
                  </a:cubicBezTo>
                  <a:cubicBezTo>
                    <a:pt x="165" y="173"/>
                    <a:pt x="174" y="163"/>
                    <a:pt x="181" y="151"/>
                  </a:cubicBezTo>
                  <a:cubicBezTo>
                    <a:pt x="187" y="139"/>
                    <a:pt x="191" y="125"/>
                    <a:pt x="191" y="109"/>
                  </a:cubicBezTo>
                  <a:cubicBezTo>
                    <a:pt x="191" y="93"/>
                    <a:pt x="187" y="79"/>
                    <a:pt x="180" y="67"/>
                  </a:cubicBezTo>
                  <a:cubicBezTo>
                    <a:pt x="173" y="55"/>
                    <a:pt x="163" y="45"/>
                    <a:pt x="151" y="38"/>
                  </a:cubicBezTo>
                  <a:cubicBezTo>
                    <a:pt x="139" y="32"/>
                    <a:pt x="126" y="28"/>
                    <a:pt x="111" y="28"/>
                  </a:cubicBezTo>
                  <a:cubicBezTo>
                    <a:pt x="95" y="28"/>
                    <a:pt x="81" y="32"/>
                    <a:pt x="68" y="39"/>
                  </a:cubicBezTo>
                  <a:cubicBezTo>
                    <a:pt x="56" y="46"/>
                    <a:pt x="47" y="56"/>
                    <a:pt x="40" y="68"/>
                  </a:cubicBezTo>
                  <a:cubicBezTo>
                    <a:pt x="34" y="80"/>
                    <a:pt x="31" y="94"/>
                    <a:pt x="31" y="109"/>
                  </a:cubicBezTo>
                  <a:cubicBezTo>
                    <a:pt x="31" y="126"/>
                    <a:pt x="34" y="140"/>
                    <a:pt x="41" y="152"/>
                  </a:cubicBezTo>
                  <a:cubicBezTo>
                    <a:pt x="48" y="164"/>
                    <a:pt x="58" y="174"/>
                    <a:pt x="70" y="180"/>
                  </a:cubicBezTo>
                  <a:cubicBezTo>
                    <a:pt x="82" y="187"/>
                    <a:pt x="95" y="190"/>
                    <a:pt x="111" y="190"/>
                  </a:cubicBezTo>
                  <a:close/>
                  <a:moveTo>
                    <a:pt x="115" y="50"/>
                  </a:moveTo>
                  <a:cubicBezTo>
                    <a:pt x="124" y="50"/>
                    <a:pt x="131" y="51"/>
                    <a:pt x="139" y="54"/>
                  </a:cubicBezTo>
                  <a:cubicBezTo>
                    <a:pt x="146" y="56"/>
                    <a:pt x="152" y="59"/>
                    <a:pt x="156" y="63"/>
                  </a:cubicBezTo>
                  <a:cubicBezTo>
                    <a:pt x="145" y="85"/>
                    <a:pt x="145" y="85"/>
                    <a:pt x="145" y="85"/>
                  </a:cubicBezTo>
                  <a:cubicBezTo>
                    <a:pt x="137" y="79"/>
                    <a:pt x="128" y="76"/>
                    <a:pt x="117" y="76"/>
                  </a:cubicBezTo>
                  <a:cubicBezTo>
                    <a:pt x="107" y="76"/>
                    <a:pt x="99" y="79"/>
                    <a:pt x="93" y="85"/>
                  </a:cubicBezTo>
                  <a:cubicBezTo>
                    <a:pt x="87" y="91"/>
                    <a:pt x="84" y="100"/>
                    <a:pt x="84" y="110"/>
                  </a:cubicBezTo>
                  <a:cubicBezTo>
                    <a:pt x="84" y="120"/>
                    <a:pt x="87" y="128"/>
                    <a:pt x="93" y="134"/>
                  </a:cubicBezTo>
                  <a:cubicBezTo>
                    <a:pt x="99" y="140"/>
                    <a:pt x="107" y="143"/>
                    <a:pt x="117" y="143"/>
                  </a:cubicBezTo>
                  <a:cubicBezTo>
                    <a:pt x="129" y="143"/>
                    <a:pt x="138" y="139"/>
                    <a:pt x="146" y="132"/>
                  </a:cubicBezTo>
                  <a:cubicBezTo>
                    <a:pt x="158" y="153"/>
                    <a:pt x="158" y="153"/>
                    <a:pt x="158" y="153"/>
                  </a:cubicBezTo>
                  <a:cubicBezTo>
                    <a:pt x="153" y="158"/>
                    <a:pt x="147" y="162"/>
                    <a:pt x="140" y="165"/>
                  </a:cubicBezTo>
                  <a:cubicBezTo>
                    <a:pt x="132" y="168"/>
                    <a:pt x="124" y="169"/>
                    <a:pt x="115" y="169"/>
                  </a:cubicBezTo>
                  <a:cubicBezTo>
                    <a:pt x="97" y="169"/>
                    <a:pt x="82" y="164"/>
                    <a:pt x="71" y="153"/>
                  </a:cubicBezTo>
                  <a:cubicBezTo>
                    <a:pt x="60" y="142"/>
                    <a:pt x="54" y="128"/>
                    <a:pt x="54" y="111"/>
                  </a:cubicBezTo>
                  <a:cubicBezTo>
                    <a:pt x="54" y="93"/>
                    <a:pt x="60" y="78"/>
                    <a:pt x="71" y="67"/>
                  </a:cubicBezTo>
                  <a:cubicBezTo>
                    <a:pt x="82" y="56"/>
                    <a:pt x="97" y="50"/>
                    <a:pt x="115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17"/>
            <p:cNvSpPr>
              <a:spLocks noEditPoints="1"/>
            </p:cNvSpPr>
            <p:nvPr userDrawn="1"/>
          </p:nvSpPr>
          <p:spPr bwMode="gray">
            <a:xfrm>
              <a:off x="957263" y="5237163"/>
              <a:ext cx="773112" cy="782637"/>
            </a:xfrm>
            <a:custGeom>
              <a:avLst/>
              <a:gdLst>
                <a:gd name="T0" fmla="*/ 305 w 487"/>
                <a:gd name="T1" fmla="*/ 0 h 493"/>
                <a:gd name="T2" fmla="*/ 487 w 487"/>
                <a:gd name="T3" fmla="*/ 493 h 493"/>
                <a:gd name="T4" fmla="*/ 369 w 487"/>
                <a:gd name="T5" fmla="*/ 493 h 493"/>
                <a:gd name="T6" fmla="*/ 336 w 487"/>
                <a:gd name="T7" fmla="*/ 390 h 493"/>
                <a:gd name="T8" fmla="*/ 151 w 487"/>
                <a:gd name="T9" fmla="*/ 390 h 493"/>
                <a:gd name="T10" fmla="*/ 118 w 487"/>
                <a:gd name="T11" fmla="*/ 493 h 493"/>
                <a:gd name="T12" fmla="*/ 0 w 487"/>
                <a:gd name="T13" fmla="*/ 493 h 493"/>
                <a:gd name="T14" fmla="*/ 184 w 487"/>
                <a:gd name="T15" fmla="*/ 0 h 493"/>
                <a:gd name="T16" fmla="*/ 305 w 487"/>
                <a:gd name="T17" fmla="*/ 0 h 493"/>
                <a:gd name="T18" fmla="*/ 180 w 487"/>
                <a:gd name="T19" fmla="*/ 300 h 493"/>
                <a:gd name="T20" fmla="*/ 307 w 487"/>
                <a:gd name="T21" fmla="*/ 300 h 493"/>
                <a:gd name="T22" fmla="*/ 243 w 487"/>
                <a:gd name="T23" fmla="*/ 104 h 493"/>
                <a:gd name="T24" fmla="*/ 180 w 487"/>
                <a:gd name="T25" fmla="*/ 300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7" h="493">
                  <a:moveTo>
                    <a:pt x="305" y="0"/>
                  </a:moveTo>
                  <a:lnTo>
                    <a:pt x="487" y="493"/>
                  </a:lnTo>
                  <a:lnTo>
                    <a:pt x="369" y="493"/>
                  </a:lnTo>
                  <a:lnTo>
                    <a:pt x="336" y="390"/>
                  </a:lnTo>
                  <a:lnTo>
                    <a:pt x="151" y="390"/>
                  </a:lnTo>
                  <a:lnTo>
                    <a:pt x="118" y="493"/>
                  </a:lnTo>
                  <a:lnTo>
                    <a:pt x="0" y="493"/>
                  </a:lnTo>
                  <a:lnTo>
                    <a:pt x="184" y="0"/>
                  </a:lnTo>
                  <a:lnTo>
                    <a:pt x="305" y="0"/>
                  </a:lnTo>
                  <a:close/>
                  <a:moveTo>
                    <a:pt x="180" y="300"/>
                  </a:moveTo>
                  <a:lnTo>
                    <a:pt x="307" y="300"/>
                  </a:lnTo>
                  <a:lnTo>
                    <a:pt x="243" y="104"/>
                  </a:lnTo>
                  <a:lnTo>
                    <a:pt x="180" y="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18"/>
            <p:cNvSpPr>
              <a:spLocks noEditPoints="1"/>
            </p:cNvSpPr>
            <p:nvPr userDrawn="1"/>
          </p:nvSpPr>
          <p:spPr bwMode="gray">
            <a:xfrm>
              <a:off x="1819275" y="5237163"/>
              <a:ext cx="622300" cy="782637"/>
            </a:xfrm>
            <a:custGeom>
              <a:avLst/>
              <a:gdLst>
                <a:gd name="T0" fmla="*/ 0 w 166"/>
                <a:gd name="T1" fmla="*/ 0 h 209"/>
                <a:gd name="T2" fmla="*/ 82 w 166"/>
                <a:gd name="T3" fmla="*/ 0 h 209"/>
                <a:gd name="T4" fmla="*/ 132 w 166"/>
                <a:gd name="T5" fmla="*/ 15 h 209"/>
                <a:gd name="T6" fmla="*/ 150 w 166"/>
                <a:gd name="T7" fmla="*/ 53 h 209"/>
                <a:gd name="T8" fmla="*/ 128 w 166"/>
                <a:gd name="T9" fmla="*/ 94 h 209"/>
                <a:gd name="T10" fmla="*/ 166 w 166"/>
                <a:gd name="T11" fmla="*/ 146 h 209"/>
                <a:gd name="T12" fmla="*/ 146 w 166"/>
                <a:gd name="T13" fmla="*/ 192 h 209"/>
                <a:gd name="T14" fmla="*/ 86 w 166"/>
                <a:gd name="T15" fmla="*/ 209 h 209"/>
                <a:gd name="T16" fmla="*/ 0 w 166"/>
                <a:gd name="T17" fmla="*/ 209 h 209"/>
                <a:gd name="T18" fmla="*/ 0 w 166"/>
                <a:gd name="T19" fmla="*/ 0 h 209"/>
                <a:gd name="T20" fmla="*/ 78 w 166"/>
                <a:gd name="T21" fmla="*/ 81 h 209"/>
                <a:gd name="T22" fmla="*/ 99 w 166"/>
                <a:gd name="T23" fmla="*/ 75 h 209"/>
                <a:gd name="T24" fmla="*/ 106 w 166"/>
                <a:gd name="T25" fmla="*/ 59 h 209"/>
                <a:gd name="T26" fmla="*/ 99 w 166"/>
                <a:gd name="T27" fmla="*/ 42 h 209"/>
                <a:gd name="T28" fmla="*/ 79 w 166"/>
                <a:gd name="T29" fmla="*/ 37 h 209"/>
                <a:gd name="T30" fmla="*/ 46 w 166"/>
                <a:gd name="T31" fmla="*/ 37 h 209"/>
                <a:gd name="T32" fmla="*/ 46 w 166"/>
                <a:gd name="T33" fmla="*/ 81 h 209"/>
                <a:gd name="T34" fmla="*/ 78 w 166"/>
                <a:gd name="T35" fmla="*/ 81 h 209"/>
                <a:gd name="T36" fmla="*/ 84 w 166"/>
                <a:gd name="T37" fmla="*/ 172 h 209"/>
                <a:gd name="T38" fmla="*/ 111 w 166"/>
                <a:gd name="T39" fmla="*/ 165 h 209"/>
                <a:gd name="T40" fmla="*/ 120 w 166"/>
                <a:gd name="T41" fmla="*/ 145 h 209"/>
                <a:gd name="T42" fmla="*/ 111 w 166"/>
                <a:gd name="T43" fmla="*/ 124 h 209"/>
                <a:gd name="T44" fmla="*/ 85 w 166"/>
                <a:gd name="T45" fmla="*/ 117 h 209"/>
                <a:gd name="T46" fmla="*/ 46 w 166"/>
                <a:gd name="T47" fmla="*/ 117 h 209"/>
                <a:gd name="T48" fmla="*/ 46 w 166"/>
                <a:gd name="T49" fmla="*/ 172 h 209"/>
                <a:gd name="T50" fmla="*/ 84 w 166"/>
                <a:gd name="T51" fmla="*/ 172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6" h="209">
                  <a:moveTo>
                    <a:pt x="0" y="0"/>
                  </a:moveTo>
                  <a:cubicBezTo>
                    <a:pt x="82" y="0"/>
                    <a:pt x="82" y="0"/>
                    <a:pt x="82" y="0"/>
                  </a:cubicBezTo>
                  <a:cubicBezTo>
                    <a:pt x="103" y="0"/>
                    <a:pt x="119" y="5"/>
                    <a:pt x="132" y="15"/>
                  </a:cubicBezTo>
                  <a:cubicBezTo>
                    <a:pt x="144" y="24"/>
                    <a:pt x="150" y="37"/>
                    <a:pt x="150" y="53"/>
                  </a:cubicBezTo>
                  <a:cubicBezTo>
                    <a:pt x="150" y="71"/>
                    <a:pt x="143" y="84"/>
                    <a:pt x="128" y="94"/>
                  </a:cubicBezTo>
                  <a:cubicBezTo>
                    <a:pt x="154" y="103"/>
                    <a:pt x="166" y="120"/>
                    <a:pt x="166" y="146"/>
                  </a:cubicBezTo>
                  <a:cubicBezTo>
                    <a:pt x="166" y="166"/>
                    <a:pt x="160" y="182"/>
                    <a:pt x="146" y="192"/>
                  </a:cubicBezTo>
                  <a:cubicBezTo>
                    <a:pt x="132" y="203"/>
                    <a:pt x="112" y="209"/>
                    <a:pt x="86" y="209"/>
                  </a:cubicBezTo>
                  <a:cubicBezTo>
                    <a:pt x="0" y="209"/>
                    <a:pt x="0" y="209"/>
                    <a:pt x="0" y="209"/>
                  </a:cubicBezTo>
                  <a:lnTo>
                    <a:pt x="0" y="0"/>
                  </a:lnTo>
                  <a:close/>
                  <a:moveTo>
                    <a:pt x="78" y="81"/>
                  </a:moveTo>
                  <a:cubicBezTo>
                    <a:pt x="87" y="81"/>
                    <a:pt x="94" y="79"/>
                    <a:pt x="99" y="75"/>
                  </a:cubicBezTo>
                  <a:cubicBezTo>
                    <a:pt x="104" y="71"/>
                    <a:pt x="106" y="66"/>
                    <a:pt x="106" y="59"/>
                  </a:cubicBezTo>
                  <a:cubicBezTo>
                    <a:pt x="106" y="52"/>
                    <a:pt x="104" y="46"/>
                    <a:pt x="99" y="42"/>
                  </a:cubicBezTo>
                  <a:cubicBezTo>
                    <a:pt x="94" y="38"/>
                    <a:pt x="87" y="37"/>
                    <a:pt x="79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81"/>
                    <a:pt x="46" y="81"/>
                    <a:pt x="46" y="81"/>
                  </a:cubicBezTo>
                  <a:lnTo>
                    <a:pt x="78" y="81"/>
                  </a:lnTo>
                  <a:close/>
                  <a:moveTo>
                    <a:pt x="84" y="172"/>
                  </a:moveTo>
                  <a:cubicBezTo>
                    <a:pt x="96" y="172"/>
                    <a:pt x="105" y="169"/>
                    <a:pt x="111" y="165"/>
                  </a:cubicBezTo>
                  <a:cubicBezTo>
                    <a:pt x="117" y="160"/>
                    <a:pt x="120" y="154"/>
                    <a:pt x="120" y="145"/>
                  </a:cubicBezTo>
                  <a:cubicBezTo>
                    <a:pt x="120" y="136"/>
                    <a:pt x="117" y="129"/>
                    <a:pt x="111" y="124"/>
                  </a:cubicBezTo>
                  <a:cubicBezTo>
                    <a:pt x="105" y="119"/>
                    <a:pt x="96" y="117"/>
                    <a:pt x="85" y="117"/>
                  </a:cubicBezTo>
                  <a:cubicBezTo>
                    <a:pt x="46" y="117"/>
                    <a:pt x="46" y="117"/>
                    <a:pt x="46" y="117"/>
                  </a:cubicBezTo>
                  <a:cubicBezTo>
                    <a:pt x="46" y="172"/>
                    <a:pt x="46" y="172"/>
                    <a:pt x="46" y="172"/>
                  </a:cubicBezTo>
                  <a:lnTo>
                    <a:pt x="84" y="1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19"/>
            <p:cNvSpPr>
              <a:spLocks noEditPoints="1"/>
            </p:cNvSpPr>
            <p:nvPr userDrawn="1"/>
          </p:nvSpPr>
          <p:spPr bwMode="gray">
            <a:xfrm>
              <a:off x="2573338" y="5237163"/>
              <a:ext cx="627062" cy="782637"/>
            </a:xfrm>
            <a:custGeom>
              <a:avLst/>
              <a:gdLst>
                <a:gd name="T0" fmla="*/ 0 w 167"/>
                <a:gd name="T1" fmla="*/ 0 h 209"/>
                <a:gd name="T2" fmla="*/ 82 w 167"/>
                <a:gd name="T3" fmla="*/ 0 h 209"/>
                <a:gd name="T4" fmla="*/ 132 w 167"/>
                <a:gd name="T5" fmla="*/ 15 h 209"/>
                <a:gd name="T6" fmla="*/ 150 w 167"/>
                <a:gd name="T7" fmla="*/ 53 h 209"/>
                <a:gd name="T8" fmla="*/ 128 w 167"/>
                <a:gd name="T9" fmla="*/ 94 h 209"/>
                <a:gd name="T10" fmla="*/ 167 w 167"/>
                <a:gd name="T11" fmla="*/ 146 h 209"/>
                <a:gd name="T12" fmla="*/ 146 w 167"/>
                <a:gd name="T13" fmla="*/ 192 h 209"/>
                <a:gd name="T14" fmla="*/ 86 w 167"/>
                <a:gd name="T15" fmla="*/ 209 h 209"/>
                <a:gd name="T16" fmla="*/ 0 w 167"/>
                <a:gd name="T17" fmla="*/ 209 h 209"/>
                <a:gd name="T18" fmla="*/ 0 w 167"/>
                <a:gd name="T19" fmla="*/ 0 h 209"/>
                <a:gd name="T20" fmla="*/ 79 w 167"/>
                <a:gd name="T21" fmla="*/ 81 h 209"/>
                <a:gd name="T22" fmla="*/ 99 w 167"/>
                <a:gd name="T23" fmla="*/ 75 h 209"/>
                <a:gd name="T24" fmla="*/ 106 w 167"/>
                <a:gd name="T25" fmla="*/ 59 h 209"/>
                <a:gd name="T26" fmla="*/ 99 w 167"/>
                <a:gd name="T27" fmla="*/ 42 h 209"/>
                <a:gd name="T28" fmla="*/ 79 w 167"/>
                <a:gd name="T29" fmla="*/ 37 h 209"/>
                <a:gd name="T30" fmla="*/ 46 w 167"/>
                <a:gd name="T31" fmla="*/ 37 h 209"/>
                <a:gd name="T32" fmla="*/ 46 w 167"/>
                <a:gd name="T33" fmla="*/ 81 h 209"/>
                <a:gd name="T34" fmla="*/ 79 w 167"/>
                <a:gd name="T35" fmla="*/ 81 h 209"/>
                <a:gd name="T36" fmla="*/ 84 w 167"/>
                <a:gd name="T37" fmla="*/ 172 h 209"/>
                <a:gd name="T38" fmla="*/ 111 w 167"/>
                <a:gd name="T39" fmla="*/ 165 h 209"/>
                <a:gd name="T40" fmla="*/ 121 w 167"/>
                <a:gd name="T41" fmla="*/ 145 h 209"/>
                <a:gd name="T42" fmla="*/ 111 w 167"/>
                <a:gd name="T43" fmla="*/ 124 h 209"/>
                <a:gd name="T44" fmla="*/ 85 w 167"/>
                <a:gd name="T45" fmla="*/ 117 h 209"/>
                <a:gd name="T46" fmla="*/ 46 w 167"/>
                <a:gd name="T47" fmla="*/ 117 h 209"/>
                <a:gd name="T48" fmla="*/ 46 w 167"/>
                <a:gd name="T49" fmla="*/ 172 h 209"/>
                <a:gd name="T50" fmla="*/ 84 w 167"/>
                <a:gd name="T51" fmla="*/ 172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7" h="209">
                  <a:moveTo>
                    <a:pt x="0" y="0"/>
                  </a:moveTo>
                  <a:cubicBezTo>
                    <a:pt x="82" y="0"/>
                    <a:pt x="82" y="0"/>
                    <a:pt x="82" y="0"/>
                  </a:cubicBezTo>
                  <a:cubicBezTo>
                    <a:pt x="103" y="0"/>
                    <a:pt x="120" y="5"/>
                    <a:pt x="132" y="15"/>
                  </a:cubicBezTo>
                  <a:cubicBezTo>
                    <a:pt x="144" y="24"/>
                    <a:pt x="150" y="37"/>
                    <a:pt x="150" y="53"/>
                  </a:cubicBezTo>
                  <a:cubicBezTo>
                    <a:pt x="150" y="71"/>
                    <a:pt x="143" y="84"/>
                    <a:pt x="128" y="94"/>
                  </a:cubicBezTo>
                  <a:cubicBezTo>
                    <a:pt x="154" y="103"/>
                    <a:pt x="167" y="120"/>
                    <a:pt x="167" y="146"/>
                  </a:cubicBezTo>
                  <a:cubicBezTo>
                    <a:pt x="167" y="166"/>
                    <a:pt x="160" y="182"/>
                    <a:pt x="146" y="192"/>
                  </a:cubicBezTo>
                  <a:cubicBezTo>
                    <a:pt x="132" y="203"/>
                    <a:pt x="112" y="209"/>
                    <a:pt x="86" y="209"/>
                  </a:cubicBezTo>
                  <a:cubicBezTo>
                    <a:pt x="0" y="209"/>
                    <a:pt x="0" y="209"/>
                    <a:pt x="0" y="209"/>
                  </a:cubicBezTo>
                  <a:lnTo>
                    <a:pt x="0" y="0"/>
                  </a:lnTo>
                  <a:close/>
                  <a:moveTo>
                    <a:pt x="79" y="81"/>
                  </a:moveTo>
                  <a:cubicBezTo>
                    <a:pt x="87" y="81"/>
                    <a:pt x="94" y="79"/>
                    <a:pt x="99" y="75"/>
                  </a:cubicBezTo>
                  <a:cubicBezTo>
                    <a:pt x="104" y="71"/>
                    <a:pt x="106" y="66"/>
                    <a:pt x="106" y="59"/>
                  </a:cubicBezTo>
                  <a:cubicBezTo>
                    <a:pt x="106" y="52"/>
                    <a:pt x="104" y="46"/>
                    <a:pt x="99" y="42"/>
                  </a:cubicBezTo>
                  <a:cubicBezTo>
                    <a:pt x="94" y="38"/>
                    <a:pt x="88" y="37"/>
                    <a:pt x="79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81"/>
                    <a:pt x="46" y="81"/>
                    <a:pt x="46" y="81"/>
                  </a:cubicBezTo>
                  <a:lnTo>
                    <a:pt x="79" y="81"/>
                  </a:lnTo>
                  <a:close/>
                  <a:moveTo>
                    <a:pt x="84" y="172"/>
                  </a:moveTo>
                  <a:cubicBezTo>
                    <a:pt x="96" y="172"/>
                    <a:pt x="105" y="169"/>
                    <a:pt x="111" y="165"/>
                  </a:cubicBezTo>
                  <a:cubicBezTo>
                    <a:pt x="118" y="160"/>
                    <a:pt x="121" y="154"/>
                    <a:pt x="121" y="145"/>
                  </a:cubicBezTo>
                  <a:cubicBezTo>
                    <a:pt x="121" y="136"/>
                    <a:pt x="117" y="129"/>
                    <a:pt x="111" y="124"/>
                  </a:cubicBezTo>
                  <a:cubicBezTo>
                    <a:pt x="105" y="119"/>
                    <a:pt x="96" y="117"/>
                    <a:pt x="85" y="117"/>
                  </a:cubicBezTo>
                  <a:cubicBezTo>
                    <a:pt x="46" y="117"/>
                    <a:pt x="46" y="117"/>
                    <a:pt x="46" y="117"/>
                  </a:cubicBezTo>
                  <a:cubicBezTo>
                    <a:pt x="46" y="172"/>
                    <a:pt x="46" y="172"/>
                    <a:pt x="46" y="172"/>
                  </a:cubicBezTo>
                  <a:lnTo>
                    <a:pt x="84" y="1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73" name="Straight Connector 72"/>
          <p:cNvCxnSpPr/>
          <p:nvPr userDrawn="1"/>
        </p:nvCxnSpPr>
        <p:spPr bwMode="gray">
          <a:xfrm>
            <a:off x="1634119" y="6472540"/>
            <a:ext cx="0" cy="132461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8" name="Rectangle 7"/>
          <p:cNvSpPr/>
          <p:nvPr userDrawn="1"/>
        </p:nvSpPr>
        <p:spPr bwMode="gray">
          <a:xfrm>
            <a:off x="11292840" y="6327549"/>
            <a:ext cx="704088" cy="3567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400" dirty="0" err="1"/>
          </a:p>
        </p:txBody>
      </p:sp>
      <p:sp>
        <p:nvSpPr>
          <p:cNvPr id="9" name="Rectangle 8"/>
          <p:cNvSpPr/>
          <p:nvPr userDrawn="1"/>
        </p:nvSpPr>
        <p:spPr bwMode="gray">
          <a:xfrm>
            <a:off x="257845" y="6207919"/>
            <a:ext cx="448211" cy="2646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400" dirty="0" err="1"/>
          </a:p>
        </p:txBody>
      </p:sp>
    </p:spTree>
    <p:extLst>
      <p:ext uri="{BB962C8B-B14F-4D97-AF65-F5344CB8AC3E}">
        <p14:creationId xmlns:p14="http://schemas.microsoft.com/office/powerpoint/2010/main" val="2242401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3" r:id="rId3"/>
    <p:sldLayoutId id="2147483650" r:id="rId4"/>
    <p:sldLayoutId id="2147483651" r:id="rId5"/>
    <p:sldLayoutId id="2147483652" r:id="rId6"/>
    <p:sldLayoutId id="2147483657" r:id="rId7"/>
    <p:sldLayoutId id="2147483665" r:id="rId8"/>
    <p:sldLayoutId id="2147483671" r:id="rId9"/>
    <p:sldLayoutId id="2147483676" r:id="rId10"/>
    <p:sldLayoutId id="2147483681" r:id="rId11"/>
    <p:sldLayoutId id="2147483689" r:id="rId12"/>
    <p:sldLayoutId id="2147483690" r:id="rId13"/>
    <p:sldLayoutId id="2147483691" r:id="rId14"/>
  </p:sldLayoutIdLst>
  <p:transition/>
  <p:hf hdr="0"/>
  <p:txStyles>
    <p:titleStyle>
      <a:lvl1pPr algn="l" defTabSz="914400" rtl="0" eaLnBrk="1" latinLnBrk="0" hangingPunct="1"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600"/>
        </a:spcBef>
        <a:buFont typeface="ABBvoiceOffice" panose="020D0603020503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36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36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6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3.png"/><Relationship Id="rId4" Type="http://schemas.openxmlformats.org/officeDocument/2006/relationships/image" Target="../media/image32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5.svg"/><Relationship Id="rId7" Type="http://schemas.openxmlformats.org/officeDocument/2006/relationships/image" Target="../media/image39.svg"/><Relationship Id="rId12" Type="http://schemas.openxmlformats.org/officeDocument/2006/relationships/image" Target="../media/image44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8.png"/><Relationship Id="rId11" Type="http://schemas.openxmlformats.org/officeDocument/2006/relationships/image" Target="../media/image43.svg"/><Relationship Id="rId5" Type="http://schemas.openxmlformats.org/officeDocument/2006/relationships/image" Target="../media/image37.svg"/><Relationship Id="rId10" Type="http://schemas.openxmlformats.org/officeDocument/2006/relationships/image" Target="../media/image42.png"/><Relationship Id="rId4" Type="http://schemas.openxmlformats.org/officeDocument/2006/relationships/image" Target="../media/image36.png"/><Relationship Id="rId9" Type="http://schemas.openxmlformats.org/officeDocument/2006/relationships/image" Target="../media/image41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6" Type="http://schemas.openxmlformats.org/officeDocument/2006/relationships/comments" Target="../comments/comment1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3.png"/><Relationship Id="rId11" Type="http://schemas.openxmlformats.org/officeDocument/2006/relationships/image" Target="../media/image58.png"/><Relationship Id="rId5" Type="http://schemas.openxmlformats.org/officeDocument/2006/relationships/image" Target="../media/image52.png"/><Relationship Id="rId10" Type="http://schemas.openxmlformats.org/officeDocument/2006/relationships/image" Target="../media/image57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image" Target="../media/image62.png"/><Relationship Id="rId7" Type="http://schemas.openxmlformats.org/officeDocument/2006/relationships/image" Target="../media/image6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19.pn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12" Type="http://schemas.microsoft.com/office/2007/relationships/hdphoto" Target="../media/hdphoto1.wdp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18.pn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17.sv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16.png"/><Relationship Id="rId14" Type="http://schemas.openxmlformats.org/officeDocument/2006/relationships/image" Target="../media/image20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slideLayout" Target="../slideLayouts/slideLayout4.xml"/><Relationship Id="rId1" Type="http://schemas.openxmlformats.org/officeDocument/2006/relationships/video" Target="https://www.youtube.com/embed/luBR3t-DTIk?feature=oembed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C31846F4-E7EE-43C1-8C15-8BAF3B212BC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/>
          <a:srcRect t="11033" b="11033"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evelopments in automation are allowing for the next generation of low/zero emission electric vessels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3E9227-2D9D-4B41-878E-F8A10053530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/>
              <a:t>ABB Marine &amp; Port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4B7F037-774A-4B26-A1C8-D484FB78DAE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/>
              <a:t>Electric. Digital. Connecte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Ed Schwarz, VP New Build</a:t>
            </a:r>
          </a:p>
        </p:txBody>
      </p:sp>
    </p:spTree>
    <p:extLst>
      <p:ext uri="{BB962C8B-B14F-4D97-AF65-F5344CB8AC3E}">
        <p14:creationId xmlns:p14="http://schemas.microsoft.com/office/powerpoint/2010/main" val="2175898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ubtitle 16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dirty="0"/>
              <a:t>What is an Energy Storage System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Energy Storage System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3EF050F-B85E-4E30-B69F-9970B4AED387}" type="datetime4">
              <a:rPr lang="en-US" smtClean="0">
                <a:solidFill>
                  <a:srgbClr val="A0A0A0"/>
                </a:solidFill>
              </a:rPr>
              <a:pPr/>
              <a:t>November 6, 2020</a:t>
            </a:fld>
            <a:endParaRPr lang="en-US">
              <a:solidFill>
                <a:srgbClr val="A0A0A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>
                <a:solidFill>
                  <a:srgbClr val="A0A0A0"/>
                </a:solidFill>
              </a:rPr>
              <a:t>Slide </a:t>
            </a:r>
            <a:fld id="{619F89D8-7AE3-494A-97F3-03D680869632}" type="slidenum">
              <a:rPr lang="en-US" smtClean="0">
                <a:solidFill>
                  <a:srgbClr val="A0A0A0"/>
                </a:solidFill>
              </a:rPr>
              <a:pPr/>
              <a:t>10</a:t>
            </a:fld>
            <a:endParaRPr lang="en-US">
              <a:solidFill>
                <a:srgbClr val="A0A0A0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7416" y="2202812"/>
            <a:ext cx="3420533" cy="378177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75444" y="2259016"/>
            <a:ext cx="2672761" cy="359623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26420" y="2251512"/>
            <a:ext cx="2505403" cy="3093220"/>
          </a:xfrm>
          <a:prstGeom prst="rect">
            <a:avLst/>
          </a:prstGeom>
        </p:spPr>
      </p:pic>
      <p:cxnSp>
        <p:nvCxnSpPr>
          <p:cNvPr id="11" name="Straight Connector 15"/>
          <p:cNvCxnSpPr/>
          <p:nvPr/>
        </p:nvCxnSpPr>
        <p:spPr bwMode="gray">
          <a:xfrm>
            <a:off x="415054" y="2186113"/>
            <a:ext cx="264862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2" name="Straight Connector 16"/>
          <p:cNvCxnSpPr/>
          <p:nvPr/>
        </p:nvCxnSpPr>
        <p:spPr bwMode="gray">
          <a:xfrm>
            <a:off x="4768513" y="2186113"/>
            <a:ext cx="264862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3" name="Straight Connector 17"/>
          <p:cNvCxnSpPr/>
          <p:nvPr/>
        </p:nvCxnSpPr>
        <p:spPr bwMode="gray">
          <a:xfrm>
            <a:off x="9038879" y="2186113"/>
            <a:ext cx="264862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4" name="Text Placeholder 7"/>
          <p:cNvSpPr txBox="1">
            <a:spLocks/>
          </p:cNvSpPr>
          <p:nvPr/>
        </p:nvSpPr>
        <p:spPr bwMode="gray">
          <a:xfrm>
            <a:off x="353564" y="1816572"/>
            <a:ext cx="2650530" cy="379065"/>
          </a:xfrm>
          <a:prstGeom prst="rect">
            <a:avLst/>
          </a:prstGeom>
        </p:spPr>
        <p:txBody>
          <a:bodyPr vert="horz" lIns="72000" tIns="72000" rIns="72000" bIns="72000" rtlCol="0" anchor="b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ABBvoiceOffice" panose="020D0603020503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dirty="0">
                <a:solidFill>
                  <a:srgbClr val="D90000"/>
                </a:solidFill>
              </a:rPr>
              <a:t>Battery</a:t>
            </a:r>
          </a:p>
        </p:txBody>
      </p:sp>
      <p:sp>
        <p:nvSpPr>
          <p:cNvPr id="15" name="Text Placeholder 7"/>
          <p:cNvSpPr txBox="1">
            <a:spLocks/>
          </p:cNvSpPr>
          <p:nvPr/>
        </p:nvSpPr>
        <p:spPr bwMode="gray">
          <a:xfrm>
            <a:off x="4696845" y="1816572"/>
            <a:ext cx="2650530" cy="379065"/>
          </a:xfrm>
          <a:prstGeom prst="rect">
            <a:avLst/>
          </a:prstGeom>
        </p:spPr>
        <p:txBody>
          <a:bodyPr vert="horz" lIns="72000" tIns="72000" rIns="72000" bIns="72000" rtlCol="0" anchor="b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ABBvoiceOffice" panose="020D0603020503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>
                <a:solidFill>
                  <a:srgbClr val="D90000"/>
                </a:solidFill>
              </a:rPr>
              <a:t>Converter</a:t>
            </a:r>
          </a:p>
        </p:txBody>
      </p:sp>
      <p:sp>
        <p:nvSpPr>
          <p:cNvPr id="16" name="Text Placeholder 7"/>
          <p:cNvSpPr txBox="1">
            <a:spLocks/>
          </p:cNvSpPr>
          <p:nvPr/>
        </p:nvSpPr>
        <p:spPr bwMode="gray">
          <a:xfrm>
            <a:off x="8981293" y="1816572"/>
            <a:ext cx="2650530" cy="379065"/>
          </a:xfrm>
          <a:prstGeom prst="rect">
            <a:avLst/>
          </a:prstGeom>
        </p:spPr>
        <p:txBody>
          <a:bodyPr vert="horz" lIns="72000" tIns="72000" rIns="72000" bIns="72000" rtlCol="0" anchor="b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ABBvoiceOffice" panose="020D0603020503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>
                <a:solidFill>
                  <a:srgbClr val="D90000"/>
                </a:solidFill>
              </a:rPr>
              <a:t>Control System</a:t>
            </a:r>
          </a:p>
        </p:txBody>
      </p:sp>
      <p:sp>
        <p:nvSpPr>
          <p:cNvPr id="18" name="Text Placeholder 9"/>
          <p:cNvSpPr txBox="1">
            <a:spLocks/>
          </p:cNvSpPr>
          <p:nvPr/>
        </p:nvSpPr>
        <p:spPr bwMode="gray">
          <a:xfrm>
            <a:off x="518160" y="5452639"/>
            <a:ext cx="11388073" cy="4608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vert="horz" lIns="72000" tIns="72000" rIns="72000" bIns="72000" rtlCol="0" anchor="ctr">
            <a:noAutofit/>
          </a:bodyPr>
          <a:lstStyle>
            <a:defPPr>
              <a:defRPr lang="en-US"/>
            </a:defPPr>
            <a:lvl1pPr marL="0" indent="0" algn="ctr" defTabSz="914400" rtl="0" eaLnBrk="1" latinLnBrk="0" hangingPunct="1"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b="1" dirty="0"/>
              <a:t>Modern energy storage systems would not be possible without automation engineering</a:t>
            </a:r>
          </a:p>
        </p:txBody>
      </p:sp>
      <p:sp>
        <p:nvSpPr>
          <p:cNvPr id="19" name="Text Placeholder 9"/>
          <p:cNvSpPr txBox="1">
            <a:spLocks/>
          </p:cNvSpPr>
          <p:nvPr/>
        </p:nvSpPr>
        <p:spPr bwMode="gray">
          <a:xfrm>
            <a:off x="3794991" y="3395028"/>
            <a:ext cx="632065" cy="460800"/>
          </a:xfrm>
          <a:prstGeom prst="rect">
            <a:avLst/>
          </a:prstGeom>
          <a:solidFill>
            <a:schemeClr val="bg1"/>
          </a:solidFill>
        </p:spPr>
        <p:txBody>
          <a:bodyPr vert="horz" lIns="72000" tIns="72000" rIns="72000" bIns="72000" rtlCol="0" anchor="ctr">
            <a:noAutofit/>
          </a:bodyPr>
          <a:lstStyle>
            <a:defPPr>
              <a:defRPr lang="en-US"/>
            </a:defPPr>
            <a:lvl1pPr marL="0" indent="0" algn="ctr" defTabSz="914400" rtl="0" eaLnBrk="1" latinLnBrk="0" hangingPunct="1"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4800" b="1">
                <a:solidFill>
                  <a:srgbClr val="FF0000"/>
                </a:solidFill>
              </a:rPr>
              <a:t>+</a:t>
            </a:r>
            <a:endParaRPr lang="en-US" sz="4800" b="1">
              <a:solidFill>
                <a:srgbClr val="FF0000"/>
              </a:solidFill>
            </a:endParaRPr>
          </a:p>
        </p:txBody>
      </p:sp>
      <p:sp>
        <p:nvSpPr>
          <p:cNvPr id="20" name="Text Placeholder 9"/>
          <p:cNvSpPr txBox="1">
            <a:spLocks/>
          </p:cNvSpPr>
          <p:nvPr/>
        </p:nvSpPr>
        <p:spPr bwMode="gray">
          <a:xfrm>
            <a:off x="7853635" y="3395028"/>
            <a:ext cx="632065" cy="460800"/>
          </a:xfrm>
          <a:prstGeom prst="rect">
            <a:avLst/>
          </a:prstGeom>
          <a:solidFill>
            <a:schemeClr val="bg1"/>
          </a:solidFill>
        </p:spPr>
        <p:txBody>
          <a:bodyPr vert="horz" lIns="72000" tIns="72000" rIns="72000" bIns="72000" rtlCol="0" anchor="ctr">
            <a:noAutofit/>
          </a:bodyPr>
          <a:lstStyle>
            <a:defPPr>
              <a:defRPr lang="en-US"/>
            </a:defPPr>
            <a:lvl1pPr marL="0" indent="0" algn="ctr" defTabSz="914400" rtl="0" eaLnBrk="1" latinLnBrk="0" hangingPunct="1"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4800" b="1">
                <a:solidFill>
                  <a:srgbClr val="FF0000"/>
                </a:solidFill>
              </a:rPr>
              <a:t>+</a:t>
            </a:r>
            <a:endParaRPr lang="en-US" sz="4800" b="1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35524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26">
            <a:extLst>
              <a:ext uri="{FF2B5EF4-FFF2-40B4-BE49-F238E27FC236}">
                <a16:creationId xmlns:a16="http://schemas.microsoft.com/office/drawing/2014/main" id="{D66F09F9-895E-4CD7-AB1F-2DB26FE8B1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ore Charging Main Consideration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9F89C6E-11A4-476A-8F2D-7FDE5817B4E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lvl="8"/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6EA8CA-5A6A-4B79-AD64-48B5D3A1F613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D8D4DCBA-4C7A-4489-854D-9CAAB7BC53A0}" type="datetime4">
              <a:rPr lang="en-US" smtClean="0"/>
              <a:t>November 6, 2020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294468-B245-4BF9-8EF8-240BD63850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0093621-45B9-48C8-B742-C85CEE7B81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Charge Tim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71EE4D9-A6AD-4E03-924C-F06F95CFD20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Energy Required &amp; Bus Voltag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7DB98B1-D11D-4ACB-ACF9-5A6E24B2309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Dock Space and Arrangement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CB01E44-D753-41D0-8BF3-251BFBD0749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/>
              <a:t>Manpower (automated / manual)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9A29144-9338-4AFA-8FC4-EAA1DD64B2B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 dirty="0"/>
              <a:t>Power Grid Capacity</a:t>
            </a:r>
          </a:p>
        </p:txBody>
      </p:sp>
      <p:sp>
        <p:nvSpPr>
          <p:cNvPr id="28" name="Subtitle 27">
            <a:extLst>
              <a:ext uri="{FF2B5EF4-FFF2-40B4-BE49-F238E27FC236}">
                <a16:creationId xmlns:a16="http://schemas.microsoft.com/office/drawing/2014/main" id="{823E143B-C0E3-464C-B90D-2E66F3328960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First considerations</a:t>
            </a:r>
          </a:p>
        </p:txBody>
      </p:sp>
      <p:pic>
        <p:nvPicPr>
          <p:cNvPr id="35" name="Content Placeholder 34">
            <a:extLst>
              <a:ext uri="{FF2B5EF4-FFF2-40B4-BE49-F238E27FC236}">
                <a16:creationId xmlns:a16="http://schemas.microsoft.com/office/drawing/2014/main" id="{F411A899-3AA1-469D-A048-7C427AE7F514}"/>
              </a:ext>
            </a:extLst>
          </p:cNvPr>
          <p:cNvPicPr>
            <a:picLocks noGrp="1" noChangeAspect="1"/>
          </p:cNvPicPr>
          <p:nvPr>
            <p:ph sz="quarter" idx="28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72172" y="4642486"/>
            <a:ext cx="1005709" cy="1005709"/>
          </a:xfrm>
          <a:prstGeom prst="rect">
            <a:avLst/>
          </a:prstGeom>
        </p:spPr>
      </p:pic>
      <p:pic>
        <p:nvPicPr>
          <p:cNvPr id="39" name="Content Placeholder 38">
            <a:extLst>
              <a:ext uri="{FF2B5EF4-FFF2-40B4-BE49-F238E27FC236}">
                <a16:creationId xmlns:a16="http://schemas.microsoft.com/office/drawing/2014/main" id="{F924ED76-F2EE-4EF3-9E17-0D53A9E74AE5}"/>
              </a:ext>
            </a:extLst>
          </p:cNvPr>
          <p:cNvPicPr>
            <a:picLocks noGrp="1" noChangeAspect="1"/>
          </p:cNvPicPr>
          <p:nvPr>
            <p:ph sz="quarter" idx="24"/>
          </p:nvPr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534098" y="2470275"/>
            <a:ext cx="1005709" cy="1005709"/>
          </a:xfrm>
          <a:prstGeom prst="rect">
            <a:avLst/>
          </a:prstGeom>
        </p:spPr>
      </p:pic>
      <p:pic>
        <p:nvPicPr>
          <p:cNvPr id="40" name="Content Placeholder 39">
            <a:extLst>
              <a:ext uri="{FF2B5EF4-FFF2-40B4-BE49-F238E27FC236}">
                <a16:creationId xmlns:a16="http://schemas.microsoft.com/office/drawing/2014/main" id="{C366BC27-46F2-4DB0-B4A1-990215AC3FEF}"/>
              </a:ext>
            </a:extLst>
          </p:cNvPr>
          <p:cNvPicPr>
            <a:picLocks noGrp="1" noChangeAspect="1"/>
          </p:cNvPicPr>
          <p:nvPr>
            <p:ph sz="quarter" idx="27"/>
          </p:nvPr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534098" y="4642486"/>
            <a:ext cx="1005709" cy="1005709"/>
          </a:xfrm>
          <a:prstGeom prst="rect">
            <a:avLst/>
          </a:prstGeom>
        </p:spPr>
      </p:pic>
      <p:pic>
        <p:nvPicPr>
          <p:cNvPr id="41" name="Content Placeholder 40">
            <a:extLst>
              <a:ext uri="{FF2B5EF4-FFF2-40B4-BE49-F238E27FC236}">
                <a16:creationId xmlns:a16="http://schemas.microsoft.com/office/drawing/2014/main" id="{DAE798DC-305F-495C-A3AB-08C3882393DB}"/>
              </a:ext>
            </a:extLst>
          </p:cNvPr>
          <p:cNvPicPr>
            <a:picLocks noGrp="1" noChangeAspect="1"/>
          </p:cNvPicPr>
          <p:nvPr>
            <p:ph sz="quarter" idx="26"/>
          </p:nvPr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596023" y="4642486"/>
            <a:ext cx="1005709" cy="1005709"/>
          </a:xfrm>
          <a:prstGeom prst="rect">
            <a:avLst/>
          </a:prstGeom>
        </p:spPr>
      </p:pic>
      <p:pic>
        <p:nvPicPr>
          <p:cNvPr id="42" name="Content Placeholder 41">
            <a:extLst>
              <a:ext uri="{FF2B5EF4-FFF2-40B4-BE49-F238E27FC236}">
                <a16:creationId xmlns:a16="http://schemas.microsoft.com/office/drawing/2014/main" id="{E9C068E6-D4BA-42E6-9EFF-5922F04829EC}"/>
              </a:ext>
            </a:extLst>
          </p:cNvPr>
          <p:cNvPicPr>
            <a:picLocks noGrp="1" noChangeAspect="1"/>
          </p:cNvPicPr>
          <p:nvPr>
            <p:ph sz="quarter" idx="25"/>
          </p:nvPr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472172" y="2470275"/>
            <a:ext cx="1005709" cy="1005709"/>
          </a:xfrm>
          <a:prstGeom prst="rect">
            <a:avLst/>
          </a:prstGeom>
        </p:spPr>
      </p:pic>
      <p:pic>
        <p:nvPicPr>
          <p:cNvPr id="13314" name="Picture 2" descr="https://westeurope1-mediap.svc.ms/transform/thumbnail?provider=spo&amp;inputFormat=png&amp;cs=fFNQTw&amp;docid=https%3A%2F%2Fabb.sharepoint.com%3A443%2F_api%2Fv2.0%2Fdrives%2Fb!9ckiMhFl60yBuBHNVzLFC2FHwd8pAklJgZy8phzuJgnDIL1r0YMhQZDYE9Bfe390%2Fitems%2F01TFHSOOD74E3OXSGAZFHY247SUMRTZ2IP%3Fversion%3DPublished&amp;access_token=eyJ0eXAiOiJKV1QiLCJhbGciOiJub25lIn0.eyJhdWQiOiIwMDAwMDAwMy0wMDAwLTBmZjEtY2UwMC0wMDAwMDAwMDAwMDAvYWJiLnNoYXJlcG9pbnQuY29tQDM3MmVlOWUwLTljZTAtNDAzMy1hNjRhLWMwNzA3M2E5MWVjZCIsImlzcyI6IjAwMDAwMDAzLTAwMDAtMGZmMS1jZTAwLTAwMDAwMDAwMDAwMCIsIm5iZiI6IjE1NTc4NTA4OTYiLCJleHAiOiIxNTU3ODcyNDk2IiwiZW5kcG9pbnR1cmwiOiJ0NUlzZUlpUWRFQnRUVFppS0pkOXI0M0ZjZzFKN1hkNmEwU1RIK2x1ZHZjPSIsImVuZHBvaW50dXJsTGVuZ3RoIjoiMTEwIiwiaXNsb29wYmFjayI6IlRydWUiLCJjaWQiOiJNekE1TldSak9XVXRNREJsT0Mwd01EQXdMVGs1WXpJdE1UTXhaRFpqWWprNU5UVTAiLCJ2ZXIiOiJoYXNoZWRwcm9vZnRva2VuIiwic2l0ZWlkIjoiTXpJeU1tTTVaalV0TmpVeE1TMDBZMlZpTFRneFlqZ3RNVEZqWkRVM016SmpOVEJpIiwibmFtZWlkIjoiMCMuZnxtZW1iZXJzaGlwfHBldGVyLmJyeW5AdXMuYWJiLmNvbSIsIm5paSI6Im1pY3Jvc29mdC5zaGFyZXBvaW50IiwiaXN1c2VyIjoidHJ1ZSIsImNhY2hla2V5IjoiMGguZnxtZW1iZXJzaGlwfDEwMDNiZmZkYWYzZjg0YTdAbGl2ZS5jb20iLCJ0dCI6IjAiLCJ1c2VQZXJzaXN0ZW50Q29va2llIjoiMiJ9.eUFIQTVnNjBpMm43d1k1UW9EUEMzVnY4QVV2RERoakt1ZkhmY1hIalROdz0&amp;encodeFailures=1&amp;width=1600&amp;height=717&amp;srcWidth=&amp;srcHeight=">
            <a:extLst>
              <a:ext uri="{FF2B5EF4-FFF2-40B4-BE49-F238E27FC236}">
                <a16:creationId xmlns:a16="http://schemas.microsoft.com/office/drawing/2014/main" id="{37180556-D453-40EA-826E-8163101FB803}"/>
              </a:ext>
            </a:extLst>
          </p:cNvPr>
          <p:cNvPicPr>
            <a:picLocks noGrp="1" noChangeAspect="1" noChangeArrowheads="1"/>
          </p:cNvPicPr>
          <p:nvPr>
            <p:ph sz="quarter" idx="23"/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7993" y="1932183"/>
            <a:ext cx="2353514" cy="1807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1627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7"/>
          </p:nvPr>
        </p:nvSpPr>
        <p:spPr>
          <a:xfrm>
            <a:off x="184160" y="1692774"/>
            <a:ext cx="5097566" cy="3735331"/>
          </a:xfrm>
        </p:spPr>
        <p:txBody>
          <a:bodyPr/>
          <a:lstStyle/>
          <a:p>
            <a:r>
              <a:rPr lang="en-US" dirty="0"/>
              <a:t>Definition of design parameters</a:t>
            </a:r>
          </a:p>
          <a:p>
            <a:pPr marL="285721" indent="-285721">
              <a:buFont typeface="Arial" panose="020B0604020202020204" pitchFamily="34" charset="0"/>
              <a:buChar char="•"/>
            </a:pPr>
            <a:r>
              <a:rPr lang="en-US" dirty="0"/>
              <a:t>Realistic ferry movement limits during arrival and charging</a:t>
            </a:r>
          </a:p>
          <a:p>
            <a:pPr marL="285721" indent="-285721">
              <a:buFont typeface="Arial" panose="020B0604020202020204" pitchFamily="34" charset="0"/>
              <a:buChar char="•"/>
            </a:pPr>
            <a:r>
              <a:rPr lang="en-US" dirty="0"/>
              <a:t>To be compatible with selected pier structures</a:t>
            </a:r>
          </a:p>
          <a:p>
            <a:endParaRPr lang="en-US" dirty="0"/>
          </a:p>
          <a:p>
            <a:pPr marL="285721" indent="-285721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fi-FI" dirty="0"/>
              <a:t>Second consideration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Shore Charging Consideration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52D8BD1-1B0C-4F29-965E-031BF5694099}" type="datetime4">
              <a:rPr lang="en-US" smtClean="0"/>
              <a:t>November 6, 2020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12</a:t>
            </a:fld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4160" y="3078480"/>
            <a:ext cx="5031138" cy="291848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16330" y="1177656"/>
            <a:ext cx="6389149" cy="48193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2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440941" y="6207919"/>
            <a:ext cx="8599905" cy="590550"/>
          </a:xfrm>
        </p:spPr>
        <p:txBody>
          <a:bodyPr/>
          <a:lstStyle/>
          <a:p>
            <a:pPr algn="ctr"/>
            <a:r>
              <a:rPr lang="en-US" dirty="0"/>
              <a:t>MARAD 08-03-2018</a:t>
            </a:r>
          </a:p>
        </p:txBody>
      </p:sp>
    </p:spTree>
    <p:extLst>
      <p:ext uri="{BB962C8B-B14F-4D97-AF65-F5344CB8AC3E}">
        <p14:creationId xmlns:p14="http://schemas.microsoft.com/office/powerpoint/2010/main" val="1184294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6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>
                <a:latin typeface="+mj-lt"/>
              </a:rPr>
              <a:t>Charging types – need to evaluate fit for purpose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ore Connection / Charging Approach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E3C1832-501B-447D-B0FB-C005D7DDE306}" type="datetime4">
              <a:rPr lang="en-US" smtClean="0"/>
              <a:t>November 6, 2020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13</a:t>
            </a:fld>
            <a:endParaRPr lang="en-US"/>
          </a:p>
        </p:txBody>
      </p:sp>
      <p:cxnSp>
        <p:nvCxnSpPr>
          <p:cNvPr id="8" name="Straight Arrow Connector 7"/>
          <p:cNvCxnSpPr/>
          <p:nvPr/>
        </p:nvCxnSpPr>
        <p:spPr bwMode="gray">
          <a:xfrm flipV="1">
            <a:off x="2866317" y="1672637"/>
            <a:ext cx="0" cy="3824528"/>
          </a:xfrm>
          <a:prstGeom prst="straightConnector1">
            <a:avLst/>
          </a:prstGeom>
          <a:ln w="571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>
            <a:cxnSpLocks/>
          </p:cNvCxnSpPr>
          <p:nvPr/>
        </p:nvCxnSpPr>
        <p:spPr bwMode="gray">
          <a:xfrm>
            <a:off x="2843988" y="5469930"/>
            <a:ext cx="6636444" cy="27236"/>
          </a:xfrm>
          <a:prstGeom prst="straightConnector1">
            <a:avLst/>
          </a:prstGeom>
          <a:ln w="571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17"/>
          <p:cNvSpPr txBox="1">
            <a:spLocks noChangeArrowheads="1"/>
          </p:cNvSpPr>
          <p:nvPr/>
        </p:nvSpPr>
        <p:spPr bwMode="auto">
          <a:xfrm rot="16200000">
            <a:off x="2253579" y="1779902"/>
            <a:ext cx="760068" cy="307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fi-FI" altLang="en-US" sz="1400" dirty="0">
                <a:latin typeface="+mn-lt"/>
              </a:rPr>
              <a:t>Power </a:t>
            </a:r>
            <a:endParaRPr lang="en-GB" altLang="en-US" sz="1400" dirty="0">
              <a:latin typeface="+mn-lt"/>
            </a:endParaRPr>
          </a:p>
        </p:txBody>
      </p:sp>
      <p:sp>
        <p:nvSpPr>
          <p:cNvPr id="60" name="TextBox 57"/>
          <p:cNvSpPr txBox="1">
            <a:spLocks noChangeArrowheads="1"/>
          </p:cNvSpPr>
          <p:nvPr/>
        </p:nvSpPr>
        <p:spPr bwMode="auto">
          <a:xfrm>
            <a:off x="8883874" y="5558622"/>
            <a:ext cx="1090062" cy="461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r>
              <a:rPr lang="fi-FI" altLang="en-US" sz="1200" dirty="0">
                <a:latin typeface="+mn-lt"/>
              </a:rPr>
              <a:t>Connection Time </a:t>
            </a:r>
            <a:endParaRPr lang="en-GB" altLang="en-US" sz="1200" dirty="0">
              <a:latin typeface="+mn-lt"/>
            </a:endParaRPr>
          </a:p>
        </p:txBody>
      </p:sp>
      <p:sp>
        <p:nvSpPr>
          <p:cNvPr id="61" name="TextBox 58"/>
          <p:cNvSpPr txBox="1">
            <a:spLocks noChangeArrowheads="1"/>
          </p:cNvSpPr>
          <p:nvPr/>
        </p:nvSpPr>
        <p:spPr bwMode="auto">
          <a:xfrm>
            <a:off x="2373486" y="2406153"/>
            <a:ext cx="470502" cy="430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r>
              <a:rPr lang="en-US" altLang="en-US" sz="1100" dirty="0">
                <a:latin typeface="+mn-lt"/>
              </a:rPr>
              <a:t>10 MW </a:t>
            </a:r>
          </a:p>
        </p:txBody>
      </p:sp>
      <p:sp>
        <p:nvSpPr>
          <p:cNvPr id="62" name="TextBox 59"/>
          <p:cNvSpPr txBox="1">
            <a:spLocks noChangeArrowheads="1"/>
          </p:cNvSpPr>
          <p:nvPr/>
        </p:nvSpPr>
        <p:spPr bwMode="auto">
          <a:xfrm>
            <a:off x="2289953" y="4798104"/>
            <a:ext cx="687321" cy="430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1100"/>
            </a:lvl1pPr>
            <a:lvl2pPr marL="742950" indent="-285750">
              <a:defRPr>
                <a:latin typeface="Calibri" panose="020F0502020204030204" pitchFamily="34" charset="0"/>
              </a:defRPr>
            </a:lvl2pPr>
            <a:lvl3pPr marL="1143000" indent="-228600">
              <a:defRPr>
                <a:latin typeface="Calibri" panose="020F0502020204030204" pitchFamily="34" charset="0"/>
              </a:defRPr>
            </a:lvl3pPr>
            <a:lvl4pPr marL="1600200" indent="-228600">
              <a:defRPr>
                <a:latin typeface="Calibri" panose="020F0502020204030204" pitchFamily="34" charset="0"/>
              </a:defRPr>
            </a:lvl4pPr>
            <a:lvl5pPr marL="2057400" indent="-228600">
              <a:defRPr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</a:defRPr>
            </a:lvl9pPr>
          </a:lstStyle>
          <a:p>
            <a:r>
              <a:rPr lang="en-US" altLang="en-US" dirty="0"/>
              <a:t>&lt; 100 kW </a:t>
            </a:r>
          </a:p>
        </p:txBody>
      </p:sp>
      <p:sp>
        <p:nvSpPr>
          <p:cNvPr id="63" name="TextBox 60"/>
          <p:cNvSpPr txBox="1">
            <a:spLocks noChangeArrowheads="1"/>
          </p:cNvSpPr>
          <p:nvPr/>
        </p:nvSpPr>
        <p:spPr bwMode="auto">
          <a:xfrm>
            <a:off x="3649877" y="5497165"/>
            <a:ext cx="999995" cy="261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1100"/>
            </a:lvl1pPr>
            <a:lvl2pPr marL="742950" indent="-285750">
              <a:defRPr>
                <a:latin typeface="Calibri" panose="020F0502020204030204" pitchFamily="34" charset="0"/>
              </a:defRPr>
            </a:lvl2pPr>
            <a:lvl3pPr marL="1143000" indent="-228600">
              <a:defRPr>
                <a:latin typeface="Calibri" panose="020F0502020204030204" pitchFamily="34" charset="0"/>
              </a:defRPr>
            </a:lvl3pPr>
            <a:lvl4pPr marL="1600200" indent="-228600">
              <a:defRPr>
                <a:latin typeface="Calibri" panose="020F0502020204030204" pitchFamily="34" charset="0"/>
              </a:defRPr>
            </a:lvl4pPr>
            <a:lvl5pPr marL="2057400" indent="-228600">
              <a:defRPr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</a:defRPr>
            </a:lvl9pPr>
          </a:lstStyle>
          <a:p>
            <a:r>
              <a:rPr lang="en-US" altLang="en-US" dirty="0"/>
              <a:t>Seconds </a:t>
            </a:r>
          </a:p>
        </p:txBody>
      </p:sp>
      <p:sp>
        <p:nvSpPr>
          <p:cNvPr id="65" name="TextBox 63"/>
          <p:cNvSpPr txBox="1">
            <a:spLocks noChangeArrowheads="1"/>
          </p:cNvSpPr>
          <p:nvPr/>
        </p:nvSpPr>
        <p:spPr bwMode="auto">
          <a:xfrm>
            <a:off x="5780698" y="5497165"/>
            <a:ext cx="999995" cy="261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1100"/>
            </a:lvl1pPr>
            <a:lvl2pPr marL="742950" indent="-285750">
              <a:defRPr>
                <a:latin typeface="Calibri" panose="020F0502020204030204" pitchFamily="34" charset="0"/>
              </a:defRPr>
            </a:lvl2pPr>
            <a:lvl3pPr marL="1143000" indent="-228600">
              <a:defRPr>
                <a:latin typeface="Calibri" panose="020F0502020204030204" pitchFamily="34" charset="0"/>
              </a:defRPr>
            </a:lvl3pPr>
            <a:lvl4pPr marL="1600200" indent="-228600">
              <a:defRPr>
                <a:latin typeface="Calibri" panose="020F0502020204030204" pitchFamily="34" charset="0"/>
              </a:defRPr>
            </a:lvl4pPr>
            <a:lvl5pPr marL="2057400" indent="-228600">
              <a:defRPr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</a:defRPr>
            </a:lvl9pPr>
          </a:lstStyle>
          <a:p>
            <a:r>
              <a:rPr lang="en-US" altLang="en-US" dirty="0"/>
              <a:t>Minutes </a:t>
            </a:r>
          </a:p>
        </p:txBody>
      </p:sp>
      <p:sp>
        <p:nvSpPr>
          <p:cNvPr id="66" name="Rectangle 65"/>
          <p:cNvSpPr/>
          <p:nvPr/>
        </p:nvSpPr>
        <p:spPr bwMode="gray">
          <a:xfrm>
            <a:off x="2933786" y="1933769"/>
            <a:ext cx="3262963" cy="343462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/>
          </a:p>
        </p:txBody>
      </p:sp>
      <p:sp>
        <p:nvSpPr>
          <p:cNvPr id="67" name="Rectangle 66"/>
          <p:cNvSpPr/>
          <p:nvPr/>
        </p:nvSpPr>
        <p:spPr bwMode="gray">
          <a:xfrm>
            <a:off x="6196749" y="1933766"/>
            <a:ext cx="3092131" cy="343462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/>
          </a:p>
        </p:txBody>
      </p:sp>
      <p:sp>
        <p:nvSpPr>
          <p:cNvPr id="75" name="Rectangle 74"/>
          <p:cNvSpPr/>
          <p:nvPr/>
        </p:nvSpPr>
        <p:spPr>
          <a:xfrm>
            <a:off x="6343396" y="2016963"/>
            <a:ext cx="138327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endParaRPr lang="en-US" altLang="en-US" sz="1600" dirty="0"/>
          </a:p>
        </p:txBody>
      </p:sp>
      <p:sp>
        <p:nvSpPr>
          <p:cNvPr id="29" name="TextBox 63"/>
          <p:cNvSpPr txBox="1">
            <a:spLocks noChangeArrowheads="1"/>
          </p:cNvSpPr>
          <p:nvPr/>
        </p:nvSpPr>
        <p:spPr bwMode="auto">
          <a:xfrm>
            <a:off x="7553476" y="5496703"/>
            <a:ext cx="999995" cy="261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1100"/>
            </a:lvl1pPr>
            <a:lvl2pPr marL="742950" indent="-285750">
              <a:defRPr>
                <a:latin typeface="Calibri" panose="020F0502020204030204" pitchFamily="34" charset="0"/>
              </a:defRPr>
            </a:lvl2pPr>
            <a:lvl3pPr marL="1143000" indent="-228600">
              <a:defRPr>
                <a:latin typeface="Calibri" panose="020F0502020204030204" pitchFamily="34" charset="0"/>
              </a:defRPr>
            </a:lvl3pPr>
            <a:lvl4pPr marL="1600200" indent="-228600">
              <a:defRPr>
                <a:latin typeface="Calibri" panose="020F0502020204030204" pitchFamily="34" charset="0"/>
              </a:defRPr>
            </a:lvl4pPr>
            <a:lvl5pPr marL="2057400" indent="-228600">
              <a:defRPr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anose="020F0502020204030204" pitchFamily="34" charset="0"/>
              </a:defRPr>
            </a:lvl9pPr>
          </a:lstStyle>
          <a:p>
            <a:r>
              <a:rPr lang="en-US" altLang="en-US" dirty="0"/>
              <a:t>Hours </a:t>
            </a:r>
          </a:p>
        </p:txBody>
      </p:sp>
      <p:sp>
        <p:nvSpPr>
          <p:cNvPr id="9" name="Rectangle 8"/>
          <p:cNvSpPr/>
          <p:nvPr/>
        </p:nvSpPr>
        <p:spPr bwMode="gray">
          <a:xfrm>
            <a:off x="416394" y="2057012"/>
            <a:ext cx="1567284" cy="336233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Automatic Connection</a:t>
            </a:r>
          </a:p>
        </p:txBody>
      </p:sp>
      <p:sp>
        <p:nvSpPr>
          <p:cNvPr id="10" name="Right Arrow 9"/>
          <p:cNvSpPr/>
          <p:nvPr/>
        </p:nvSpPr>
        <p:spPr bwMode="gray">
          <a:xfrm>
            <a:off x="2062514" y="3429000"/>
            <a:ext cx="966783" cy="545699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/>
          </a:p>
        </p:txBody>
      </p:sp>
      <p:sp>
        <p:nvSpPr>
          <p:cNvPr id="32" name="Rectangle 31"/>
          <p:cNvSpPr/>
          <p:nvPr/>
        </p:nvSpPr>
        <p:spPr bwMode="gray">
          <a:xfrm>
            <a:off x="10235184" y="2006234"/>
            <a:ext cx="1419130" cy="142927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Crane assisted  manual connection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10263051" y="3793028"/>
            <a:ext cx="1419131" cy="142927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en-US" sz="1400"/>
              <a:t>Manual Connection</a:t>
            </a:r>
            <a:endParaRPr lang="en-US" altLang="en-US" sz="1400" dirty="0"/>
          </a:p>
        </p:txBody>
      </p:sp>
      <p:sp>
        <p:nvSpPr>
          <p:cNvPr id="34" name="Right Arrow 33"/>
          <p:cNvSpPr/>
          <p:nvPr/>
        </p:nvSpPr>
        <p:spPr bwMode="gray">
          <a:xfrm rot="10800000">
            <a:off x="9250194" y="2568522"/>
            <a:ext cx="944810" cy="545699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/>
          </a:p>
        </p:txBody>
      </p:sp>
      <p:sp>
        <p:nvSpPr>
          <p:cNvPr id="35" name="Right Arrow 34"/>
          <p:cNvSpPr/>
          <p:nvPr/>
        </p:nvSpPr>
        <p:spPr bwMode="gray">
          <a:xfrm rot="10800000">
            <a:off x="9288880" y="4289478"/>
            <a:ext cx="944810" cy="545699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68BD30F-4C53-4B7F-B2E5-04C0E224EB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75427" y="3562338"/>
            <a:ext cx="3092131" cy="176632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0392B09-139F-4CF7-9940-8418FE39E00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6095205" y="2057013"/>
            <a:ext cx="3092131" cy="140287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86311AD-355C-4B30-8FD1-6A91569A1E7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67072" y="2105366"/>
            <a:ext cx="2875069" cy="3130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3477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6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In summary electrical ferries are only possible through advancements in automation engineering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hore power to drive new electrical vessels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3EF050F-B85E-4E30-B69F-9970B4AED387}" type="datetime4">
              <a:rPr lang="en-US" smtClean="0"/>
              <a:t>November 6, 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14</a:t>
            </a:fld>
            <a:endParaRPr lang="en-US"/>
          </a:p>
        </p:txBody>
      </p:sp>
      <p:grpSp>
        <p:nvGrpSpPr>
          <p:cNvPr id="2" name="Group 1"/>
          <p:cNvGrpSpPr/>
          <p:nvPr/>
        </p:nvGrpSpPr>
        <p:grpSpPr>
          <a:xfrm>
            <a:off x="134112" y="1794836"/>
            <a:ext cx="11648388" cy="4254627"/>
            <a:chOff x="433900" y="1542836"/>
            <a:chExt cx="10691489" cy="4254627"/>
          </a:xfrm>
        </p:grpSpPr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rot="16200000">
              <a:off x="3979068" y="2696317"/>
              <a:ext cx="342900" cy="457200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97181" y="2924917"/>
              <a:ext cx="534441" cy="1214506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46938" y="3480586"/>
              <a:ext cx="642024" cy="658983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58515" y="3226785"/>
              <a:ext cx="749120" cy="912784"/>
            </a:xfrm>
            <a:prstGeom prst="rect">
              <a:avLst/>
            </a:prstGeom>
          </p:spPr>
        </p:pic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63342" y="1904898"/>
              <a:ext cx="2153213" cy="2234671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9451923">
              <a:off x="6296066" y="2914232"/>
              <a:ext cx="477663" cy="512709"/>
            </a:xfrm>
            <a:prstGeom prst="rect">
              <a:avLst/>
            </a:prstGeom>
          </p:spPr>
        </p:pic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rot="16200000">
              <a:off x="3979068" y="3106773"/>
              <a:ext cx="342900" cy="457200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rot="16200000">
              <a:off x="3979068" y="3516373"/>
              <a:ext cx="342900" cy="457200"/>
            </a:xfrm>
            <a:prstGeom prst="rect">
              <a:avLst/>
            </a:prstGeom>
          </p:spPr>
        </p:pic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1579" y="1542836"/>
              <a:ext cx="2896049" cy="3927974"/>
            </a:xfrm>
            <a:prstGeom prst="rect">
              <a:avLst/>
            </a:prstGeom>
          </p:spPr>
        </p:pic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440941" y="4239356"/>
              <a:ext cx="768215" cy="768215"/>
            </a:xfrm>
            <a:prstGeom prst="rect">
              <a:avLst/>
            </a:prstGeom>
            <a:gradFill>
              <a:gsLst>
                <a:gs pos="0">
                  <a:srgbClr val="FFC000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p:spPr>
        </p:pic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5782351">
              <a:off x="2779642" y="1534725"/>
              <a:ext cx="477663" cy="512709"/>
            </a:xfrm>
            <a:prstGeom prst="rect">
              <a:avLst/>
            </a:prstGeom>
          </p:spPr>
        </p:pic>
        <p:cxnSp>
          <p:nvCxnSpPr>
            <p:cNvPr id="25" name="Straight Connector 24"/>
            <p:cNvCxnSpPr/>
            <p:nvPr/>
          </p:nvCxnSpPr>
          <p:spPr bwMode="gray">
            <a:xfrm>
              <a:off x="4229100" y="4139423"/>
              <a:ext cx="6587455" cy="0"/>
            </a:xfrm>
            <a:prstGeom prst="line">
              <a:avLst/>
            </a:prstGeom>
            <a:ln w="635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 bwMode="gray">
            <a:xfrm flipH="1">
              <a:off x="4379118" y="4159526"/>
              <a:ext cx="2382" cy="1637937"/>
            </a:xfrm>
            <a:prstGeom prst="line">
              <a:avLst/>
            </a:prstGeom>
            <a:ln w="635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4" name="Picture 33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366328" y="4247370"/>
              <a:ext cx="768215" cy="768215"/>
            </a:xfrm>
            <a:prstGeom prst="rect">
              <a:avLst/>
            </a:prstGeom>
            <a:gradFill>
              <a:gsLst>
                <a:gs pos="0">
                  <a:srgbClr val="FFC000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p:spPr>
        </p:pic>
        <p:cxnSp>
          <p:nvCxnSpPr>
            <p:cNvPr id="35" name="Straight Connector 34"/>
            <p:cNvCxnSpPr/>
            <p:nvPr/>
          </p:nvCxnSpPr>
          <p:spPr bwMode="gray">
            <a:xfrm flipV="1">
              <a:off x="433900" y="4631477"/>
              <a:ext cx="3945218" cy="24623"/>
            </a:xfrm>
            <a:prstGeom prst="line">
              <a:avLst/>
            </a:prstGeom>
            <a:ln w="63500">
              <a:solidFill>
                <a:srgbClr val="0070C0">
                  <a:alpha val="63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Rectangle 36"/>
            <p:cNvSpPr/>
            <p:nvPr/>
          </p:nvSpPr>
          <p:spPr bwMode="gray">
            <a:xfrm>
              <a:off x="552450" y="4671317"/>
              <a:ext cx="3826668" cy="1126146"/>
            </a:xfrm>
            <a:prstGeom prst="rect">
              <a:avLst/>
            </a:prstGeom>
            <a:solidFill>
              <a:srgbClr val="0070C0">
                <a:alpha val="49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nb-NO" sz="1400" dirty="0" err="1"/>
            </a:p>
          </p:txBody>
        </p:sp>
        <p:sp>
          <p:nvSpPr>
            <p:cNvPr id="38" name="Rectangle 37"/>
            <p:cNvSpPr/>
            <p:nvPr/>
          </p:nvSpPr>
          <p:spPr bwMode="gray">
            <a:xfrm>
              <a:off x="4379118" y="4175841"/>
              <a:ext cx="6437437" cy="1621622"/>
            </a:xfrm>
            <a:prstGeom prst="rect">
              <a:avLst/>
            </a:prstGeom>
            <a:solidFill>
              <a:schemeClr val="accent5">
                <a:lumMod val="50000"/>
                <a:alpha val="4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nb-NO" sz="1400" dirty="0" err="1"/>
            </a:p>
          </p:txBody>
        </p:sp>
        <p:cxnSp>
          <p:nvCxnSpPr>
            <p:cNvPr id="40" name="Straight Connector 39"/>
            <p:cNvCxnSpPr/>
            <p:nvPr/>
          </p:nvCxnSpPr>
          <p:spPr bwMode="gray">
            <a:xfrm flipH="1">
              <a:off x="4675795" y="4155738"/>
              <a:ext cx="9721" cy="604894"/>
            </a:xfrm>
            <a:prstGeom prst="line">
              <a:avLst/>
            </a:prstGeom>
            <a:ln w="635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/>
          </p:nvCxnSpPr>
          <p:spPr bwMode="gray">
            <a:xfrm flipH="1">
              <a:off x="10047905" y="4175510"/>
              <a:ext cx="9721" cy="604894"/>
            </a:xfrm>
            <a:prstGeom prst="line">
              <a:avLst/>
            </a:prstGeom>
            <a:ln w="635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/>
          </p:nvCxnSpPr>
          <p:spPr bwMode="gray">
            <a:xfrm flipH="1">
              <a:off x="8214967" y="4175510"/>
              <a:ext cx="9721" cy="604894"/>
            </a:xfrm>
            <a:prstGeom prst="line">
              <a:avLst/>
            </a:prstGeom>
            <a:ln w="635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/>
          </p:nvCxnSpPr>
          <p:spPr bwMode="gray">
            <a:xfrm flipH="1">
              <a:off x="7909939" y="4175510"/>
              <a:ext cx="9721" cy="604894"/>
            </a:xfrm>
            <a:prstGeom prst="line">
              <a:avLst/>
            </a:prstGeom>
            <a:ln w="635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/>
          </p:nvCxnSpPr>
          <p:spPr bwMode="gray">
            <a:xfrm flipH="1">
              <a:off x="6808383" y="4175668"/>
              <a:ext cx="9721" cy="604894"/>
            </a:xfrm>
            <a:prstGeom prst="line">
              <a:avLst/>
            </a:prstGeom>
            <a:ln w="635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/>
          </p:nvCxnSpPr>
          <p:spPr bwMode="gray">
            <a:xfrm flipH="1">
              <a:off x="6491248" y="4175668"/>
              <a:ext cx="9721" cy="604894"/>
            </a:xfrm>
            <a:prstGeom prst="line">
              <a:avLst/>
            </a:prstGeom>
            <a:ln w="635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/>
          </p:nvCxnSpPr>
          <p:spPr bwMode="gray">
            <a:xfrm flipH="1" flipV="1">
              <a:off x="4692764" y="4739292"/>
              <a:ext cx="1815969" cy="21340"/>
            </a:xfrm>
            <a:prstGeom prst="line">
              <a:avLst/>
            </a:prstGeom>
            <a:ln w="635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/>
          </p:nvCxnSpPr>
          <p:spPr bwMode="gray">
            <a:xfrm flipH="1" flipV="1">
              <a:off x="6808384" y="4778536"/>
              <a:ext cx="1111276" cy="1868"/>
            </a:xfrm>
            <a:prstGeom prst="line">
              <a:avLst/>
            </a:prstGeom>
            <a:ln w="635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/>
          </p:nvCxnSpPr>
          <p:spPr bwMode="gray">
            <a:xfrm flipH="1" flipV="1">
              <a:off x="8236796" y="4759064"/>
              <a:ext cx="1815969" cy="21340"/>
            </a:xfrm>
            <a:prstGeom prst="line">
              <a:avLst/>
            </a:prstGeom>
            <a:ln w="635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5" name="Picture 54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3406864" y="3163922"/>
              <a:ext cx="381000" cy="371475"/>
            </a:xfrm>
            <a:prstGeom prst="rect">
              <a:avLst/>
            </a:prstGeom>
          </p:spPr>
        </p:pic>
        <p:cxnSp>
          <p:nvCxnSpPr>
            <p:cNvPr id="56" name="Straight Connector 55"/>
            <p:cNvCxnSpPr/>
            <p:nvPr/>
          </p:nvCxnSpPr>
          <p:spPr bwMode="gray">
            <a:xfrm flipH="1" flipV="1">
              <a:off x="1606491" y="3328799"/>
              <a:ext cx="1815969" cy="21340"/>
            </a:xfrm>
            <a:prstGeom prst="line">
              <a:avLst/>
            </a:prstGeom>
            <a:ln w="635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/>
          </p:nvCxnSpPr>
          <p:spPr bwMode="gray">
            <a:xfrm flipH="1">
              <a:off x="1645970" y="3356950"/>
              <a:ext cx="25317" cy="930279"/>
            </a:xfrm>
            <a:prstGeom prst="line">
              <a:avLst/>
            </a:prstGeom>
            <a:ln w="635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/>
          </p:nvCxnSpPr>
          <p:spPr bwMode="gray">
            <a:xfrm flipH="1">
              <a:off x="2865700" y="3317091"/>
              <a:ext cx="25317" cy="930279"/>
            </a:xfrm>
            <a:prstGeom prst="line">
              <a:avLst/>
            </a:prstGeom>
            <a:ln w="635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Up-Down Arrow 59"/>
            <p:cNvSpPr/>
            <p:nvPr/>
          </p:nvSpPr>
          <p:spPr bwMode="gray">
            <a:xfrm>
              <a:off x="3716979" y="4075338"/>
              <a:ext cx="279658" cy="993088"/>
            </a:xfrm>
            <a:prstGeom prst="upDownArrow">
              <a:avLst/>
            </a:prstGeom>
            <a:solidFill>
              <a:srgbClr val="0070C0">
                <a:alpha val="7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nb-NO" sz="1400" dirty="0" err="1"/>
            </a:p>
          </p:txBody>
        </p:sp>
        <p:sp>
          <p:nvSpPr>
            <p:cNvPr id="61" name="Oval 60"/>
            <p:cNvSpPr/>
            <p:nvPr/>
          </p:nvSpPr>
          <p:spPr bwMode="gray">
            <a:xfrm>
              <a:off x="9410889" y="4816345"/>
              <a:ext cx="1714500" cy="935961"/>
            </a:xfrm>
            <a:prstGeom prst="ellipse">
              <a:avLst/>
            </a:prstGeom>
            <a:solidFill>
              <a:schemeClr val="tx2">
                <a:alpha val="7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nb-NO" sz="1600" b="1" dirty="0"/>
                <a:t>22kV AC</a:t>
              </a:r>
            </a:p>
          </p:txBody>
        </p:sp>
        <p:sp>
          <p:nvSpPr>
            <p:cNvPr id="62" name="Oval 61"/>
            <p:cNvSpPr/>
            <p:nvPr/>
          </p:nvSpPr>
          <p:spPr bwMode="gray">
            <a:xfrm>
              <a:off x="7549888" y="4839997"/>
              <a:ext cx="1714500" cy="935961"/>
            </a:xfrm>
            <a:prstGeom prst="ellipse">
              <a:avLst/>
            </a:prstGeom>
            <a:solidFill>
              <a:schemeClr val="tx2">
                <a:alpha val="7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nb-NO" sz="1600" b="1" dirty="0"/>
                <a:t>22kV/ 690V AC</a:t>
              </a:r>
            </a:p>
          </p:txBody>
        </p:sp>
        <p:sp>
          <p:nvSpPr>
            <p:cNvPr id="63" name="Oval 62"/>
            <p:cNvSpPr/>
            <p:nvPr/>
          </p:nvSpPr>
          <p:spPr bwMode="gray">
            <a:xfrm>
              <a:off x="5793129" y="4837418"/>
              <a:ext cx="1714500" cy="935961"/>
            </a:xfrm>
            <a:prstGeom prst="ellipse">
              <a:avLst/>
            </a:prstGeom>
            <a:solidFill>
              <a:schemeClr val="tx2">
                <a:alpha val="7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nb-NO" sz="1600" b="1" dirty="0"/>
                <a:t>690V AC/ 1000V DC</a:t>
              </a:r>
            </a:p>
          </p:txBody>
        </p:sp>
        <p:sp>
          <p:nvSpPr>
            <p:cNvPr id="64" name="Oval 63"/>
            <p:cNvSpPr/>
            <p:nvPr/>
          </p:nvSpPr>
          <p:spPr bwMode="gray">
            <a:xfrm>
              <a:off x="3978810" y="4836172"/>
              <a:ext cx="1774586" cy="935961"/>
            </a:xfrm>
            <a:prstGeom prst="ellipse">
              <a:avLst/>
            </a:prstGeom>
            <a:solidFill>
              <a:schemeClr val="tx2">
                <a:alpha val="7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r>
                <a:rPr lang="nb-NO" sz="1600" b="1" dirty="0"/>
                <a:t> 1000V DC Auto-</a:t>
              </a:r>
              <a:r>
                <a:rPr lang="nb-NO" sz="1600" b="1" dirty="0" err="1"/>
                <a:t>connection</a:t>
              </a:r>
              <a:endParaRPr lang="nb-NO" sz="16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3960546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id of the Mist</a:t>
            </a:r>
            <a:endParaRPr lang="en-US" dirty="0"/>
          </a:p>
        </p:txBody>
      </p:sp>
      <p:sp>
        <p:nvSpPr>
          <p:cNvPr id="2" name="Subtitle 1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Fully Electric Passenger Ferry – Niagara Falls</a:t>
            </a:r>
          </a:p>
        </p:txBody>
      </p:sp>
      <p:cxnSp>
        <p:nvCxnSpPr>
          <p:cNvPr id="7" name="Straight Connector 6"/>
          <p:cNvCxnSpPr/>
          <p:nvPr/>
        </p:nvCxnSpPr>
        <p:spPr bwMode="gray">
          <a:xfrm>
            <a:off x="6095206" y="1819485"/>
            <a:ext cx="0" cy="409363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 bwMode="gray">
          <a:xfrm>
            <a:off x="280159" y="3928998"/>
            <a:ext cx="1162464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4" name="Text Placeholder 5"/>
          <p:cNvSpPr txBox="1">
            <a:spLocks/>
          </p:cNvSpPr>
          <p:nvPr/>
        </p:nvSpPr>
        <p:spPr bwMode="gray">
          <a:xfrm>
            <a:off x="6196103" y="2115948"/>
            <a:ext cx="5647379" cy="1787776"/>
          </a:xfrm>
          <a:prstGeom prst="rect">
            <a:avLst/>
          </a:prstGeom>
        </p:spPr>
        <p:txBody>
          <a:bodyPr lIns="71991" tIns="71991" rIns="71991" bIns="71991"/>
          <a:lstStyle>
            <a:defPPr>
              <a:defRPr lang="en-US"/>
            </a:defPPr>
            <a:lvl1pPr indent="0">
              <a:spcBef>
                <a:spcPts val="600"/>
              </a:spcBef>
              <a:buFont typeface="Arial" panose="020B0604020202020204" pitchFamily="34" charset="0"/>
              <a:buNone/>
              <a:defRPr sz="1100">
                <a:solidFill>
                  <a:srgbClr val="000000"/>
                </a:solidFill>
              </a:defRPr>
            </a:lvl1pPr>
            <a:lvl2pPr marL="180000" indent="-180000">
              <a:spcBef>
                <a:spcPct val="20000"/>
              </a:spcBef>
              <a:buFont typeface="ABBvoiceOffice" panose="020D0603020503020204" pitchFamily="34" charset="0"/>
              <a:buChar char="–"/>
              <a:defRPr sz="1400"/>
            </a:lvl2pPr>
            <a:lvl3pPr marL="360000" indent="-180000">
              <a:spcBef>
                <a:spcPct val="20000"/>
              </a:spcBef>
              <a:buFont typeface="Arial" panose="020B0604020202020204" pitchFamily="34" charset="0"/>
              <a:buChar char="•"/>
              <a:defRPr sz="1400"/>
            </a:lvl3pPr>
            <a:lvl4pPr marL="360000" indent="-180000">
              <a:spcBef>
                <a:spcPct val="20000"/>
              </a:spcBef>
              <a:buFont typeface="Arial" panose="020B0604020202020204" pitchFamily="34" charset="0"/>
              <a:buChar char="•"/>
              <a:defRPr sz="1400"/>
            </a:lvl4pPr>
            <a:lvl5pPr marL="360000" indent="-180000">
              <a:spcBef>
                <a:spcPct val="20000"/>
              </a:spcBef>
              <a:buFont typeface="Arial" panose="020B0604020202020204" pitchFamily="34" charset="0"/>
              <a:buChar char="•"/>
              <a:defRPr sz="1400"/>
            </a:lvl5pPr>
            <a:lvl6pPr marL="360000" indent="-180000">
              <a:spcBef>
                <a:spcPct val="20000"/>
              </a:spcBef>
              <a:buFont typeface="Arial" panose="020B0604020202020204" pitchFamily="34" charset="0"/>
              <a:buChar char="•"/>
              <a:defRPr sz="1400"/>
            </a:lvl6pPr>
            <a:lvl7pPr marL="360000" indent="-180000">
              <a:spcBef>
                <a:spcPct val="20000"/>
              </a:spcBef>
              <a:buFont typeface="Arial" panose="020B0604020202020204" pitchFamily="34" charset="0"/>
              <a:buChar char="•"/>
              <a:defRPr sz="1400"/>
            </a:lvl7pPr>
            <a:lvl8pPr marL="360000" indent="-180000">
              <a:spcBef>
                <a:spcPct val="20000"/>
              </a:spcBef>
              <a:buFont typeface="Arial" panose="020B0604020202020204" pitchFamily="34" charset="0"/>
              <a:buChar char="•"/>
              <a:defRPr sz="1400"/>
            </a:lvl8pPr>
            <a:lvl9pPr marL="360000" indent="-180000">
              <a:spcBef>
                <a:spcPct val="20000"/>
              </a:spcBef>
              <a:buFont typeface="Arial" panose="020B0604020202020204" pitchFamily="34" charset="0"/>
              <a:buChar char="•"/>
              <a:defRPr sz="1400"/>
            </a:lvl9pPr>
          </a:lstStyle>
          <a:p>
            <a:pPr>
              <a:buClr>
                <a:schemeClr val="bg2"/>
              </a:buClr>
              <a:defRPr/>
            </a:pPr>
            <a:r>
              <a:rPr lang="fi-FI" dirty="0">
                <a:solidFill>
                  <a:schemeClr val="tx1"/>
                </a:solidFill>
              </a:rPr>
              <a:t>Vessel name: 		Maid of the Mist</a:t>
            </a:r>
          </a:p>
          <a:p>
            <a:pPr>
              <a:buClr>
                <a:schemeClr val="bg2"/>
              </a:buClr>
              <a:defRPr/>
            </a:pPr>
            <a:r>
              <a:rPr lang="fi-FI" dirty="0">
                <a:solidFill>
                  <a:schemeClr val="tx1"/>
                </a:solidFill>
              </a:rPr>
              <a:t>Vessel Type:		Passenger Ferry Catamaran</a:t>
            </a:r>
          </a:p>
          <a:p>
            <a:pPr>
              <a:buClr>
                <a:schemeClr val="bg2"/>
              </a:buClr>
              <a:defRPr/>
            </a:pPr>
            <a:r>
              <a:rPr lang="fi-FI" dirty="0">
                <a:solidFill>
                  <a:schemeClr val="tx1"/>
                </a:solidFill>
              </a:rPr>
              <a:t>Design:		Propulsion Data Services</a:t>
            </a:r>
          </a:p>
          <a:p>
            <a:pPr>
              <a:buClr>
                <a:schemeClr val="bg2"/>
              </a:buClr>
              <a:defRPr/>
            </a:pPr>
            <a:r>
              <a:rPr lang="fi-FI" dirty="0">
                <a:solidFill>
                  <a:schemeClr val="tx1"/>
                </a:solidFill>
              </a:rPr>
              <a:t>Yard: 		Burger Boat Company</a:t>
            </a:r>
          </a:p>
          <a:p>
            <a:pPr>
              <a:buClr>
                <a:schemeClr val="bg2"/>
              </a:buClr>
              <a:defRPr/>
            </a:pPr>
            <a:r>
              <a:rPr lang="fi-FI" dirty="0">
                <a:solidFill>
                  <a:schemeClr val="tx1"/>
                </a:solidFill>
              </a:rPr>
              <a:t>Year:	 	2019</a:t>
            </a:r>
          </a:p>
          <a:p>
            <a:pPr>
              <a:buClr>
                <a:schemeClr val="bg2"/>
              </a:buClr>
              <a:defRPr/>
            </a:pPr>
            <a:r>
              <a:rPr lang="nb-NO" dirty="0">
                <a:solidFill>
                  <a:schemeClr val="tx1"/>
                </a:solidFill>
              </a:rPr>
              <a:t>Class/Authority:	USCG Subchapter K</a:t>
            </a:r>
          </a:p>
          <a:p>
            <a:pPr>
              <a:buClr>
                <a:schemeClr val="bg2"/>
              </a:buClr>
              <a:defRPr/>
            </a:pPr>
            <a:r>
              <a:rPr lang="fi-FI" dirty="0">
                <a:solidFill>
                  <a:schemeClr val="tx1"/>
                </a:solidFill>
              </a:rPr>
              <a:t>Owner:		Maid of the Mist Corp.</a:t>
            </a:r>
          </a:p>
          <a:p>
            <a:endParaRPr lang="nb-NO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		</a:t>
            </a:r>
          </a:p>
        </p:txBody>
      </p:sp>
      <p:sp>
        <p:nvSpPr>
          <p:cNvPr id="15" name="Text Placeholder 7"/>
          <p:cNvSpPr txBox="1">
            <a:spLocks/>
          </p:cNvSpPr>
          <p:nvPr/>
        </p:nvSpPr>
        <p:spPr bwMode="gray">
          <a:xfrm>
            <a:off x="6181190" y="1816782"/>
            <a:ext cx="4047764" cy="364421"/>
          </a:xfrm>
          <a:prstGeom prst="rect">
            <a:avLst/>
          </a:prstGeom>
        </p:spPr>
        <p:txBody>
          <a:bodyPr vert="horz" lIns="71991" tIns="71991" rIns="71991" bIns="71991" rtlCol="0" anchor="b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ABBvoiceOffice" panose="020D0603020503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>
                <a:solidFill>
                  <a:srgbClr val="D90000"/>
                </a:solidFill>
              </a:rPr>
              <a:t>Vessel information </a:t>
            </a:r>
          </a:p>
        </p:txBody>
      </p:sp>
      <p:sp>
        <p:nvSpPr>
          <p:cNvPr id="17" name="Text Placeholder 5"/>
          <p:cNvSpPr txBox="1">
            <a:spLocks/>
          </p:cNvSpPr>
          <p:nvPr/>
        </p:nvSpPr>
        <p:spPr bwMode="gray">
          <a:xfrm>
            <a:off x="404864" y="4284586"/>
            <a:ext cx="5672230" cy="1627479"/>
          </a:xfrm>
          <a:prstGeom prst="rect">
            <a:avLst/>
          </a:prstGeom>
        </p:spPr>
        <p:txBody>
          <a:bodyPr lIns="71991" tIns="71991" rIns="71991" bIns="71991"/>
          <a:lstStyle>
            <a:defPPr>
              <a:defRPr lang="en-US"/>
            </a:defPPr>
            <a:lvl1pPr indent="0">
              <a:spcBef>
                <a:spcPts val="600"/>
              </a:spcBef>
              <a:buFont typeface="Arial" panose="020B0604020202020204" pitchFamily="34" charset="0"/>
              <a:buNone/>
              <a:defRPr sz="1100">
                <a:solidFill>
                  <a:srgbClr val="000000"/>
                </a:solidFill>
              </a:defRPr>
            </a:lvl1pPr>
            <a:lvl2pPr marL="180000" indent="-180000">
              <a:spcBef>
                <a:spcPct val="20000"/>
              </a:spcBef>
              <a:buFont typeface="ABBvoiceOffice" panose="020D0603020503020204" pitchFamily="34" charset="0"/>
              <a:buChar char="–"/>
              <a:defRPr sz="1400"/>
            </a:lvl2pPr>
            <a:lvl3pPr marL="360000" indent="-180000">
              <a:spcBef>
                <a:spcPct val="20000"/>
              </a:spcBef>
              <a:buFont typeface="Arial" panose="020B0604020202020204" pitchFamily="34" charset="0"/>
              <a:buChar char="•"/>
              <a:defRPr sz="1400"/>
            </a:lvl3pPr>
            <a:lvl4pPr marL="360000" indent="-180000">
              <a:spcBef>
                <a:spcPct val="20000"/>
              </a:spcBef>
              <a:buFont typeface="Arial" panose="020B0604020202020204" pitchFamily="34" charset="0"/>
              <a:buChar char="•"/>
              <a:defRPr sz="1400"/>
            </a:lvl4pPr>
            <a:lvl5pPr marL="360000" indent="-180000">
              <a:spcBef>
                <a:spcPct val="20000"/>
              </a:spcBef>
              <a:buFont typeface="Arial" panose="020B0604020202020204" pitchFamily="34" charset="0"/>
              <a:buChar char="•"/>
              <a:defRPr sz="1400"/>
            </a:lvl5pPr>
            <a:lvl6pPr marL="360000" indent="-180000">
              <a:spcBef>
                <a:spcPct val="20000"/>
              </a:spcBef>
              <a:buFont typeface="Arial" panose="020B0604020202020204" pitchFamily="34" charset="0"/>
              <a:buChar char="•"/>
              <a:defRPr sz="1400"/>
            </a:lvl6pPr>
            <a:lvl7pPr marL="360000" indent="-180000">
              <a:spcBef>
                <a:spcPct val="20000"/>
              </a:spcBef>
              <a:buFont typeface="Arial" panose="020B0604020202020204" pitchFamily="34" charset="0"/>
              <a:buChar char="•"/>
              <a:defRPr sz="1400"/>
            </a:lvl7pPr>
            <a:lvl8pPr marL="360000" indent="-180000">
              <a:spcBef>
                <a:spcPct val="20000"/>
              </a:spcBef>
              <a:buFont typeface="Arial" panose="020B0604020202020204" pitchFamily="34" charset="0"/>
              <a:buChar char="•"/>
              <a:defRPr sz="1400"/>
            </a:lvl8pPr>
            <a:lvl9pPr marL="360000" indent="-180000">
              <a:spcBef>
                <a:spcPct val="20000"/>
              </a:spcBef>
              <a:buFont typeface="Arial" panose="020B0604020202020204" pitchFamily="34" charset="0"/>
              <a:buChar char="•"/>
              <a:defRPr sz="1400"/>
            </a:lvl9pPr>
          </a:lstStyle>
          <a:p>
            <a:pPr>
              <a:buClr>
                <a:schemeClr val="accent3">
                  <a:lumMod val="50000"/>
                </a:schemeClr>
              </a:buClr>
              <a:defRPr/>
            </a:pPr>
            <a:r>
              <a:rPr lang="nb-NO" dirty="0">
                <a:solidFill>
                  <a:schemeClr val="tx1"/>
                </a:solidFill>
              </a:rPr>
              <a:t>Energy Storage:	2 x 158kWh (Spear Power Systems)</a:t>
            </a:r>
          </a:p>
          <a:p>
            <a:pPr>
              <a:buClr>
                <a:schemeClr val="accent3">
                  <a:lumMod val="50000"/>
                </a:schemeClr>
              </a:buClr>
              <a:defRPr/>
            </a:pPr>
            <a:r>
              <a:rPr lang="nb-NO" dirty="0">
                <a:solidFill>
                  <a:schemeClr val="tx1"/>
                </a:solidFill>
              </a:rPr>
              <a:t>Shore Charging:	2 x 350kW cables @ 7 mins b/w voyages (Cavotec)</a:t>
            </a:r>
          </a:p>
          <a:p>
            <a:pPr>
              <a:buClr>
                <a:schemeClr val="accent3">
                  <a:lumMod val="50000"/>
                </a:schemeClr>
              </a:buClr>
              <a:defRPr/>
            </a:pPr>
            <a:r>
              <a:rPr lang="nb-NO" dirty="0">
                <a:solidFill>
                  <a:schemeClr val="tx1"/>
                </a:solidFill>
              </a:rPr>
              <a:t>Propulsion: 		2 x 200kW L-drives</a:t>
            </a:r>
            <a:br>
              <a:rPr lang="nb-NO" dirty="0">
                <a:solidFill>
                  <a:schemeClr val="tx1"/>
                </a:solidFill>
              </a:rPr>
            </a:br>
            <a:r>
              <a:rPr lang="nb-NO" dirty="0">
                <a:solidFill>
                  <a:schemeClr val="tx1"/>
                </a:solidFill>
              </a:rPr>
              <a:t>		2 x 50kW bow tunnel thrusters</a:t>
            </a:r>
          </a:p>
          <a:p>
            <a:pPr>
              <a:buClr>
                <a:schemeClr val="accent3">
                  <a:lumMod val="50000"/>
                </a:schemeClr>
              </a:buClr>
              <a:defRPr/>
            </a:pPr>
            <a:r>
              <a:rPr lang="nb-NO" dirty="0">
                <a:solidFill>
                  <a:schemeClr val="tx1"/>
                </a:solidFill>
              </a:rPr>
              <a:t>Automation: 		PEMS with integrated VMS</a:t>
            </a:r>
          </a:p>
          <a:p>
            <a:pPr>
              <a:buClr>
                <a:schemeClr val="accent3">
                  <a:lumMod val="50000"/>
                </a:schemeClr>
              </a:buClr>
              <a:defRPr/>
            </a:pPr>
            <a:r>
              <a:rPr lang="nb-NO" dirty="0">
                <a:solidFill>
                  <a:schemeClr val="tx1"/>
                </a:solidFill>
              </a:rPr>
              <a:t>Advisory:		ABB Remote Diagnostic System</a:t>
            </a:r>
          </a:p>
        </p:txBody>
      </p:sp>
      <p:sp>
        <p:nvSpPr>
          <p:cNvPr id="18" name="Text Placeholder 7"/>
          <p:cNvSpPr txBox="1">
            <a:spLocks/>
          </p:cNvSpPr>
          <p:nvPr/>
        </p:nvSpPr>
        <p:spPr bwMode="gray">
          <a:xfrm>
            <a:off x="404864" y="3985420"/>
            <a:ext cx="5657318" cy="364421"/>
          </a:xfrm>
          <a:prstGeom prst="rect">
            <a:avLst/>
          </a:prstGeom>
        </p:spPr>
        <p:txBody>
          <a:bodyPr vert="horz" lIns="71991" tIns="71991" rIns="71991" bIns="71991" rtlCol="0" anchor="b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ABBvoiceOffice" panose="020D0603020503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dirty="0">
                <a:solidFill>
                  <a:srgbClr val="D90000"/>
                </a:solidFill>
              </a:rPr>
              <a:t>Solution and Scope</a:t>
            </a:r>
          </a:p>
        </p:txBody>
      </p:sp>
      <p:sp>
        <p:nvSpPr>
          <p:cNvPr id="19" name="Text Placeholder 5"/>
          <p:cNvSpPr txBox="1">
            <a:spLocks/>
          </p:cNvSpPr>
          <p:nvPr/>
        </p:nvSpPr>
        <p:spPr bwMode="gray">
          <a:xfrm>
            <a:off x="6211018" y="4287989"/>
            <a:ext cx="5630184" cy="1626715"/>
          </a:xfrm>
          <a:prstGeom prst="rect">
            <a:avLst/>
          </a:prstGeom>
        </p:spPr>
        <p:txBody>
          <a:bodyPr lIns="71991" tIns="71991" rIns="71991" bIns="71991"/>
          <a:lstStyle>
            <a:defPPr>
              <a:defRPr lang="en-US"/>
            </a:defPPr>
            <a:lvl1pPr indent="0">
              <a:spcBef>
                <a:spcPts val="600"/>
              </a:spcBef>
              <a:buFont typeface="Arial" panose="020B0604020202020204" pitchFamily="34" charset="0"/>
              <a:buNone/>
              <a:defRPr sz="1100">
                <a:solidFill>
                  <a:srgbClr val="000000"/>
                </a:solidFill>
              </a:defRPr>
            </a:lvl1pPr>
            <a:lvl2pPr marL="180000" indent="-180000">
              <a:spcBef>
                <a:spcPct val="20000"/>
              </a:spcBef>
              <a:buFont typeface="ABBvoiceOffice" panose="020D0603020503020204" pitchFamily="34" charset="0"/>
              <a:buChar char="–"/>
              <a:defRPr sz="1400"/>
            </a:lvl2pPr>
            <a:lvl3pPr marL="360000" indent="-180000">
              <a:spcBef>
                <a:spcPct val="20000"/>
              </a:spcBef>
              <a:buFont typeface="Arial" panose="020B0604020202020204" pitchFamily="34" charset="0"/>
              <a:buChar char="•"/>
              <a:defRPr sz="1400"/>
            </a:lvl3pPr>
            <a:lvl4pPr marL="360000" indent="-180000">
              <a:spcBef>
                <a:spcPct val="20000"/>
              </a:spcBef>
              <a:buFont typeface="Arial" panose="020B0604020202020204" pitchFamily="34" charset="0"/>
              <a:buChar char="•"/>
              <a:defRPr sz="1400"/>
            </a:lvl4pPr>
            <a:lvl5pPr marL="360000" indent="-180000">
              <a:spcBef>
                <a:spcPct val="20000"/>
              </a:spcBef>
              <a:buFont typeface="Arial" panose="020B0604020202020204" pitchFamily="34" charset="0"/>
              <a:buChar char="•"/>
              <a:defRPr sz="1400"/>
            </a:lvl5pPr>
            <a:lvl6pPr marL="360000" indent="-180000">
              <a:spcBef>
                <a:spcPct val="20000"/>
              </a:spcBef>
              <a:buFont typeface="Arial" panose="020B0604020202020204" pitchFamily="34" charset="0"/>
              <a:buChar char="•"/>
              <a:defRPr sz="1400"/>
            </a:lvl6pPr>
            <a:lvl7pPr marL="360000" indent="-180000">
              <a:spcBef>
                <a:spcPct val="20000"/>
              </a:spcBef>
              <a:buFont typeface="Arial" panose="020B0604020202020204" pitchFamily="34" charset="0"/>
              <a:buChar char="•"/>
              <a:defRPr sz="1400"/>
            </a:lvl7pPr>
            <a:lvl8pPr marL="360000" indent="-180000">
              <a:spcBef>
                <a:spcPct val="20000"/>
              </a:spcBef>
              <a:buFont typeface="Arial" panose="020B0604020202020204" pitchFamily="34" charset="0"/>
              <a:buChar char="•"/>
              <a:defRPr sz="1400"/>
            </a:lvl8pPr>
            <a:lvl9pPr marL="360000" indent="-180000">
              <a:spcBef>
                <a:spcPct val="20000"/>
              </a:spcBef>
              <a:buFont typeface="Arial" panose="020B0604020202020204" pitchFamily="34" charset="0"/>
              <a:buChar char="•"/>
              <a:defRPr sz="1400"/>
            </a:lvl9pPr>
          </a:lstStyle>
          <a:p>
            <a:pPr marL="171433" indent="-171433">
              <a:buFont typeface="Arial" panose="020B0604020202020204" pitchFamily="34" charset="0"/>
              <a:buChar char="•"/>
            </a:pPr>
            <a:r>
              <a:rPr lang="en-US" dirty="0"/>
              <a:t>Among the ﬁrst all-electric passenger vessels in North America</a:t>
            </a:r>
          </a:p>
          <a:p>
            <a:pPr marL="171433" indent="-171433">
              <a:buFont typeface="Arial" panose="020B0604020202020204" pitchFamily="34" charset="0"/>
              <a:buChar char="•"/>
            </a:pPr>
            <a:r>
              <a:rPr lang="en-US" dirty="0"/>
              <a:t>Utilize Li-ion batteries storing hydroelectric power producing zero emissions</a:t>
            </a:r>
          </a:p>
          <a:p>
            <a:pPr marL="171433" indent="-171433">
              <a:buFont typeface="Arial" panose="020B0604020202020204" pitchFamily="34" charset="0"/>
              <a:buChar char="•"/>
            </a:pPr>
            <a:r>
              <a:rPr lang="en-US" dirty="0"/>
              <a:t>Operates nearly silently with little to no vibration</a:t>
            </a:r>
          </a:p>
          <a:p>
            <a:pPr marL="171433" indent="-171433">
              <a:buFont typeface="Arial" panose="020B0604020202020204" pitchFamily="34" charset="0"/>
              <a:buChar char="•"/>
            </a:pPr>
            <a:r>
              <a:rPr lang="en-US" dirty="0"/>
              <a:t>Complete redundancy in propulsion with independent systems in each hull</a:t>
            </a:r>
          </a:p>
          <a:p>
            <a:pPr marL="171433" indent="-171433">
              <a:buFont typeface="Arial" panose="020B0604020202020204" pitchFamily="34" charset="0"/>
              <a:buChar char="•"/>
            </a:pPr>
            <a:r>
              <a:rPr lang="en-US" dirty="0"/>
              <a:t>No diesel or combustion-based backup propulsion system</a:t>
            </a:r>
          </a:p>
        </p:txBody>
      </p:sp>
      <p:sp>
        <p:nvSpPr>
          <p:cNvPr id="20" name="Text Placeholder 7"/>
          <p:cNvSpPr txBox="1">
            <a:spLocks/>
          </p:cNvSpPr>
          <p:nvPr/>
        </p:nvSpPr>
        <p:spPr bwMode="gray">
          <a:xfrm>
            <a:off x="6196104" y="3988823"/>
            <a:ext cx="4047764" cy="364421"/>
          </a:xfrm>
          <a:prstGeom prst="rect">
            <a:avLst/>
          </a:prstGeom>
        </p:spPr>
        <p:txBody>
          <a:bodyPr vert="horz" lIns="71991" tIns="71991" rIns="71991" bIns="71991" rtlCol="0" anchor="b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ABBvoiceOffice" panose="020D0603020503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dirty="0">
                <a:solidFill>
                  <a:srgbClr val="D90000"/>
                </a:solidFill>
              </a:rPr>
              <a:t>Other Information 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15DFDB7A-7A07-4FB9-92A4-A13C0BAAA5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4407" y="1591836"/>
            <a:ext cx="5699988" cy="2244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38118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6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Global footprin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3EF050F-B85E-4E30-B69F-9970B4AED387}" type="datetime4">
              <a:rPr lang="en-US" smtClean="0">
                <a:solidFill>
                  <a:srgbClr val="A0A0A0"/>
                </a:solidFill>
              </a:rPr>
              <a:pPr/>
              <a:t>November 6, 2020</a:t>
            </a:fld>
            <a:endParaRPr lang="en-US">
              <a:solidFill>
                <a:srgbClr val="A0A0A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>
                <a:solidFill>
                  <a:srgbClr val="A0A0A0"/>
                </a:solidFill>
              </a:rPr>
              <a:t>Slide </a:t>
            </a:r>
            <a:fld id="{619F89D8-7AE3-494A-97F3-03D680869632}" type="slidenum">
              <a:rPr lang="en-US" smtClean="0">
                <a:solidFill>
                  <a:srgbClr val="A0A0A0"/>
                </a:solidFill>
              </a:rPr>
              <a:pPr/>
              <a:t>16</a:t>
            </a:fld>
            <a:endParaRPr lang="en-US">
              <a:solidFill>
                <a:srgbClr val="A0A0A0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BBvoice"/>
                <a:ea typeface="ABBvoice" panose="020D0603020503020204" pitchFamily="34" charset="0"/>
                <a:cs typeface="ABBvoice" panose="020D0603020503020204" pitchFamily="34" charset="0"/>
              </a:rPr>
              <a:t>Marine &amp; Ports</a:t>
            </a:r>
          </a:p>
        </p:txBody>
      </p:sp>
      <p:grpSp>
        <p:nvGrpSpPr>
          <p:cNvPr id="15" name="Group 6"/>
          <p:cNvGrpSpPr>
            <a:grpSpLocks noChangeAspect="1"/>
          </p:cNvGrpSpPr>
          <p:nvPr/>
        </p:nvGrpSpPr>
        <p:grpSpPr bwMode="auto">
          <a:xfrm>
            <a:off x="468404" y="1721671"/>
            <a:ext cx="7395200" cy="3826964"/>
            <a:chOff x="240" y="1069"/>
            <a:chExt cx="5295" cy="2740"/>
          </a:xfrm>
          <a:solidFill>
            <a:schemeClr val="bg1">
              <a:lumMod val="75000"/>
            </a:schemeClr>
          </a:solidFill>
        </p:grpSpPr>
        <p:grpSp>
          <p:nvGrpSpPr>
            <p:cNvPr id="16" name="Group 7"/>
            <p:cNvGrpSpPr>
              <a:grpSpLocks noChangeAspect="1"/>
            </p:cNvGrpSpPr>
            <p:nvPr/>
          </p:nvGrpSpPr>
          <p:grpSpPr bwMode="auto">
            <a:xfrm>
              <a:off x="240" y="1097"/>
              <a:ext cx="2014" cy="2712"/>
              <a:chOff x="240" y="1097"/>
              <a:chExt cx="2014" cy="2712"/>
            </a:xfrm>
            <a:grpFill/>
          </p:grpSpPr>
          <p:grpSp>
            <p:nvGrpSpPr>
              <p:cNvPr id="334" name="Group 8"/>
              <p:cNvGrpSpPr>
                <a:grpSpLocks noChangeAspect="1"/>
              </p:cNvGrpSpPr>
              <p:nvPr/>
            </p:nvGrpSpPr>
            <p:grpSpPr bwMode="auto">
              <a:xfrm>
                <a:off x="1529" y="2554"/>
                <a:ext cx="725" cy="1255"/>
                <a:chOff x="1529" y="2554"/>
                <a:chExt cx="725" cy="1255"/>
              </a:xfrm>
              <a:grpFill/>
            </p:grpSpPr>
            <p:sp>
              <p:nvSpPr>
                <p:cNvPr id="385" name="Freeform 9"/>
                <p:cNvSpPr>
                  <a:spLocks noChangeAspect="1"/>
                </p:cNvSpPr>
                <p:nvPr/>
              </p:nvSpPr>
              <p:spPr bwMode="auto">
                <a:xfrm>
                  <a:off x="1692" y="3781"/>
                  <a:ext cx="22" cy="11"/>
                </a:xfrm>
                <a:custGeom>
                  <a:avLst/>
                  <a:gdLst>
                    <a:gd name="T0" fmla="*/ 1 w 32"/>
                    <a:gd name="T1" fmla="*/ 1 h 16"/>
                    <a:gd name="T2" fmla="*/ 1 w 32"/>
                    <a:gd name="T3" fmla="*/ 1 h 16"/>
                    <a:gd name="T4" fmla="*/ 1 w 32"/>
                    <a:gd name="T5" fmla="*/ 1 h 16"/>
                    <a:gd name="T6" fmla="*/ 1 w 32"/>
                    <a:gd name="T7" fmla="*/ 1 h 16"/>
                    <a:gd name="T8" fmla="*/ 0 w 32"/>
                    <a:gd name="T9" fmla="*/ 1 h 16"/>
                    <a:gd name="T10" fmla="*/ 0 w 32"/>
                    <a:gd name="T11" fmla="*/ 0 h 16"/>
                    <a:gd name="T12" fmla="*/ 1 w 32"/>
                    <a:gd name="T13" fmla="*/ 0 h 16"/>
                    <a:gd name="T14" fmla="*/ 1 w 32"/>
                    <a:gd name="T15" fmla="*/ 1 h 1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32"/>
                    <a:gd name="T25" fmla="*/ 0 h 16"/>
                    <a:gd name="T26" fmla="*/ 32 w 32"/>
                    <a:gd name="T27" fmla="*/ 16 h 1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32" h="16">
                      <a:moveTo>
                        <a:pt x="32" y="8"/>
                      </a:moveTo>
                      <a:lnTo>
                        <a:pt x="24" y="8"/>
                      </a:lnTo>
                      <a:lnTo>
                        <a:pt x="24" y="16"/>
                      </a:lnTo>
                      <a:lnTo>
                        <a:pt x="8" y="8"/>
                      </a:ln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16" y="0"/>
                      </a:lnTo>
                      <a:lnTo>
                        <a:pt x="32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86" name="Freeform 10"/>
                <p:cNvSpPr>
                  <a:spLocks noChangeAspect="1"/>
                </p:cNvSpPr>
                <p:nvPr/>
              </p:nvSpPr>
              <p:spPr bwMode="auto">
                <a:xfrm>
                  <a:off x="1669" y="3685"/>
                  <a:ext cx="6" cy="23"/>
                </a:xfrm>
                <a:custGeom>
                  <a:avLst/>
                  <a:gdLst>
                    <a:gd name="T0" fmla="*/ 2 w 8"/>
                    <a:gd name="T1" fmla="*/ 1 h 32"/>
                    <a:gd name="T2" fmla="*/ 2 w 8"/>
                    <a:gd name="T3" fmla="*/ 1 h 32"/>
                    <a:gd name="T4" fmla="*/ 2 w 8"/>
                    <a:gd name="T5" fmla="*/ 1 h 32"/>
                    <a:gd name="T6" fmla="*/ 2 w 8"/>
                    <a:gd name="T7" fmla="*/ 0 h 32"/>
                    <a:gd name="T8" fmla="*/ 2 w 8"/>
                    <a:gd name="T9" fmla="*/ 1 h 32"/>
                    <a:gd name="T10" fmla="*/ 0 w 8"/>
                    <a:gd name="T11" fmla="*/ 1 h 32"/>
                    <a:gd name="T12" fmla="*/ 2 w 8"/>
                    <a:gd name="T13" fmla="*/ 1 h 32"/>
                    <a:gd name="T14" fmla="*/ 2 w 8"/>
                    <a:gd name="T15" fmla="*/ 1 h 3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8"/>
                    <a:gd name="T25" fmla="*/ 0 h 32"/>
                    <a:gd name="T26" fmla="*/ 8 w 8"/>
                    <a:gd name="T27" fmla="*/ 32 h 32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8" h="32">
                      <a:moveTo>
                        <a:pt x="8" y="32"/>
                      </a:moveTo>
                      <a:lnTo>
                        <a:pt x="8" y="24"/>
                      </a:lnTo>
                      <a:lnTo>
                        <a:pt x="8" y="8"/>
                      </a:lnTo>
                      <a:lnTo>
                        <a:pt x="8" y="0"/>
                      </a:lnTo>
                      <a:lnTo>
                        <a:pt x="8" y="8"/>
                      </a:lnTo>
                      <a:lnTo>
                        <a:pt x="0" y="16"/>
                      </a:lnTo>
                      <a:lnTo>
                        <a:pt x="8" y="24"/>
                      </a:lnTo>
                      <a:lnTo>
                        <a:pt x="8" y="32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87" name="Freeform 11"/>
                <p:cNvSpPr>
                  <a:spLocks noChangeAspect="1"/>
                </p:cNvSpPr>
                <p:nvPr/>
              </p:nvSpPr>
              <p:spPr bwMode="auto">
                <a:xfrm>
                  <a:off x="1681" y="3556"/>
                  <a:ext cx="16" cy="28"/>
                </a:xfrm>
                <a:custGeom>
                  <a:avLst/>
                  <a:gdLst>
                    <a:gd name="T0" fmla="*/ 1 w 24"/>
                    <a:gd name="T1" fmla="*/ 1 h 40"/>
                    <a:gd name="T2" fmla="*/ 1 w 24"/>
                    <a:gd name="T3" fmla="*/ 0 h 40"/>
                    <a:gd name="T4" fmla="*/ 1 w 24"/>
                    <a:gd name="T5" fmla="*/ 1 h 40"/>
                    <a:gd name="T6" fmla="*/ 1 w 24"/>
                    <a:gd name="T7" fmla="*/ 1 h 40"/>
                    <a:gd name="T8" fmla="*/ 1 w 24"/>
                    <a:gd name="T9" fmla="*/ 1 h 40"/>
                    <a:gd name="T10" fmla="*/ 1 w 24"/>
                    <a:gd name="T11" fmla="*/ 1 h 40"/>
                    <a:gd name="T12" fmla="*/ 0 w 24"/>
                    <a:gd name="T13" fmla="*/ 1 h 40"/>
                    <a:gd name="T14" fmla="*/ 1 w 24"/>
                    <a:gd name="T15" fmla="*/ 1 h 40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4"/>
                    <a:gd name="T25" fmla="*/ 0 h 40"/>
                    <a:gd name="T26" fmla="*/ 24 w 24"/>
                    <a:gd name="T27" fmla="*/ 40 h 40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4" h="40">
                      <a:moveTo>
                        <a:pt x="8" y="8"/>
                      </a:moveTo>
                      <a:lnTo>
                        <a:pt x="8" y="0"/>
                      </a:lnTo>
                      <a:lnTo>
                        <a:pt x="24" y="8"/>
                      </a:lnTo>
                      <a:lnTo>
                        <a:pt x="24" y="16"/>
                      </a:lnTo>
                      <a:lnTo>
                        <a:pt x="16" y="32"/>
                      </a:lnTo>
                      <a:lnTo>
                        <a:pt x="8" y="40"/>
                      </a:lnTo>
                      <a:lnTo>
                        <a:pt x="0" y="40"/>
                      </a:lnTo>
                      <a:lnTo>
                        <a:pt x="8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88" name="Freeform 12"/>
                <p:cNvSpPr>
                  <a:spLocks noChangeAspect="1"/>
                </p:cNvSpPr>
                <p:nvPr/>
              </p:nvSpPr>
              <p:spPr bwMode="auto">
                <a:xfrm>
                  <a:off x="1551" y="2554"/>
                  <a:ext cx="135" cy="51"/>
                </a:xfrm>
                <a:custGeom>
                  <a:avLst/>
                  <a:gdLst>
                    <a:gd name="T0" fmla="*/ 0 w 192"/>
                    <a:gd name="T1" fmla="*/ 1 h 72"/>
                    <a:gd name="T2" fmla="*/ 1 w 192"/>
                    <a:gd name="T3" fmla="*/ 0 h 72"/>
                    <a:gd name="T4" fmla="*/ 1 w 192"/>
                    <a:gd name="T5" fmla="*/ 0 h 72"/>
                    <a:gd name="T6" fmla="*/ 1 w 192"/>
                    <a:gd name="T7" fmla="*/ 0 h 72"/>
                    <a:gd name="T8" fmla="*/ 1 w 192"/>
                    <a:gd name="T9" fmla="*/ 0 h 72"/>
                    <a:gd name="T10" fmla="*/ 1 w 192"/>
                    <a:gd name="T11" fmla="*/ 1 h 72"/>
                    <a:gd name="T12" fmla="*/ 1 w 192"/>
                    <a:gd name="T13" fmla="*/ 1 h 72"/>
                    <a:gd name="T14" fmla="*/ 1 w 192"/>
                    <a:gd name="T15" fmla="*/ 1 h 72"/>
                    <a:gd name="T16" fmla="*/ 1 w 192"/>
                    <a:gd name="T17" fmla="*/ 1 h 72"/>
                    <a:gd name="T18" fmla="*/ 1 w 192"/>
                    <a:gd name="T19" fmla="*/ 1 h 72"/>
                    <a:gd name="T20" fmla="*/ 1 w 192"/>
                    <a:gd name="T21" fmla="*/ 1 h 72"/>
                    <a:gd name="T22" fmla="*/ 1 w 192"/>
                    <a:gd name="T23" fmla="*/ 1 h 72"/>
                    <a:gd name="T24" fmla="*/ 1 w 192"/>
                    <a:gd name="T25" fmla="*/ 1 h 72"/>
                    <a:gd name="T26" fmla="*/ 1 w 192"/>
                    <a:gd name="T27" fmla="*/ 1 h 72"/>
                    <a:gd name="T28" fmla="*/ 1 w 192"/>
                    <a:gd name="T29" fmla="*/ 1 h 72"/>
                    <a:gd name="T30" fmla="*/ 1 w 192"/>
                    <a:gd name="T31" fmla="*/ 1 h 72"/>
                    <a:gd name="T32" fmla="*/ 1 w 192"/>
                    <a:gd name="T33" fmla="*/ 1 h 72"/>
                    <a:gd name="T34" fmla="*/ 1 w 192"/>
                    <a:gd name="T35" fmla="*/ 1 h 72"/>
                    <a:gd name="T36" fmla="*/ 1 w 192"/>
                    <a:gd name="T37" fmla="*/ 1 h 72"/>
                    <a:gd name="T38" fmla="*/ 1 w 192"/>
                    <a:gd name="T39" fmla="*/ 1 h 72"/>
                    <a:gd name="T40" fmla="*/ 1 w 192"/>
                    <a:gd name="T41" fmla="*/ 1 h 72"/>
                    <a:gd name="T42" fmla="*/ 1 w 192"/>
                    <a:gd name="T43" fmla="*/ 1 h 72"/>
                    <a:gd name="T44" fmla="*/ 1 w 192"/>
                    <a:gd name="T45" fmla="*/ 1 h 72"/>
                    <a:gd name="T46" fmla="*/ 1 w 192"/>
                    <a:gd name="T47" fmla="*/ 1 h 72"/>
                    <a:gd name="T48" fmla="*/ 1 w 192"/>
                    <a:gd name="T49" fmla="*/ 1 h 72"/>
                    <a:gd name="T50" fmla="*/ 1 w 192"/>
                    <a:gd name="T51" fmla="*/ 1 h 72"/>
                    <a:gd name="T52" fmla="*/ 1 w 192"/>
                    <a:gd name="T53" fmla="*/ 1 h 72"/>
                    <a:gd name="T54" fmla="*/ 1 w 192"/>
                    <a:gd name="T55" fmla="*/ 1 h 72"/>
                    <a:gd name="T56" fmla="*/ 1 w 192"/>
                    <a:gd name="T57" fmla="*/ 1 h 72"/>
                    <a:gd name="T58" fmla="*/ 1 w 192"/>
                    <a:gd name="T59" fmla="*/ 1 h 72"/>
                    <a:gd name="T60" fmla="*/ 1 w 192"/>
                    <a:gd name="T61" fmla="*/ 1 h 72"/>
                    <a:gd name="T62" fmla="*/ 0 w 192"/>
                    <a:gd name="T63" fmla="*/ 1 h 72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192"/>
                    <a:gd name="T97" fmla="*/ 0 h 72"/>
                    <a:gd name="T98" fmla="*/ 192 w 192"/>
                    <a:gd name="T99" fmla="*/ 72 h 72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192" h="72">
                      <a:moveTo>
                        <a:pt x="0" y="16"/>
                      </a:moveTo>
                      <a:lnTo>
                        <a:pt x="16" y="0"/>
                      </a:lnTo>
                      <a:lnTo>
                        <a:pt x="32" y="0"/>
                      </a:lnTo>
                      <a:lnTo>
                        <a:pt x="48" y="0"/>
                      </a:lnTo>
                      <a:lnTo>
                        <a:pt x="72" y="0"/>
                      </a:lnTo>
                      <a:lnTo>
                        <a:pt x="88" y="8"/>
                      </a:lnTo>
                      <a:lnTo>
                        <a:pt x="88" y="16"/>
                      </a:lnTo>
                      <a:lnTo>
                        <a:pt x="104" y="16"/>
                      </a:lnTo>
                      <a:lnTo>
                        <a:pt x="136" y="40"/>
                      </a:lnTo>
                      <a:lnTo>
                        <a:pt x="144" y="40"/>
                      </a:lnTo>
                      <a:lnTo>
                        <a:pt x="152" y="48"/>
                      </a:lnTo>
                      <a:lnTo>
                        <a:pt x="168" y="56"/>
                      </a:lnTo>
                      <a:lnTo>
                        <a:pt x="184" y="56"/>
                      </a:lnTo>
                      <a:lnTo>
                        <a:pt x="192" y="64"/>
                      </a:lnTo>
                      <a:lnTo>
                        <a:pt x="160" y="72"/>
                      </a:lnTo>
                      <a:lnTo>
                        <a:pt x="152" y="64"/>
                      </a:lnTo>
                      <a:lnTo>
                        <a:pt x="128" y="72"/>
                      </a:lnTo>
                      <a:lnTo>
                        <a:pt x="120" y="72"/>
                      </a:lnTo>
                      <a:lnTo>
                        <a:pt x="120" y="64"/>
                      </a:lnTo>
                      <a:lnTo>
                        <a:pt x="128" y="56"/>
                      </a:lnTo>
                      <a:lnTo>
                        <a:pt x="128" y="48"/>
                      </a:lnTo>
                      <a:lnTo>
                        <a:pt x="112" y="48"/>
                      </a:lnTo>
                      <a:lnTo>
                        <a:pt x="96" y="32"/>
                      </a:lnTo>
                      <a:lnTo>
                        <a:pt x="80" y="32"/>
                      </a:lnTo>
                      <a:lnTo>
                        <a:pt x="72" y="24"/>
                      </a:lnTo>
                      <a:lnTo>
                        <a:pt x="56" y="24"/>
                      </a:lnTo>
                      <a:lnTo>
                        <a:pt x="40" y="16"/>
                      </a:lnTo>
                      <a:lnTo>
                        <a:pt x="40" y="8"/>
                      </a:lnTo>
                      <a:lnTo>
                        <a:pt x="32" y="8"/>
                      </a:lnTo>
                      <a:lnTo>
                        <a:pt x="8" y="24"/>
                      </a:lnTo>
                      <a:lnTo>
                        <a:pt x="8" y="16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89" name="Freeform 13"/>
                <p:cNvSpPr>
                  <a:spLocks noChangeAspect="1"/>
                </p:cNvSpPr>
                <p:nvPr/>
              </p:nvSpPr>
              <p:spPr bwMode="auto">
                <a:xfrm>
                  <a:off x="1849" y="3179"/>
                  <a:ext cx="124" cy="124"/>
                </a:xfrm>
                <a:custGeom>
                  <a:avLst/>
                  <a:gdLst>
                    <a:gd name="T0" fmla="*/ 0 w 176"/>
                    <a:gd name="T1" fmla="*/ 1 h 176"/>
                    <a:gd name="T2" fmla="*/ 1 w 176"/>
                    <a:gd name="T3" fmla="*/ 1 h 176"/>
                    <a:gd name="T4" fmla="*/ 1 w 176"/>
                    <a:gd name="T5" fmla="*/ 1 h 176"/>
                    <a:gd name="T6" fmla="*/ 1 w 176"/>
                    <a:gd name="T7" fmla="*/ 1 h 176"/>
                    <a:gd name="T8" fmla="*/ 1 w 176"/>
                    <a:gd name="T9" fmla="*/ 0 h 176"/>
                    <a:gd name="T10" fmla="*/ 1 w 176"/>
                    <a:gd name="T11" fmla="*/ 0 h 176"/>
                    <a:gd name="T12" fmla="*/ 1 w 176"/>
                    <a:gd name="T13" fmla="*/ 1 h 176"/>
                    <a:gd name="T14" fmla="*/ 1 w 176"/>
                    <a:gd name="T15" fmla="*/ 1 h 176"/>
                    <a:gd name="T16" fmla="*/ 1 w 176"/>
                    <a:gd name="T17" fmla="*/ 1 h 176"/>
                    <a:gd name="T18" fmla="*/ 1 w 176"/>
                    <a:gd name="T19" fmla="*/ 1 h 176"/>
                    <a:gd name="T20" fmla="*/ 1 w 176"/>
                    <a:gd name="T21" fmla="*/ 1 h 176"/>
                    <a:gd name="T22" fmla="*/ 1 w 176"/>
                    <a:gd name="T23" fmla="*/ 1 h 176"/>
                    <a:gd name="T24" fmla="*/ 1 w 176"/>
                    <a:gd name="T25" fmla="*/ 1 h 176"/>
                    <a:gd name="T26" fmla="*/ 1 w 176"/>
                    <a:gd name="T27" fmla="*/ 1 h 176"/>
                    <a:gd name="T28" fmla="*/ 1 w 176"/>
                    <a:gd name="T29" fmla="*/ 1 h 176"/>
                    <a:gd name="T30" fmla="*/ 1 w 176"/>
                    <a:gd name="T31" fmla="*/ 1 h 176"/>
                    <a:gd name="T32" fmla="*/ 1 w 176"/>
                    <a:gd name="T33" fmla="*/ 1 h 176"/>
                    <a:gd name="T34" fmla="*/ 1 w 176"/>
                    <a:gd name="T35" fmla="*/ 1 h 176"/>
                    <a:gd name="T36" fmla="*/ 1 w 176"/>
                    <a:gd name="T37" fmla="*/ 1 h 176"/>
                    <a:gd name="T38" fmla="*/ 1 w 176"/>
                    <a:gd name="T39" fmla="*/ 1 h 176"/>
                    <a:gd name="T40" fmla="*/ 1 w 176"/>
                    <a:gd name="T41" fmla="*/ 1 h 176"/>
                    <a:gd name="T42" fmla="*/ 1 w 176"/>
                    <a:gd name="T43" fmla="*/ 1 h 176"/>
                    <a:gd name="T44" fmla="*/ 1 w 176"/>
                    <a:gd name="T45" fmla="*/ 1 h 176"/>
                    <a:gd name="T46" fmla="*/ 1 w 176"/>
                    <a:gd name="T47" fmla="*/ 1 h 176"/>
                    <a:gd name="T48" fmla="*/ 1 w 176"/>
                    <a:gd name="T49" fmla="*/ 1 h 176"/>
                    <a:gd name="T50" fmla="*/ 1 w 176"/>
                    <a:gd name="T51" fmla="*/ 1 h 176"/>
                    <a:gd name="T52" fmla="*/ 1 w 176"/>
                    <a:gd name="T53" fmla="*/ 1 h 176"/>
                    <a:gd name="T54" fmla="*/ 1 w 176"/>
                    <a:gd name="T55" fmla="*/ 1 h 176"/>
                    <a:gd name="T56" fmla="*/ 1 w 176"/>
                    <a:gd name="T57" fmla="*/ 1 h 176"/>
                    <a:gd name="T58" fmla="*/ 0 w 176"/>
                    <a:gd name="T59" fmla="*/ 1 h 17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176"/>
                    <a:gd name="T91" fmla="*/ 0 h 176"/>
                    <a:gd name="T92" fmla="*/ 176 w 176"/>
                    <a:gd name="T93" fmla="*/ 176 h 17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176" h="176">
                      <a:moveTo>
                        <a:pt x="0" y="64"/>
                      </a:moveTo>
                      <a:lnTo>
                        <a:pt x="8" y="48"/>
                      </a:lnTo>
                      <a:lnTo>
                        <a:pt x="16" y="16"/>
                      </a:lnTo>
                      <a:lnTo>
                        <a:pt x="16" y="8"/>
                      </a:lnTo>
                      <a:lnTo>
                        <a:pt x="40" y="0"/>
                      </a:lnTo>
                      <a:lnTo>
                        <a:pt x="88" y="0"/>
                      </a:lnTo>
                      <a:lnTo>
                        <a:pt x="104" y="8"/>
                      </a:lnTo>
                      <a:lnTo>
                        <a:pt x="104" y="56"/>
                      </a:lnTo>
                      <a:lnTo>
                        <a:pt x="120" y="64"/>
                      </a:lnTo>
                      <a:lnTo>
                        <a:pt x="152" y="80"/>
                      </a:lnTo>
                      <a:lnTo>
                        <a:pt x="152" y="96"/>
                      </a:lnTo>
                      <a:lnTo>
                        <a:pt x="160" y="96"/>
                      </a:lnTo>
                      <a:lnTo>
                        <a:pt x="176" y="96"/>
                      </a:lnTo>
                      <a:lnTo>
                        <a:pt x="176" y="120"/>
                      </a:lnTo>
                      <a:lnTo>
                        <a:pt x="168" y="128"/>
                      </a:lnTo>
                      <a:lnTo>
                        <a:pt x="168" y="136"/>
                      </a:lnTo>
                      <a:lnTo>
                        <a:pt x="160" y="160"/>
                      </a:lnTo>
                      <a:lnTo>
                        <a:pt x="152" y="168"/>
                      </a:lnTo>
                      <a:lnTo>
                        <a:pt x="120" y="176"/>
                      </a:lnTo>
                      <a:lnTo>
                        <a:pt x="96" y="176"/>
                      </a:lnTo>
                      <a:lnTo>
                        <a:pt x="88" y="168"/>
                      </a:lnTo>
                      <a:lnTo>
                        <a:pt x="112" y="136"/>
                      </a:lnTo>
                      <a:lnTo>
                        <a:pt x="112" y="128"/>
                      </a:lnTo>
                      <a:lnTo>
                        <a:pt x="96" y="120"/>
                      </a:lnTo>
                      <a:lnTo>
                        <a:pt x="72" y="112"/>
                      </a:lnTo>
                      <a:lnTo>
                        <a:pt x="56" y="96"/>
                      </a:lnTo>
                      <a:lnTo>
                        <a:pt x="40" y="96"/>
                      </a:lnTo>
                      <a:lnTo>
                        <a:pt x="24" y="80"/>
                      </a:lnTo>
                      <a:lnTo>
                        <a:pt x="16" y="72"/>
                      </a:lnTo>
                      <a:lnTo>
                        <a:pt x="0" y="64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90" name="Freeform 14"/>
                <p:cNvSpPr>
                  <a:spLocks noChangeAspect="1"/>
                </p:cNvSpPr>
                <p:nvPr/>
              </p:nvSpPr>
              <p:spPr bwMode="auto">
                <a:xfrm>
                  <a:off x="1754" y="3033"/>
                  <a:ext cx="168" cy="202"/>
                </a:xfrm>
                <a:custGeom>
                  <a:avLst/>
                  <a:gdLst>
                    <a:gd name="T0" fmla="*/ 1 w 240"/>
                    <a:gd name="T1" fmla="*/ 1 h 288"/>
                    <a:gd name="T2" fmla="*/ 1 w 240"/>
                    <a:gd name="T3" fmla="*/ 1 h 288"/>
                    <a:gd name="T4" fmla="*/ 1 w 240"/>
                    <a:gd name="T5" fmla="*/ 1 h 288"/>
                    <a:gd name="T6" fmla="*/ 1 w 240"/>
                    <a:gd name="T7" fmla="*/ 1 h 288"/>
                    <a:gd name="T8" fmla="*/ 1 w 240"/>
                    <a:gd name="T9" fmla="*/ 1 h 288"/>
                    <a:gd name="T10" fmla="*/ 1 w 240"/>
                    <a:gd name="T11" fmla="*/ 1 h 288"/>
                    <a:gd name="T12" fmla="*/ 1 w 240"/>
                    <a:gd name="T13" fmla="*/ 1 h 288"/>
                    <a:gd name="T14" fmla="*/ 1 w 240"/>
                    <a:gd name="T15" fmla="*/ 1 h 288"/>
                    <a:gd name="T16" fmla="*/ 1 w 240"/>
                    <a:gd name="T17" fmla="*/ 1 h 288"/>
                    <a:gd name="T18" fmla="*/ 1 w 240"/>
                    <a:gd name="T19" fmla="*/ 1 h 288"/>
                    <a:gd name="T20" fmla="*/ 1 w 240"/>
                    <a:gd name="T21" fmla="*/ 1 h 288"/>
                    <a:gd name="T22" fmla="*/ 1 w 240"/>
                    <a:gd name="T23" fmla="*/ 1 h 288"/>
                    <a:gd name="T24" fmla="*/ 1 w 240"/>
                    <a:gd name="T25" fmla="*/ 1 h 288"/>
                    <a:gd name="T26" fmla="*/ 1 w 240"/>
                    <a:gd name="T27" fmla="*/ 1 h 288"/>
                    <a:gd name="T28" fmla="*/ 1 w 240"/>
                    <a:gd name="T29" fmla="*/ 1 h 288"/>
                    <a:gd name="T30" fmla="*/ 1 w 240"/>
                    <a:gd name="T31" fmla="*/ 1 h 288"/>
                    <a:gd name="T32" fmla="*/ 1 w 240"/>
                    <a:gd name="T33" fmla="*/ 1 h 288"/>
                    <a:gd name="T34" fmla="*/ 1 w 240"/>
                    <a:gd name="T35" fmla="*/ 1 h 288"/>
                    <a:gd name="T36" fmla="*/ 1 w 240"/>
                    <a:gd name="T37" fmla="*/ 1 h 288"/>
                    <a:gd name="T38" fmla="*/ 1 w 240"/>
                    <a:gd name="T39" fmla="*/ 0 h 288"/>
                    <a:gd name="T40" fmla="*/ 1 w 240"/>
                    <a:gd name="T41" fmla="*/ 1 h 288"/>
                    <a:gd name="T42" fmla="*/ 1 w 240"/>
                    <a:gd name="T43" fmla="*/ 1 h 288"/>
                    <a:gd name="T44" fmla="*/ 0 w 240"/>
                    <a:gd name="T45" fmla="*/ 1 h 288"/>
                    <a:gd name="T46" fmla="*/ 1 w 240"/>
                    <a:gd name="T47" fmla="*/ 1 h 288"/>
                    <a:gd name="T48" fmla="*/ 1 w 240"/>
                    <a:gd name="T49" fmla="*/ 1 h 288"/>
                    <a:gd name="T50" fmla="*/ 1 w 240"/>
                    <a:gd name="T51" fmla="*/ 1 h 288"/>
                    <a:gd name="T52" fmla="*/ 1 w 240"/>
                    <a:gd name="T53" fmla="*/ 1 h 288"/>
                    <a:gd name="T54" fmla="*/ 0 w 240"/>
                    <a:gd name="T55" fmla="*/ 1 h 288"/>
                    <a:gd name="T56" fmla="*/ 1 w 240"/>
                    <a:gd name="T57" fmla="*/ 1 h 288"/>
                    <a:gd name="T58" fmla="*/ 0 w 240"/>
                    <a:gd name="T59" fmla="*/ 1 h 288"/>
                    <a:gd name="T60" fmla="*/ 1 w 240"/>
                    <a:gd name="T61" fmla="*/ 1 h 288"/>
                    <a:gd name="T62" fmla="*/ 1 w 240"/>
                    <a:gd name="T63" fmla="*/ 1 h 288"/>
                    <a:gd name="T64" fmla="*/ 1 w 240"/>
                    <a:gd name="T65" fmla="*/ 1 h 288"/>
                    <a:gd name="T66" fmla="*/ 1 w 240"/>
                    <a:gd name="T67" fmla="*/ 1 h 288"/>
                    <a:gd name="T68" fmla="*/ 1 w 240"/>
                    <a:gd name="T69" fmla="*/ 1 h 288"/>
                    <a:gd name="T70" fmla="*/ 1 w 240"/>
                    <a:gd name="T71" fmla="*/ 1 h 288"/>
                    <a:gd name="T72" fmla="*/ 1 w 240"/>
                    <a:gd name="T73" fmla="*/ 1 h 288"/>
                    <a:gd name="T74" fmla="*/ 1 w 240"/>
                    <a:gd name="T75" fmla="*/ 1 h 288"/>
                    <a:gd name="T76" fmla="*/ 1 w 240"/>
                    <a:gd name="T77" fmla="*/ 1 h 288"/>
                    <a:gd name="T78" fmla="*/ 1 w 240"/>
                    <a:gd name="T79" fmla="*/ 1 h 288"/>
                    <a:gd name="T80" fmla="*/ 1 w 240"/>
                    <a:gd name="T81" fmla="*/ 1 h 288"/>
                    <a:gd name="T82" fmla="*/ 1 w 240"/>
                    <a:gd name="T83" fmla="*/ 1 h 288"/>
                    <a:gd name="T84" fmla="*/ 1 w 240"/>
                    <a:gd name="T85" fmla="*/ 1 h 288"/>
                    <a:gd name="T86" fmla="*/ 1 w 240"/>
                    <a:gd name="T87" fmla="*/ 1 h 288"/>
                    <a:gd name="T88" fmla="*/ 1 w 240"/>
                    <a:gd name="T89" fmla="*/ 1 h 288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240"/>
                    <a:gd name="T136" fmla="*/ 0 h 288"/>
                    <a:gd name="T137" fmla="*/ 240 w 240"/>
                    <a:gd name="T138" fmla="*/ 288 h 288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240" h="288">
                      <a:moveTo>
                        <a:pt x="136" y="272"/>
                      </a:moveTo>
                      <a:lnTo>
                        <a:pt x="144" y="256"/>
                      </a:lnTo>
                      <a:lnTo>
                        <a:pt x="152" y="224"/>
                      </a:lnTo>
                      <a:lnTo>
                        <a:pt x="152" y="216"/>
                      </a:lnTo>
                      <a:lnTo>
                        <a:pt x="176" y="208"/>
                      </a:lnTo>
                      <a:lnTo>
                        <a:pt x="224" y="208"/>
                      </a:lnTo>
                      <a:lnTo>
                        <a:pt x="240" y="216"/>
                      </a:lnTo>
                      <a:lnTo>
                        <a:pt x="240" y="192"/>
                      </a:lnTo>
                      <a:lnTo>
                        <a:pt x="232" y="176"/>
                      </a:lnTo>
                      <a:lnTo>
                        <a:pt x="232" y="160"/>
                      </a:lnTo>
                      <a:lnTo>
                        <a:pt x="224" y="160"/>
                      </a:lnTo>
                      <a:lnTo>
                        <a:pt x="224" y="144"/>
                      </a:lnTo>
                      <a:lnTo>
                        <a:pt x="176" y="136"/>
                      </a:lnTo>
                      <a:lnTo>
                        <a:pt x="176" y="88"/>
                      </a:lnTo>
                      <a:lnTo>
                        <a:pt x="160" y="80"/>
                      </a:lnTo>
                      <a:lnTo>
                        <a:pt x="112" y="56"/>
                      </a:lnTo>
                      <a:lnTo>
                        <a:pt x="96" y="56"/>
                      </a:lnTo>
                      <a:lnTo>
                        <a:pt x="88" y="48"/>
                      </a:lnTo>
                      <a:lnTo>
                        <a:pt x="88" y="16"/>
                      </a:lnTo>
                      <a:lnTo>
                        <a:pt x="72" y="0"/>
                      </a:lnTo>
                      <a:lnTo>
                        <a:pt x="48" y="8"/>
                      </a:lnTo>
                      <a:lnTo>
                        <a:pt x="40" y="32"/>
                      </a:lnTo>
                      <a:lnTo>
                        <a:pt x="0" y="32"/>
                      </a:lnTo>
                      <a:lnTo>
                        <a:pt x="16" y="64"/>
                      </a:lnTo>
                      <a:lnTo>
                        <a:pt x="16" y="72"/>
                      </a:lnTo>
                      <a:lnTo>
                        <a:pt x="8" y="72"/>
                      </a:lnTo>
                      <a:lnTo>
                        <a:pt x="16" y="104"/>
                      </a:lnTo>
                      <a:lnTo>
                        <a:pt x="0" y="112"/>
                      </a:lnTo>
                      <a:lnTo>
                        <a:pt x="8" y="144"/>
                      </a:lnTo>
                      <a:lnTo>
                        <a:pt x="0" y="168"/>
                      </a:lnTo>
                      <a:lnTo>
                        <a:pt x="8" y="176"/>
                      </a:lnTo>
                      <a:lnTo>
                        <a:pt x="16" y="200"/>
                      </a:lnTo>
                      <a:lnTo>
                        <a:pt x="16" y="232"/>
                      </a:lnTo>
                      <a:lnTo>
                        <a:pt x="32" y="280"/>
                      </a:lnTo>
                      <a:lnTo>
                        <a:pt x="40" y="280"/>
                      </a:lnTo>
                      <a:lnTo>
                        <a:pt x="56" y="264"/>
                      </a:lnTo>
                      <a:lnTo>
                        <a:pt x="64" y="264"/>
                      </a:lnTo>
                      <a:lnTo>
                        <a:pt x="88" y="272"/>
                      </a:lnTo>
                      <a:lnTo>
                        <a:pt x="96" y="288"/>
                      </a:lnTo>
                      <a:lnTo>
                        <a:pt x="104" y="288"/>
                      </a:lnTo>
                      <a:lnTo>
                        <a:pt x="104" y="280"/>
                      </a:lnTo>
                      <a:lnTo>
                        <a:pt x="104" y="272"/>
                      </a:lnTo>
                      <a:lnTo>
                        <a:pt x="112" y="272"/>
                      </a:lnTo>
                      <a:lnTo>
                        <a:pt x="128" y="272"/>
                      </a:lnTo>
                      <a:lnTo>
                        <a:pt x="136" y="272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91" name="Freeform 15"/>
                <p:cNvSpPr>
                  <a:spLocks noChangeAspect="1"/>
                </p:cNvSpPr>
                <p:nvPr/>
              </p:nvSpPr>
              <p:spPr bwMode="auto">
                <a:xfrm>
                  <a:off x="1922" y="2808"/>
                  <a:ext cx="57" cy="56"/>
                </a:xfrm>
                <a:custGeom>
                  <a:avLst/>
                  <a:gdLst>
                    <a:gd name="T0" fmla="*/ 1 w 80"/>
                    <a:gd name="T1" fmla="*/ 1 h 80"/>
                    <a:gd name="T2" fmla="*/ 1 w 80"/>
                    <a:gd name="T3" fmla="*/ 1 h 80"/>
                    <a:gd name="T4" fmla="*/ 0 w 80"/>
                    <a:gd name="T5" fmla="*/ 1 h 80"/>
                    <a:gd name="T6" fmla="*/ 0 w 80"/>
                    <a:gd name="T7" fmla="*/ 1 h 80"/>
                    <a:gd name="T8" fmla="*/ 1 w 80"/>
                    <a:gd name="T9" fmla="*/ 1 h 80"/>
                    <a:gd name="T10" fmla="*/ 1 w 80"/>
                    <a:gd name="T11" fmla="*/ 1 h 80"/>
                    <a:gd name="T12" fmla="*/ 1 w 80"/>
                    <a:gd name="T13" fmla="*/ 0 h 80"/>
                    <a:gd name="T14" fmla="*/ 1 w 80"/>
                    <a:gd name="T15" fmla="*/ 0 h 80"/>
                    <a:gd name="T16" fmla="*/ 1 w 80"/>
                    <a:gd name="T17" fmla="*/ 1 h 80"/>
                    <a:gd name="T18" fmla="*/ 1 w 80"/>
                    <a:gd name="T19" fmla="*/ 1 h 80"/>
                    <a:gd name="T20" fmla="*/ 1 w 80"/>
                    <a:gd name="T21" fmla="*/ 1 h 80"/>
                    <a:gd name="T22" fmla="*/ 1 w 80"/>
                    <a:gd name="T23" fmla="*/ 1 h 80"/>
                    <a:gd name="T24" fmla="*/ 1 w 80"/>
                    <a:gd name="T25" fmla="*/ 1 h 80"/>
                    <a:gd name="T26" fmla="*/ 1 w 80"/>
                    <a:gd name="T27" fmla="*/ 1 h 80"/>
                    <a:gd name="T28" fmla="*/ 1 w 80"/>
                    <a:gd name="T29" fmla="*/ 1 h 80"/>
                    <a:gd name="T30" fmla="*/ 1 w 80"/>
                    <a:gd name="T31" fmla="*/ 1 h 80"/>
                    <a:gd name="T32" fmla="*/ 1 w 80"/>
                    <a:gd name="T33" fmla="*/ 1 h 80"/>
                    <a:gd name="T34" fmla="*/ 1 w 80"/>
                    <a:gd name="T35" fmla="*/ 1 h 80"/>
                    <a:gd name="T36" fmla="*/ 1 w 80"/>
                    <a:gd name="T37" fmla="*/ 1 h 80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80"/>
                    <a:gd name="T58" fmla="*/ 0 h 80"/>
                    <a:gd name="T59" fmla="*/ 80 w 80"/>
                    <a:gd name="T60" fmla="*/ 80 h 80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80" h="80">
                      <a:moveTo>
                        <a:pt x="16" y="80"/>
                      </a:moveTo>
                      <a:lnTo>
                        <a:pt x="16" y="64"/>
                      </a:lnTo>
                      <a:lnTo>
                        <a:pt x="0" y="56"/>
                      </a:lnTo>
                      <a:lnTo>
                        <a:pt x="0" y="32"/>
                      </a:lnTo>
                      <a:lnTo>
                        <a:pt x="8" y="24"/>
                      </a:lnTo>
                      <a:lnTo>
                        <a:pt x="16" y="8"/>
                      </a:lnTo>
                      <a:lnTo>
                        <a:pt x="24" y="0"/>
                      </a:lnTo>
                      <a:lnTo>
                        <a:pt x="72" y="0"/>
                      </a:lnTo>
                      <a:lnTo>
                        <a:pt x="80" y="8"/>
                      </a:lnTo>
                      <a:lnTo>
                        <a:pt x="80" y="16"/>
                      </a:lnTo>
                      <a:lnTo>
                        <a:pt x="72" y="16"/>
                      </a:lnTo>
                      <a:lnTo>
                        <a:pt x="64" y="40"/>
                      </a:lnTo>
                      <a:lnTo>
                        <a:pt x="80" y="64"/>
                      </a:lnTo>
                      <a:lnTo>
                        <a:pt x="72" y="80"/>
                      </a:lnTo>
                      <a:lnTo>
                        <a:pt x="48" y="80"/>
                      </a:lnTo>
                      <a:lnTo>
                        <a:pt x="48" y="72"/>
                      </a:lnTo>
                      <a:lnTo>
                        <a:pt x="40" y="72"/>
                      </a:lnTo>
                      <a:lnTo>
                        <a:pt x="32" y="80"/>
                      </a:lnTo>
                      <a:lnTo>
                        <a:pt x="16" y="8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92" name="Freeform 16"/>
                <p:cNvSpPr>
                  <a:spLocks noChangeAspect="1"/>
                </p:cNvSpPr>
                <p:nvPr/>
              </p:nvSpPr>
              <p:spPr bwMode="auto">
                <a:xfrm>
                  <a:off x="1967" y="2813"/>
                  <a:ext cx="46" cy="51"/>
                </a:xfrm>
                <a:custGeom>
                  <a:avLst/>
                  <a:gdLst>
                    <a:gd name="T0" fmla="*/ 1 w 64"/>
                    <a:gd name="T1" fmla="*/ 1 h 72"/>
                    <a:gd name="T2" fmla="*/ 1 w 64"/>
                    <a:gd name="T3" fmla="*/ 1 h 72"/>
                    <a:gd name="T4" fmla="*/ 0 w 64"/>
                    <a:gd name="T5" fmla="*/ 1 h 72"/>
                    <a:gd name="T6" fmla="*/ 1 w 64"/>
                    <a:gd name="T7" fmla="*/ 1 h 72"/>
                    <a:gd name="T8" fmla="*/ 1 w 64"/>
                    <a:gd name="T9" fmla="*/ 1 h 72"/>
                    <a:gd name="T10" fmla="*/ 1 w 64"/>
                    <a:gd name="T11" fmla="*/ 0 h 72"/>
                    <a:gd name="T12" fmla="*/ 1 w 64"/>
                    <a:gd name="T13" fmla="*/ 0 h 72"/>
                    <a:gd name="T14" fmla="*/ 1 w 64"/>
                    <a:gd name="T15" fmla="*/ 1 h 72"/>
                    <a:gd name="T16" fmla="*/ 1 w 64"/>
                    <a:gd name="T17" fmla="*/ 1 h 72"/>
                    <a:gd name="T18" fmla="*/ 1 w 64"/>
                    <a:gd name="T19" fmla="*/ 1 h 72"/>
                    <a:gd name="T20" fmla="*/ 1 w 64"/>
                    <a:gd name="T21" fmla="*/ 1 h 72"/>
                    <a:gd name="T22" fmla="*/ 1 w 64"/>
                    <a:gd name="T23" fmla="*/ 1 h 72"/>
                    <a:gd name="T24" fmla="*/ 1 w 64"/>
                    <a:gd name="T25" fmla="*/ 1 h 72"/>
                    <a:gd name="T26" fmla="*/ 1 w 64"/>
                    <a:gd name="T27" fmla="*/ 1 h 72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64"/>
                    <a:gd name="T43" fmla="*/ 0 h 72"/>
                    <a:gd name="T44" fmla="*/ 64 w 64"/>
                    <a:gd name="T45" fmla="*/ 72 h 72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64" h="72">
                      <a:moveTo>
                        <a:pt x="8" y="72"/>
                      </a:moveTo>
                      <a:lnTo>
                        <a:pt x="16" y="56"/>
                      </a:lnTo>
                      <a:lnTo>
                        <a:pt x="0" y="32"/>
                      </a:lnTo>
                      <a:lnTo>
                        <a:pt x="8" y="8"/>
                      </a:lnTo>
                      <a:lnTo>
                        <a:pt x="16" y="8"/>
                      </a:lnTo>
                      <a:lnTo>
                        <a:pt x="16" y="0"/>
                      </a:lnTo>
                      <a:lnTo>
                        <a:pt x="32" y="0"/>
                      </a:lnTo>
                      <a:lnTo>
                        <a:pt x="40" y="8"/>
                      </a:lnTo>
                      <a:lnTo>
                        <a:pt x="64" y="24"/>
                      </a:lnTo>
                      <a:lnTo>
                        <a:pt x="56" y="40"/>
                      </a:lnTo>
                      <a:lnTo>
                        <a:pt x="48" y="64"/>
                      </a:lnTo>
                      <a:lnTo>
                        <a:pt x="40" y="72"/>
                      </a:lnTo>
                      <a:lnTo>
                        <a:pt x="16" y="72"/>
                      </a:lnTo>
                      <a:lnTo>
                        <a:pt x="8" y="72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93" name="Freeform 17"/>
                <p:cNvSpPr>
                  <a:spLocks noChangeAspect="1"/>
                </p:cNvSpPr>
                <p:nvPr/>
              </p:nvSpPr>
              <p:spPr bwMode="auto">
                <a:xfrm>
                  <a:off x="1664" y="3151"/>
                  <a:ext cx="118" cy="630"/>
                </a:xfrm>
                <a:custGeom>
                  <a:avLst/>
                  <a:gdLst>
                    <a:gd name="T0" fmla="*/ 1 w 168"/>
                    <a:gd name="T1" fmla="*/ 1 h 896"/>
                    <a:gd name="T2" fmla="*/ 1 w 168"/>
                    <a:gd name="T3" fmla="*/ 1 h 896"/>
                    <a:gd name="T4" fmla="*/ 1 w 168"/>
                    <a:gd name="T5" fmla="*/ 1 h 896"/>
                    <a:gd name="T6" fmla="*/ 1 w 168"/>
                    <a:gd name="T7" fmla="*/ 1 h 896"/>
                    <a:gd name="T8" fmla="*/ 1 w 168"/>
                    <a:gd name="T9" fmla="*/ 1 h 896"/>
                    <a:gd name="T10" fmla="*/ 1 w 168"/>
                    <a:gd name="T11" fmla="*/ 1 h 896"/>
                    <a:gd name="T12" fmla="*/ 1 w 168"/>
                    <a:gd name="T13" fmla="*/ 1 h 896"/>
                    <a:gd name="T14" fmla="*/ 1 w 168"/>
                    <a:gd name="T15" fmla="*/ 1 h 896"/>
                    <a:gd name="T16" fmla="*/ 1 w 168"/>
                    <a:gd name="T17" fmla="*/ 1 h 896"/>
                    <a:gd name="T18" fmla="*/ 1 w 168"/>
                    <a:gd name="T19" fmla="*/ 1 h 896"/>
                    <a:gd name="T20" fmla="*/ 1 w 168"/>
                    <a:gd name="T21" fmla="*/ 1 h 896"/>
                    <a:gd name="T22" fmla="*/ 1 w 168"/>
                    <a:gd name="T23" fmla="*/ 1 h 896"/>
                    <a:gd name="T24" fmla="*/ 1 w 168"/>
                    <a:gd name="T25" fmla="*/ 1 h 896"/>
                    <a:gd name="T26" fmla="*/ 1 w 168"/>
                    <a:gd name="T27" fmla="*/ 1 h 896"/>
                    <a:gd name="T28" fmla="*/ 1 w 168"/>
                    <a:gd name="T29" fmla="*/ 1 h 896"/>
                    <a:gd name="T30" fmla="*/ 1 w 168"/>
                    <a:gd name="T31" fmla="*/ 1 h 896"/>
                    <a:gd name="T32" fmla="*/ 1 w 168"/>
                    <a:gd name="T33" fmla="*/ 1 h 896"/>
                    <a:gd name="T34" fmla="*/ 1 w 168"/>
                    <a:gd name="T35" fmla="*/ 1 h 896"/>
                    <a:gd name="T36" fmla="*/ 1 w 168"/>
                    <a:gd name="T37" fmla="*/ 1 h 896"/>
                    <a:gd name="T38" fmla="*/ 1 w 168"/>
                    <a:gd name="T39" fmla="*/ 1 h 896"/>
                    <a:gd name="T40" fmla="*/ 1 w 168"/>
                    <a:gd name="T41" fmla="*/ 1 h 896"/>
                    <a:gd name="T42" fmla="*/ 1 w 168"/>
                    <a:gd name="T43" fmla="*/ 1 h 896"/>
                    <a:gd name="T44" fmla="*/ 1 w 168"/>
                    <a:gd name="T45" fmla="*/ 1 h 896"/>
                    <a:gd name="T46" fmla="*/ 1 w 168"/>
                    <a:gd name="T47" fmla="*/ 1 h 896"/>
                    <a:gd name="T48" fmla="*/ 1 w 168"/>
                    <a:gd name="T49" fmla="*/ 1 h 896"/>
                    <a:gd name="T50" fmla="*/ 1 w 168"/>
                    <a:gd name="T51" fmla="*/ 1 h 896"/>
                    <a:gd name="T52" fmla="*/ 1 w 168"/>
                    <a:gd name="T53" fmla="*/ 1 h 896"/>
                    <a:gd name="T54" fmla="*/ 1 w 168"/>
                    <a:gd name="T55" fmla="*/ 1 h 896"/>
                    <a:gd name="T56" fmla="*/ 1 w 168"/>
                    <a:gd name="T57" fmla="*/ 1 h 896"/>
                    <a:gd name="T58" fmla="*/ 1 w 168"/>
                    <a:gd name="T59" fmla="*/ 1 h 896"/>
                    <a:gd name="T60" fmla="*/ 1 w 168"/>
                    <a:gd name="T61" fmla="*/ 1 h 896"/>
                    <a:gd name="T62" fmla="*/ 1 w 168"/>
                    <a:gd name="T63" fmla="*/ 1 h 896"/>
                    <a:gd name="T64" fmla="*/ 1 w 168"/>
                    <a:gd name="T65" fmla="*/ 1 h 896"/>
                    <a:gd name="T66" fmla="*/ 1 w 168"/>
                    <a:gd name="T67" fmla="*/ 1 h 896"/>
                    <a:gd name="T68" fmla="*/ 1 w 168"/>
                    <a:gd name="T69" fmla="*/ 1 h 896"/>
                    <a:gd name="T70" fmla="*/ 1 w 168"/>
                    <a:gd name="T71" fmla="*/ 1 h 896"/>
                    <a:gd name="T72" fmla="*/ 1 w 168"/>
                    <a:gd name="T73" fmla="*/ 1 h 896"/>
                    <a:gd name="T74" fmla="*/ 1 w 168"/>
                    <a:gd name="T75" fmla="*/ 1 h 896"/>
                    <a:gd name="T76" fmla="*/ 1 w 168"/>
                    <a:gd name="T77" fmla="*/ 1 h 896"/>
                    <a:gd name="T78" fmla="*/ 1 w 168"/>
                    <a:gd name="T79" fmla="*/ 1 h 896"/>
                    <a:gd name="T80" fmla="*/ 1 w 168"/>
                    <a:gd name="T81" fmla="*/ 1 h 896"/>
                    <a:gd name="T82" fmla="*/ 1 w 168"/>
                    <a:gd name="T83" fmla="*/ 1 h 896"/>
                    <a:gd name="T84" fmla="*/ 1 w 168"/>
                    <a:gd name="T85" fmla="*/ 1 h 896"/>
                    <a:gd name="T86" fmla="*/ 1 w 168"/>
                    <a:gd name="T87" fmla="*/ 1 h 896"/>
                    <a:gd name="T88" fmla="*/ 1 w 168"/>
                    <a:gd name="T89" fmla="*/ 1 h 89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168"/>
                    <a:gd name="T136" fmla="*/ 0 h 896"/>
                    <a:gd name="T137" fmla="*/ 168 w 168"/>
                    <a:gd name="T138" fmla="*/ 896 h 896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168" h="896">
                      <a:moveTo>
                        <a:pt x="128" y="856"/>
                      </a:moveTo>
                      <a:lnTo>
                        <a:pt x="120" y="856"/>
                      </a:lnTo>
                      <a:lnTo>
                        <a:pt x="120" y="864"/>
                      </a:lnTo>
                      <a:lnTo>
                        <a:pt x="104" y="864"/>
                      </a:lnTo>
                      <a:lnTo>
                        <a:pt x="96" y="872"/>
                      </a:lnTo>
                      <a:lnTo>
                        <a:pt x="96" y="880"/>
                      </a:lnTo>
                      <a:lnTo>
                        <a:pt x="96" y="888"/>
                      </a:lnTo>
                      <a:lnTo>
                        <a:pt x="96" y="896"/>
                      </a:lnTo>
                      <a:lnTo>
                        <a:pt x="72" y="896"/>
                      </a:lnTo>
                      <a:lnTo>
                        <a:pt x="64" y="888"/>
                      </a:lnTo>
                      <a:lnTo>
                        <a:pt x="80" y="888"/>
                      </a:lnTo>
                      <a:lnTo>
                        <a:pt x="88" y="880"/>
                      </a:lnTo>
                      <a:lnTo>
                        <a:pt x="88" y="872"/>
                      </a:lnTo>
                      <a:lnTo>
                        <a:pt x="72" y="864"/>
                      </a:lnTo>
                      <a:lnTo>
                        <a:pt x="56" y="864"/>
                      </a:lnTo>
                      <a:lnTo>
                        <a:pt x="48" y="872"/>
                      </a:lnTo>
                      <a:lnTo>
                        <a:pt x="40" y="872"/>
                      </a:lnTo>
                      <a:lnTo>
                        <a:pt x="40" y="856"/>
                      </a:lnTo>
                      <a:lnTo>
                        <a:pt x="48" y="856"/>
                      </a:lnTo>
                      <a:lnTo>
                        <a:pt x="56" y="848"/>
                      </a:lnTo>
                      <a:lnTo>
                        <a:pt x="48" y="840"/>
                      </a:lnTo>
                      <a:lnTo>
                        <a:pt x="48" y="848"/>
                      </a:lnTo>
                      <a:lnTo>
                        <a:pt x="40" y="848"/>
                      </a:lnTo>
                      <a:lnTo>
                        <a:pt x="40" y="832"/>
                      </a:lnTo>
                      <a:lnTo>
                        <a:pt x="32" y="824"/>
                      </a:lnTo>
                      <a:lnTo>
                        <a:pt x="40" y="816"/>
                      </a:lnTo>
                      <a:lnTo>
                        <a:pt x="32" y="808"/>
                      </a:lnTo>
                      <a:lnTo>
                        <a:pt x="24" y="808"/>
                      </a:lnTo>
                      <a:lnTo>
                        <a:pt x="24" y="800"/>
                      </a:lnTo>
                      <a:lnTo>
                        <a:pt x="24" y="776"/>
                      </a:lnTo>
                      <a:lnTo>
                        <a:pt x="24" y="760"/>
                      </a:lnTo>
                      <a:lnTo>
                        <a:pt x="24" y="752"/>
                      </a:lnTo>
                      <a:lnTo>
                        <a:pt x="24" y="744"/>
                      </a:lnTo>
                      <a:lnTo>
                        <a:pt x="32" y="744"/>
                      </a:lnTo>
                      <a:lnTo>
                        <a:pt x="40" y="744"/>
                      </a:lnTo>
                      <a:lnTo>
                        <a:pt x="40" y="736"/>
                      </a:lnTo>
                      <a:lnTo>
                        <a:pt x="32" y="728"/>
                      </a:lnTo>
                      <a:lnTo>
                        <a:pt x="32" y="736"/>
                      </a:lnTo>
                      <a:lnTo>
                        <a:pt x="24" y="736"/>
                      </a:lnTo>
                      <a:lnTo>
                        <a:pt x="16" y="728"/>
                      </a:lnTo>
                      <a:lnTo>
                        <a:pt x="24" y="728"/>
                      </a:lnTo>
                      <a:lnTo>
                        <a:pt x="32" y="720"/>
                      </a:lnTo>
                      <a:lnTo>
                        <a:pt x="24" y="712"/>
                      </a:lnTo>
                      <a:lnTo>
                        <a:pt x="16" y="712"/>
                      </a:lnTo>
                      <a:lnTo>
                        <a:pt x="16" y="704"/>
                      </a:lnTo>
                      <a:lnTo>
                        <a:pt x="0" y="704"/>
                      </a:lnTo>
                      <a:lnTo>
                        <a:pt x="16" y="696"/>
                      </a:lnTo>
                      <a:lnTo>
                        <a:pt x="16" y="688"/>
                      </a:lnTo>
                      <a:lnTo>
                        <a:pt x="24" y="688"/>
                      </a:lnTo>
                      <a:lnTo>
                        <a:pt x="24" y="696"/>
                      </a:lnTo>
                      <a:lnTo>
                        <a:pt x="32" y="704"/>
                      </a:lnTo>
                      <a:lnTo>
                        <a:pt x="40" y="696"/>
                      </a:lnTo>
                      <a:lnTo>
                        <a:pt x="40" y="680"/>
                      </a:lnTo>
                      <a:lnTo>
                        <a:pt x="48" y="672"/>
                      </a:lnTo>
                      <a:lnTo>
                        <a:pt x="48" y="664"/>
                      </a:lnTo>
                      <a:lnTo>
                        <a:pt x="56" y="656"/>
                      </a:lnTo>
                      <a:lnTo>
                        <a:pt x="56" y="648"/>
                      </a:lnTo>
                      <a:lnTo>
                        <a:pt x="48" y="648"/>
                      </a:lnTo>
                      <a:lnTo>
                        <a:pt x="48" y="632"/>
                      </a:lnTo>
                      <a:lnTo>
                        <a:pt x="56" y="616"/>
                      </a:lnTo>
                      <a:lnTo>
                        <a:pt x="56" y="600"/>
                      </a:lnTo>
                      <a:lnTo>
                        <a:pt x="64" y="592"/>
                      </a:lnTo>
                      <a:lnTo>
                        <a:pt x="56" y="576"/>
                      </a:lnTo>
                      <a:lnTo>
                        <a:pt x="64" y="568"/>
                      </a:lnTo>
                      <a:lnTo>
                        <a:pt x="56" y="568"/>
                      </a:lnTo>
                      <a:lnTo>
                        <a:pt x="48" y="576"/>
                      </a:lnTo>
                      <a:lnTo>
                        <a:pt x="32" y="560"/>
                      </a:lnTo>
                      <a:lnTo>
                        <a:pt x="40" y="544"/>
                      </a:lnTo>
                      <a:lnTo>
                        <a:pt x="40" y="520"/>
                      </a:lnTo>
                      <a:lnTo>
                        <a:pt x="48" y="512"/>
                      </a:lnTo>
                      <a:lnTo>
                        <a:pt x="48" y="496"/>
                      </a:lnTo>
                      <a:lnTo>
                        <a:pt x="40" y="472"/>
                      </a:lnTo>
                      <a:lnTo>
                        <a:pt x="40" y="448"/>
                      </a:lnTo>
                      <a:lnTo>
                        <a:pt x="48" y="440"/>
                      </a:lnTo>
                      <a:lnTo>
                        <a:pt x="48" y="424"/>
                      </a:lnTo>
                      <a:lnTo>
                        <a:pt x="56" y="416"/>
                      </a:lnTo>
                      <a:lnTo>
                        <a:pt x="64" y="400"/>
                      </a:lnTo>
                      <a:lnTo>
                        <a:pt x="72" y="384"/>
                      </a:lnTo>
                      <a:lnTo>
                        <a:pt x="80" y="368"/>
                      </a:lnTo>
                      <a:lnTo>
                        <a:pt x="88" y="352"/>
                      </a:lnTo>
                      <a:lnTo>
                        <a:pt x="88" y="312"/>
                      </a:lnTo>
                      <a:lnTo>
                        <a:pt x="80" y="280"/>
                      </a:lnTo>
                      <a:lnTo>
                        <a:pt x="88" y="272"/>
                      </a:lnTo>
                      <a:lnTo>
                        <a:pt x="88" y="256"/>
                      </a:lnTo>
                      <a:lnTo>
                        <a:pt x="88" y="248"/>
                      </a:lnTo>
                      <a:lnTo>
                        <a:pt x="104" y="192"/>
                      </a:lnTo>
                      <a:lnTo>
                        <a:pt x="104" y="168"/>
                      </a:lnTo>
                      <a:lnTo>
                        <a:pt x="104" y="120"/>
                      </a:lnTo>
                      <a:lnTo>
                        <a:pt x="112" y="112"/>
                      </a:lnTo>
                      <a:lnTo>
                        <a:pt x="112" y="56"/>
                      </a:lnTo>
                      <a:lnTo>
                        <a:pt x="112" y="24"/>
                      </a:lnTo>
                      <a:lnTo>
                        <a:pt x="128" y="0"/>
                      </a:lnTo>
                      <a:lnTo>
                        <a:pt x="136" y="8"/>
                      </a:lnTo>
                      <a:lnTo>
                        <a:pt x="144" y="32"/>
                      </a:lnTo>
                      <a:lnTo>
                        <a:pt x="144" y="64"/>
                      </a:lnTo>
                      <a:lnTo>
                        <a:pt x="160" y="112"/>
                      </a:lnTo>
                      <a:lnTo>
                        <a:pt x="168" y="112"/>
                      </a:lnTo>
                      <a:lnTo>
                        <a:pt x="168" y="128"/>
                      </a:lnTo>
                      <a:lnTo>
                        <a:pt x="168" y="144"/>
                      </a:lnTo>
                      <a:lnTo>
                        <a:pt x="152" y="152"/>
                      </a:lnTo>
                      <a:lnTo>
                        <a:pt x="144" y="160"/>
                      </a:lnTo>
                      <a:lnTo>
                        <a:pt x="152" y="200"/>
                      </a:lnTo>
                      <a:lnTo>
                        <a:pt x="152" y="208"/>
                      </a:lnTo>
                      <a:lnTo>
                        <a:pt x="128" y="224"/>
                      </a:lnTo>
                      <a:lnTo>
                        <a:pt x="120" y="264"/>
                      </a:lnTo>
                      <a:lnTo>
                        <a:pt x="112" y="272"/>
                      </a:lnTo>
                      <a:lnTo>
                        <a:pt x="104" y="312"/>
                      </a:lnTo>
                      <a:lnTo>
                        <a:pt x="120" y="352"/>
                      </a:lnTo>
                      <a:lnTo>
                        <a:pt x="112" y="384"/>
                      </a:lnTo>
                      <a:lnTo>
                        <a:pt x="104" y="400"/>
                      </a:lnTo>
                      <a:lnTo>
                        <a:pt x="104" y="424"/>
                      </a:lnTo>
                      <a:lnTo>
                        <a:pt x="88" y="448"/>
                      </a:lnTo>
                      <a:lnTo>
                        <a:pt x="96" y="488"/>
                      </a:lnTo>
                      <a:lnTo>
                        <a:pt x="88" y="504"/>
                      </a:lnTo>
                      <a:lnTo>
                        <a:pt x="72" y="544"/>
                      </a:lnTo>
                      <a:lnTo>
                        <a:pt x="80" y="592"/>
                      </a:lnTo>
                      <a:lnTo>
                        <a:pt x="72" y="600"/>
                      </a:lnTo>
                      <a:lnTo>
                        <a:pt x="72" y="624"/>
                      </a:lnTo>
                      <a:lnTo>
                        <a:pt x="80" y="648"/>
                      </a:lnTo>
                      <a:lnTo>
                        <a:pt x="72" y="656"/>
                      </a:lnTo>
                      <a:lnTo>
                        <a:pt x="72" y="672"/>
                      </a:lnTo>
                      <a:lnTo>
                        <a:pt x="80" y="672"/>
                      </a:lnTo>
                      <a:lnTo>
                        <a:pt x="80" y="712"/>
                      </a:lnTo>
                      <a:lnTo>
                        <a:pt x="72" y="720"/>
                      </a:lnTo>
                      <a:lnTo>
                        <a:pt x="72" y="728"/>
                      </a:lnTo>
                      <a:lnTo>
                        <a:pt x="64" y="728"/>
                      </a:lnTo>
                      <a:lnTo>
                        <a:pt x="64" y="752"/>
                      </a:lnTo>
                      <a:lnTo>
                        <a:pt x="40" y="776"/>
                      </a:lnTo>
                      <a:lnTo>
                        <a:pt x="40" y="792"/>
                      </a:lnTo>
                      <a:lnTo>
                        <a:pt x="48" y="808"/>
                      </a:lnTo>
                      <a:lnTo>
                        <a:pt x="56" y="808"/>
                      </a:lnTo>
                      <a:lnTo>
                        <a:pt x="64" y="816"/>
                      </a:lnTo>
                      <a:lnTo>
                        <a:pt x="64" y="840"/>
                      </a:lnTo>
                      <a:lnTo>
                        <a:pt x="80" y="848"/>
                      </a:lnTo>
                      <a:lnTo>
                        <a:pt x="120" y="848"/>
                      </a:lnTo>
                      <a:lnTo>
                        <a:pt x="128" y="85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94" name="Freeform 18"/>
                <p:cNvSpPr>
                  <a:spLocks noChangeAspect="1"/>
                </p:cNvSpPr>
                <p:nvPr/>
              </p:nvSpPr>
              <p:spPr bwMode="auto">
                <a:xfrm>
                  <a:off x="1585" y="2898"/>
                  <a:ext cx="180" cy="270"/>
                </a:xfrm>
                <a:custGeom>
                  <a:avLst/>
                  <a:gdLst>
                    <a:gd name="T0" fmla="*/ 1 w 256"/>
                    <a:gd name="T1" fmla="*/ 1 h 384"/>
                    <a:gd name="T2" fmla="*/ 0 w 256"/>
                    <a:gd name="T3" fmla="*/ 1 h 384"/>
                    <a:gd name="T4" fmla="*/ 1 w 256"/>
                    <a:gd name="T5" fmla="*/ 1 h 384"/>
                    <a:gd name="T6" fmla="*/ 0 w 256"/>
                    <a:gd name="T7" fmla="*/ 1 h 384"/>
                    <a:gd name="T8" fmla="*/ 1 w 256"/>
                    <a:gd name="T9" fmla="*/ 1 h 384"/>
                    <a:gd name="T10" fmla="*/ 0 w 256"/>
                    <a:gd name="T11" fmla="*/ 1 h 384"/>
                    <a:gd name="T12" fmla="*/ 1 w 256"/>
                    <a:gd name="T13" fmla="*/ 1 h 384"/>
                    <a:gd name="T14" fmla="*/ 1 w 256"/>
                    <a:gd name="T15" fmla="*/ 1 h 384"/>
                    <a:gd name="T16" fmla="*/ 1 w 256"/>
                    <a:gd name="T17" fmla="*/ 1 h 384"/>
                    <a:gd name="T18" fmla="*/ 1 w 256"/>
                    <a:gd name="T19" fmla="*/ 1 h 384"/>
                    <a:gd name="T20" fmla="*/ 1 w 256"/>
                    <a:gd name="T21" fmla="*/ 1 h 384"/>
                    <a:gd name="T22" fmla="*/ 1 w 256"/>
                    <a:gd name="T23" fmla="*/ 1 h 384"/>
                    <a:gd name="T24" fmla="*/ 1 w 256"/>
                    <a:gd name="T25" fmla="*/ 1 h 384"/>
                    <a:gd name="T26" fmla="*/ 1 w 256"/>
                    <a:gd name="T27" fmla="*/ 1 h 384"/>
                    <a:gd name="T28" fmla="*/ 1 w 256"/>
                    <a:gd name="T29" fmla="*/ 1 h 384"/>
                    <a:gd name="T30" fmla="*/ 1 w 256"/>
                    <a:gd name="T31" fmla="*/ 1 h 384"/>
                    <a:gd name="T32" fmla="*/ 1 w 256"/>
                    <a:gd name="T33" fmla="*/ 1 h 384"/>
                    <a:gd name="T34" fmla="*/ 1 w 256"/>
                    <a:gd name="T35" fmla="*/ 1 h 384"/>
                    <a:gd name="T36" fmla="*/ 1 w 256"/>
                    <a:gd name="T37" fmla="*/ 1 h 384"/>
                    <a:gd name="T38" fmla="*/ 1 w 256"/>
                    <a:gd name="T39" fmla="*/ 1 h 384"/>
                    <a:gd name="T40" fmla="*/ 1 w 256"/>
                    <a:gd name="T41" fmla="*/ 1 h 384"/>
                    <a:gd name="T42" fmla="*/ 1 w 256"/>
                    <a:gd name="T43" fmla="*/ 1 h 384"/>
                    <a:gd name="T44" fmla="*/ 1 w 256"/>
                    <a:gd name="T45" fmla="*/ 1 h 384"/>
                    <a:gd name="T46" fmla="*/ 1 w 256"/>
                    <a:gd name="T47" fmla="*/ 1 h 384"/>
                    <a:gd name="T48" fmla="*/ 1 w 256"/>
                    <a:gd name="T49" fmla="*/ 1 h 384"/>
                    <a:gd name="T50" fmla="*/ 1 w 256"/>
                    <a:gd name="T51" fmla="*/ 1 h 384"/>
                    <a:gd name="T52" fmla="*/ 1 w 256"/>
                    <a:gd name="T53" fmla="*/ 1 h 384"/>
                    <a:gd name="T54" fmla="*/ 1 w 256"/>
                    <a:gd name="T55" fmla="*/ 1 h 384"/>
                    <a:gd name="T56" fmla="*/ 1 w 256"/>
                    <a:gd name="T57" fmla="*/ 1 h 384"/>
                    <a:gd name="T58" fmla="*/ 1 w 256"/>
                    <a:gd name="T59" fmla="*/ 1 h 384"/>
                    <a:gd name="T60" fmla="*/ 1 w 256"/>
                    <a:gd name="T61" fmla="*/ 1 h 384"/>
                    <a:gd name="T62" fmla="*/ 1 w 256"/>
                    <a:gd name="T63" fmla="*/ 1 h 384"/>
                    <a:gd name="T64" fmla="*/ 1 w 256"/>
                    <a:gd name="T65" fmla="*/ 1 h 384"/>
                    <a:gd name="T66" fmla="*/ 1 w 256"/>
                    <a:gd name="T67" fmla="*/ 1 h 384"/>
                    <a:gd name="T68" fmla="*/ 1 w 256"/>
                    <a:gd name="T69" fmla="*/ 1 h 384"/>
                    <a:gd name="T70" fmla="*/ 1 w 256"/>
                    <a:gd name="T71" fmla="*/ 1 h 384"/>
                    <a:gd name="T72" fmla="*/ 1 w 256"/>
                    <a:gd name="T73" fmla="*/ 1 h 384"/>
                    <a:gd name="T74" fmla="*/ 1 w 256"/>
                    <a:gd name="T75" fmla="*/ 1 h 384"/>
                    <a:gd name="T76" fmla="*/ 1 w 256"/>
                    <a:gd name="T77" fmla="*/ 1 h 384"/>
                    <a:gd name="T78" fmla="*/ 1 w 256"/>
                    <a:gd name="T79" fmla="*/ 1 h 384"/>
                    <a:gd name="T80" fmla="*/ 1 w 256"/>
                    <a:gd name="T81" fmla="*/ 1 h 384"/>
                    <a:gd name="T82" fmla="*/ 1 w 256"/>
                    <a:gd name="T83" fmla="*/ 1 h 384"/>
                    <a:gd name="T84" fmla="*/ 1 w 256"/>
                    <a:gd name="T85" fmla="*/ 1 h 384"/>
                    <a:gd name="T86" fmla="*/ 1 w 256"/>
                    <a:gd name="T87" fmla="*/ 1 h 384"/>
                    <a:gd name="T88" fmla="*/ 1 w 256"/>
                    <a:gd name="T89" fmla="*/ 1 h 384"/>
                    <a:gd name="T90" fmla="*/ 1 w 256"/>
                    <a:gd name="T91" fmla="*/ 1 h 384"/>
                    <a:gd name="T92" fmla="*/ 1 w 256"/>
                    <a:gd name="T93" fmla="*/ 1 h 384"/>
                    <a:gd name="T94" fmla="*/ 1 w 256"/>
                    <a:gd name="T95" fmla="*/ 1 h 384"/>
                    <a:gd name="T96" fmla="*/ 1 w 256"/>
                    <a:gd name="T97" fmla="*/ 1 h 384"/>
                    <a:gd name="T98" fmla="*/ 1 w 256"/>
                    <a:gd name="T99" fmla="*/ 1 h 384"/>
                    <a:gd name="T100" fmla="*/ 1 w 256"/>
                    <a:gd name="T101" fmla="*/ 0 h 384"/>
                    <a:gd name="T102" fmla="*/ 1 w 256"/>
                    <a:gd name="T103" fmla="*/ 0 h 384"/>
                    <a:gd name="T104" fmla="*/ 1 w 256"/>
                    <a:gd name="T105" fmla="*/ 0 h 384"/>
                    <a:gd name="T106" fmla="*/ 1 w 256"/>
                    <a:gd name="T107" fmla="*/ 1 h 384"/>
                    <a:gd name="T108" fmla="*/ 1 w 256"/>
                    <a:gd name="T109" fmla="*/ 1 h 384"/>
                    <a:gd name="T110" fmla="*/ 1 w 256"/>
                    <a:gd name="T111" fmla="*/ 1 h 384"/>
                    <a:gd name="T112" fmla="*/ 1 w 256"/>
                    <a:gd name="T113" fmla="*/ 1 h 384"/>
                    <a:gd name="T114" fmla="*/ 1 w 256"/>
                    <a:gd name="T115" fmla="*/ 1 h 384"/>
                    <a:gd name="T116" fmla="*/ 1 w 256"/>
                    <a:gd name="T117" fmla="*/ 1 h 384"/>
                    <a:gd name="T118" fmla="*/ 1 w 256"/>
                    <a:gd name="T119" fmla="*/ 1 h 384"/>
                    <a:gd name="T120" fmla="*/ 1 w 256"/>
                    <a:gd name="T121" fmla="*/ 1 h 384"/>
                    <a:gd name="T122" fmla="*/ 1 w 256"/>
                    <a:gd name="T123" fmla="*/ 1 h 384"/>
                    <a:gd name="T124" fmla="*/ 1 w 256"/>
                    <a:gd name="T125" fmla="*/ 1 h 384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256"/>
                    <a:gd name="T190" fmla="*/ 0 h 384"/>
                    <a:gd name="T191" fmla="*/ 256 w 256"/>
                    <a:gd name="T192" fmla="*/ 384 h 384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256" h="384">
                      <a:moveTo>
                        <a:pt x="16" y="72"/>
                      </a:moveTo>
                      <a:lnTo>
                        <a:pt x="0" y="80"/>
                      </a:lnTo>
                      <a:lnTo>
                        <a:pt x="8" y="96"/>
                      </a:lnTo>
                      <a:lnTo>
                        <a:pt x="0" y="104"/>
                      </a:lnTo>
                      <a:lnTo>
                        <a:pt x="8" y="112"/>
                      </a:lnTo>
                      <a:lnTo>
                        <a:pt x="0" y="120"/>
                      </a:lnTo>
                      <a:lnTo>
                        <a:pt x="16" y="128"/>
                      </a:lnTo>
                      <a:lnTo>
                        <a:pt x="24" y="128"/>
                      </a:lnTo>
                      <a:lnTo>
                        <a:pt x="40" y="160"/>
                      </a:lnTo>
                      <a:lnTo>
                        <a:pt x="56" y="176"/>
                      </a:lnTo>
                      <a:lnTo>
                        <a:pt x="64" y="208"/>
                      </a:lnTo>
                      <a:lnTo>
                        <a:pt x="72" y="224"/>
                      </a:lnTo>
                      <a:lnTo>
                        <a:pt x="72" y="240"/>
                      </a:lnTo>
                      <a:lnTo>
                        <a:pt x="88" y="248"/>
                      </a:lnTo>
                      <a:lnTo>
                        <a:pt x="88" y="256"/>
                      </a:lnTo>
                      <a:lnTo>
                        <a:pt x="96" y="272"/>
                      </a:lnTo>
                      <a:lnTo>
                        <a:pt x="96" y="280"/>
                      </a:lnTo>
                      <a:lnTo>
                        <a:pt x="104" y="296"/>
                      </a:lnTo>
                      <a:lnTo>
                        <a:pt x="120" y="304"/>
                      </a:lnTo>
                      <a:lnTo>
                        <a:pt x="120" y="312"/>
                      </a:lnTo>
                      <a:lnTo>
                        <a:pt x="144" y="328"/>
                      </a:lnTo>
                      <a:lnTo>
                        <a:pt x="160" y="328"/>
                      </a:lnTo>
                      <a:lnTo>
                        <a:pt x="176" y="352"/>
                      </a:lnTo>
                      <a:lnTo>
                        <a:pt x="192" y="352"/>
                      </a:lnTo>
                      <a:lnTo>
                        <a:pt x="224" y="384"/>
                      </a:lnTo>
                      <a:lnTo>
                        <a:pt x="240" y="360"/>
                      </a:lnTo>
                      <a:lnTo>
                        <a:pt x="248" y="336"/>
                      </a:lnTo>
                      <a:lnTo>
                        <a:pt x="240" y="304"/>
                      </a:lnTo>
                      <a:lnTo>
                        <a:pt x="256" y="296"/>
                      </a:lnTo>
                      <a:lnTo>
                        <a:pt x="248" y="264"/>
                      </a:lnTo>
                      <a:lnTo>
                        <a:pt x="256" y="264"/>
                      </a:lnTo>
                      <a:lnTo>
                        <a:pt x="256" y="256"/>
                      </a:lnTo>
                      <a:lnTo>
                        <a:pt x="240" y="224"/>
                      </a:lnTo>
                      <a:lnTo>
                        <a:pt x="224" y="224"/>
                      </a:lnTo>
                      <a:lnTo>
                        <a:pt x="216" y="200"/>
                      </a:lnTo>
                      <a:lnTo>
                        <a:pt x="216" y="192"/>
                      </a:lnTo>
                      <a:lnTo>
                        <a:pt x="176" y="192"/>
                      </a:lnTo>
                      <a:lnTo>
                        <a:pt x="160" y="184"/>
                      </a:lnTo>
                      <a:lnTo>
                        <a:pt x="160" y="168"/>
                      </a:lnTo>
                      <a:lnTo>
                        <a:pt x="152" y="144"/>
                      </a:lnTo>
                      <a:lnTo>
                        <a:pt x="160" y="128"/>
                      </a:lnTo>
                      <a:lnTo>
                        <a:pt x="160" y="112"/>
                      </a:lnTo>
                      <a:lnTo>
                        <a:pt x="192" y="96"/>
                      </a:lnTo>
                      <a:lnTo>
                        <a:pt x="216" y="88"/>
                      </a:lnTo>
                      <a:lnTo>
                        <a:pt x="232" y="80"/>
                      </a:lnTo>
                      <a:lnTo>
                        <a:pt x="232" y="72"/>
                      </a:lnTo>
                      <a:lnTo>
                        <a:pt x="216" y="72"/>
                      </a:lnTo>
                      <a:lnTo>
                        <a:pt x="224" y="48"/>
                      </a:lnTo>
                      <a:lnTo>
                        <a:pt x="208" y="40"/>
                      </a:lnTo>
                      <a:lnTo>
                        <a:pt x="160" y="40"/>
                      </a:lnTo>
                      <a:lnTo>
                        <a:pt x="128" y="0"/>
                      </a:lnTo>
                      <a:lnTo>
                        <a:pt x="112" y="0"/>
                      </a:lnTo>
                      <a:lnTo>
                        <a:pt x="104" y="0"/>
                      </a:lnTo>
                      <a:lnTo>
                        <a:pt x="120" y="8"/>
                      </a:lnTo>
                      <a:lnTo>
                        <a:pt x="120" y="24"/>
                      </a:lnTo>
                      <a:lnTo>
                        <a:pt x="104" y="40"/>
                      </a:lnTo>
                      <a:lnTo>
                        <a:pt x="80" y="56"/>
                      </a:lnTo>
                      <a:lnTo>
                        <a:pt x="48" y="80"/>
                      </a:lnTo>
                      <a:lnTo>
                        <a:pt x="56" y="96"/>
                      </a:lnTo>
                      <a:lnTo>
                        <a:pt x="40" y="96"/>
                      </a:lnTo>
                      <a:lnTo>
                        <a:pt x="32" y="88"/>
                      </a:lnTo>
                      <a:lnTo>
                        <a:pt x="16" y="88"/>
                      </a:lnTo>
                      <a:lnTo>
                        <a:pt x="16" y="72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95" name="Freeform 19"/>
                <p:cNvSpPr>
                  <a:spLocks noChangeAspect="1"/>
                </p:cNvSpPr>
                <p:nvPr/>
              </p:nvSpPr>
              <p:spPr bwMode="auto">
                <a:xfrm>
                  <a:off x="1596" y="2881"/>
                  <a:ext cx="73" cy="84"/>
                </a:xfrm>
                <a:custGeom>
                  <a:avLst/>
                  <a:gdLst>
                    <a:gd name="T0" fmla="*/ 1 w 104"/>
                    <a:gd name="T1" fmla="*/ 1 h 120"/>
                    <a:gd name="T2" fmla="*/ 1 w 104"/>
                    <a:gd name="T3" fmla="*/ 1 h 120"/>
                    <a:gd name="T4" fmla="*/ 1 w 104"/>
                    <a:gd name="T5" fmla="*/ 1 h 120"/>
                    <a:gd name="T6" fmla="*/ 1 w 104"/>
                    <a:gd name="T7" fmla="*/ 1 h 120"/>
                    <a:gd name="T8" fmla="*/ 1 w 104"/>
                    <a:gd name="T9" fmla="*/ 1 h 120"/>
                    <a:gd name="T10" fmla="*/ 1 w 104"/>
                    <a:gd name="T11" fmla="*/ 1 h 120"/>
                    <a:gd name="T12" fmla="*/ 1 w 104"/>
                    <a:gd name="T13" fmla="*/ 1 h 120"/>
                    <a:gd name="T14" fmla="*/ 1 w 104"/>
                    <a:gd name="T15" fmla="*/ 1 h 120"/>
                    <a:gd name="T16" fmla="*/ 1 w 104"/>
                    <a:gd name="T17" fmla="*/ 1 h 120"/>
                    <a:gd name="T18" fmla="*/ 0 w 104"/>
                    <a:gd name="T19" fmla="*/ 1 h 120"/>
                    <a:gd name="T20" fmla="*/ 0 w 104"/>
                    <a:gd name="T21" fmla="*/ 1 h 120"/>
                    <a:gd name="T22" fmla="*/ 1 w 104"/>
                    <a:gd name="T23" fmla="*/ 1 h 120"/>
                    <a:gd name="T24" fmla="*/ 1 w 104"/>
                    <a:gd name="T25" fmla="*/ 1 h 120"/>
                    <a:gd name="T26" fmla="*/ 1 w 104"/>
                    <a:gd name="T27" fmla="*/ 1 h 120"/>
                    <a:gd name="T28" fmla="*/ 1 w 104"/>
                    <a:gd name="T29" fmla="*/ 1 h 120"/>
                    <a:gd name="T30" fmla="*/ 1 w 104"/>
                    <a:gd name="T31" fmla="*/ 1 h 120"/>
                    <a:gd name="T32" fmla="*/ 0 w 104"/>
                    <a:gd name="T33" fmla="*/ 1 h 120"/>
                    <a:gd name="T34" fmla="*/ 0 w 104"/>
                    <a:gd name="T35" fmla="*/ 1 h 120"/>
                    <a:gd name="T36" fmla="*/ 1 w 104"/>
                    <a:gd name="T37" fmla="*/ 1 h 120"/>
                    <a:gd name="T38" fmla="*/ 1 w 104"/>
                    <a:gd name="T39" fmla="*/ 1 h 120"/>
                    <a:gd name="T40" fmla="*/ 1 w 104"/>
                    <a:gd name="T41" fmla="*/ 0 h 120"/>
                    <a:gd name="T42" fmla="*/ 1 w 104"/>
                    <a:gd name="T43" fmla="*/ 0 h 120"/>
                    <a:gd name="T44" fmla="*/ 1 w 104"/>
                    <a:gd name="T45" fmla="*/ 0 h 120"/>
                    <a:gd name="T46" fmla="*/ 1 w 104"/>
                    <a:gd name="T47" fmla="*/ 1 h 120"/>
                    <a:gd name="T48" fmla="*/ 1 w 104"/>
                    <a:gd name="T49" fmla="*/ 1 h 120"/>
                    <a:gd name="T50" fmla="*/ 1 w 104"/>
                    <a:gd name="T51" fmla="*/ 1 h 120"/>
                    <a:gd name="T52" fmla="*/ 1 w 104"/>
                    <a:gd name="T53" fmla="*/ 1 h 120"/>
                    <a:gd name="T54" fmla="*/ 1 w 104"/>
                    <a:gd name="T55" fmla="*/ 1 h 120"/>
                    <a:gd name="T56" fmla="*/ 1 w 104"/>
                    <a:gd name="T57" fmla="*/ 1 h 120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04"/>
                    <a:gd name="T88" fmla="*/ 0 h 120"/>
                    <a:gd name="T89" fmla="*/ 104 w 104"/>
                    <a:gd name="T90" fmla="*/ 120 h 120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04" h="120">
                      <a:moveTo>
                        <a:pt x="88" y="24"/>
                      </a:moveTo>
                      <a:lnTo>
                        <a:pt x="104" y="32"/>
                      </a:lnTo>
                      <a:lnTo>
                        <a:pt x="104" y="48"/>
                      </a:lnTo>
                      <a:lnTo>
                        <a:pt x="88" y="64"/>
                      </a:lnTo>
                      <a:lnTo>
                        <a:pt x="64" y="80"/>
                      </a:lnTo>
                      <a:lnTo>
                        <a:pt x="32" y="104"/>
                      </a:lnTo>
                      <a:lnTo>
                        <a:pt x="40" y="120"/>
                      </a:lnTo>
                      <a:lnTo>
                        <a:pt x="24" y="120"/>
                      </a:lnTo>
                      <a:lnTo>
                        <a:pt x="16" y="112"/>
                      </a:lnTo>
                      <a:lnTo>
                        <a:pt x="0" y="112"/>
                      </a:lnTo>
                      <a:lnTo>
                        <a:pt x="0" y="96"/>
                      </a:lnTo>
                      <a:lnTo>
                        <a:pt x="8" y="88"/>
                      </a:lnTo>
                      <a:lnTo>
                        <a:pt x="16" y="88"/>
                      </a:lnTo>
                      <a:lnTo>
                        <a:pt x="24" y="80"/>
                      </a:lnTo>
                      <a:lnTo>
                        <a:pt x="16" y="72"/>
                      </a:lnTo>
                      <a:lnTo>
                        <a:pt x="8" y="72"/>
                      </a:lnTo>
                      <a:lnTo>
                        <a:pt x="0" y="64"/>
                      </a:lnTo>
                      <a:lnTo>
                        <a:pt x="0" y="40"/>
                      </a:lnTo>
                      <a:lnTo>
                        <a:pt x="8" y="32"/>
                      </a:lnTo>
                      <a:lnTo>
                        <a:pt x="8" y="8"/>
                      </a:lnTo>
                      <a:lnTo>
                        <a:pt x="16" y="0"/>
                      </a:lnTo>
                      <a:lnTo>
                        <a:pt x="24" y="0"/>
                      </a:lnTo>
                      <a:lnTo>
                        <a:pt x="32" y="0"/>
                      </a:lnTo>
                      <a:lnTo>
                        <a:pt x="48" y="8"/>
                      </a:lnTo>
                      <a:lnTo>
                        <a:pt x="48" y="16"/>
                      </a:lnTo>
                      <a:lnTo>
                        <a:pt x="56" y="24"/>
                      </a:lnTo>
                      <a:lnTo>
                        <a:pt x="64" y="16"/>
                      </a:lnTo>
                      <a:lnTo>
                        <a:pt x="80" y="16"/>
                      </a:lnTo>
                      <a:lnTo>
                        <a:pt x="88" y="24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96" name="Freeform 20"/>
                <p:cNvSpPr>
                  <a:spLocks noChangeAspect="1"/>
                </p:cNvSpPr>
                <p:nvPr/>
              </p:nvSpPr>
              <p:spPr bwMode="auto">
                <a:xfrm>
                  <a:off x="1568" y="2757"/>
                  <a:ext cx="84" cy="34"/>
                </a:xfrm>
                <a:custGeom>
                  <a:avLst/>
                  <a:gdLst>
                    <a:gd name="T0" fmla="*/ 1 w 120"/>
                    <a:gd name="T1" fmla="*/ 1 h 48"/>
                    <a:gd name="T2" fmla="*/ 1 w 120"/>
                    <a:gd name="T3" fmla="*/ 1 h 48"/>
                    <a:gd name="T4" fmla="*/ 1 w 120"/>
                    <a:gd name="T5" fmla="*/ 1 h 48"/>
                    <a:gd name="T6" fmla="*/ 1 w 120"/>
                    <a:gd name="T7" fmla="*/ 1 h 48"/>
                    <a:gd name="T8" fmla="*/ 1 w 120"/>
                    <a:gd name="T9" fmla="*/ 1 h 48"/>
                    <a:gd name="T10" fmla="*/ 1 w 120"/>
                    <a:gd name="T11" fmla="*/ 1 h 48"/>
                    <a:gd name="T12" fmla="*/ 1 w 120"/>
                    <a:gd name="T13" fmla="*/ 1 h 48"/>
                    <a:gd name="T14" fmla="*/ 1 w 120"/>
                    <a:gd name="T15" fmla="*/ 1 h 48"/>
                    <a:gd name="T16" fmla="*/ 1 w 120"/>
                    <a:gd name="T17" fmla="*/ 1 h 48"/>
                    <a:gd name="T18" fmla="*/ 1 w 120"/>
                    <a:gd name="T19" fmla="*/ 1 h 48"/>
                    <a:gd name="T20" fmla="*/ 1 w 120"/>
                    <a:gd name="T21" fmla="*/ 1 h 48"/>
                    <a:gd name="T22" fmla="*/ 1 w 120"/>
                    <a:gd name="T23" fmla="*/ 1 h 48"/>
                    <a:gd name="T24" fmla="*/ 1 w 120"/>
                    <a:gd name="T25" fmla="*/ 1 h 48"/>
                    <a:gd name="T26" fmla="*/ 1 w 120"/>
                    <a:gd name="T27" fmla="*/ 1 h 48"/>
                    <a:gd name="T28" fmla="*/ 0 w 120"/>
                    <a:gd name="T29" fmla="*/ 1 h 48"/>
                    <a:gd name="T30" fmla="*/ 0 w 120"/>
                    <a:gd name="T31" fmla="*/ 1 h 48"/>
                    <a:gd name="T32" fmla="*/ 1 w 120"/>
                    <a:gd name="T33" fmla="*/ 0 h 48"/>
                    <a:gd name="T34" fmla="*/ 1 w 120"/>
                    <a:gd name="T35" fmla="*/ 1 h 48"/>
                    <a:gd name="T36" fmla="*/ 1 w 120"/>
                    <a:gd name="T37" fmla="*/ 1 h 48"/>
                    <a:gd name="T38" fmla="*/ 1 w 120"/>
                    <a:gd name="T39" fmla="*/ 1 h 48"/>
                    <a:gd name="T40" fmla="*/ 1 w 120"/>
                    <a:gd name="T41" fmla="*/ 1 h 48"/>
                    <a:gd name="T42" fmla="*/ 1 w 120"/>
                    <a:gd name="T43" fmla="*/ 1 h 48"/>
                    <a:gd name="T44" fmla="*/ 1 w 120"/>
                    <a:gd name="T45" fmla="*/ 1 h 48"/>
                    <a:gd name="T46" fmla="*/ 1 w 120"/>
                    <a:gd name="T47" fmla="*/ 1 h 48"/>
                    <a:gd name="T48" fmla="*/ 1 w 120"/>
                    <a:gd name="T49" fmla="*/ 1 h 48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20"/>
                    <a:gd name="T76" fmla="*/ 0 h 48"/>
                    <a:gd name="T77" fmla="*/ 120 w 120"/>
                    <a:gd name="T78" fmla="*/ 48 h 48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20" h="48">
                      <a:moveTo>
                        <a:pt x="120" y="32"/>
                      </a:moveTo>
                      <a:lnTo>
                        <a:pt x="112" y="40"/>
                      </a:lnTo>
                      <a:lnTo>
                        <a:pt x="96" y="48"/>
                      </a:lnTo>
                      <a:lnTo>
                        <a:pt x="88" y="40"/>
                      </a:lnTo>
                      <a:lnTo>
                        <a:pt x="88" y="24"/>
                      </a:lnTo>
                      <a:lnTo>
                        <a:pt x="72" y="16"/>
                      </a:lnTo>
                      <a:lnTo>
                        <a:pt x="64" y="16"/>
                      </a:lnTo>
                      <a:lnTo>
                        <a:pt x="56" y="24"/>
                      </a:lnTo>
                      <a:lnTo>
                        <a:pt x="48" y="32"/>
                      </a:lnTo>
                      <a:lnTo>
                        <a:pt x="56" y="40"/>
                      </a:lnTo>
                      <a:lnTo>
                        <a:pt x="40" y="48"/>
                      </a:lnTo>
                      <a:lnTo>
                        <a:pt x="32" y="40"/>
                      </a:lnTo>
                      <a:lnTo>
                        <a:pt x="24" y="40"/>
                      </a:lnTo>
                      <a:lnTo>
                        <a:pt x="24" y="32"/>
                      </a:lnTo>
                      <a:lnTo>
                        <a:pt x="0" y="24"/>
                      </a:lnTo>
                      <a:lnTo>
                        <a:pt x="0" y="16"/>
                      </a:lnTo>
                      <a:lnTo>
                        <a:pt x="8" y="0"/>
                      </a:lnTo>
                      <a:lnTo>
                        <a:pt x="24" y="16"/>
                      </a:lnTo>
                      <a:lnTo>
                        <a:pt x="32" y="16"/>
                      </a:lnTo>
                      <a:lnTo>
                        <a:pt x="48" y="8"/>
                      </a:lnTo>
                      <a:lnTo>
                        <a:pt x="64" y="8"/>
                      </a:lnTo>
                      <a:lnTo>
                        <a:pt x="80" y="8"/>
                      </a:lnTo>
                      <a:lnTo>
                        <a:pt x="96" y="16"/>
                      </a:lnTo>
                      <a:lnTo>
                        <a:pt x="104" y="32"/>
                      </a:lnTo>
                      <a:lnTo>
                        <a:pt x="120" y="32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97" name="Freeform 21"/>
                <p:cNvSpPr>
                  <a:spLocks noChangeAspect="1"/>
                </p:cNvSpPr>
                <p:nvPr/>
              </p:nvSpPr>
              <p:spPr bwMode="auto">
                <a:xfrm>
                  <a:off x="1619" y="2718"/>
                  <a:ext cx="168" cy="230"/>
                </a:xfrm>
                <a:custGeom>
                  <a:avLst/>
                  <a:gdLst>
                    <a:gd name="T0" fmla="*/ 1 w 240"/>
                    <a:gd name="T1" fmla="*/ 1 h 328"/>
                    <a:gd name="T2" fmla="*/ 1 w 240"/>
                    <a:gd name="T3" fmla="*/ 1 h 328"/>
                    <a:gd name="T4" fmla="*/ 1 w 240"/>
                    <a:gd name="T5" fmla="*/ 1 h 328"/>
                    <a:gd name="T6" fmla="*/ 1 w 240"/>
                    <a:gd name="T7" fmla="*/ 1 h 328"/>
                    <a:gd name="T8" fmla="*/ 1 w 240"/>
                    <a:gd name="T9" fmla="*/ 1 h 328"/>
                    <a:gd name="T10" fmla="*/ 1 w 240"/>
                    <a:gd name="T11" fmla="*/ 1 h 328"/>
                    <a:gd name="T12" fmla="*/ 0 w 240"/>
                    <a:gd name="T13" fmla="*/ 1 h 328"/>
                    <a:gd name="T14" fmla="*/ 1 w 240"/>
                    <a:gd name="T15" fmla="*/ 1 h 328"/>
                    <a:gd name="T16" fmla="*/ 1 w 240"/>
                    <a:gd name="T17" fmla="*/ 1 h 328"/>
                    <a:gd name="T18" fmla="*/ 1 w 240"/>
                    <a:gd name="T19" fmla="*/ 1 h 328"/>
                    <a:gd name="T20" fmla="*/ 1 w 240"/>
                    <a:gd name="T21" fmla="*/ 1 h 328"/>
                    <a:gd name="T22" fmla="*/ 1 w 240"/>
                    <a:gd name="T23" fmla="*/ 1 h 328"/>
                    <a:gd name="T24" fmla="*/ 1 w 240"/>
                    <a:gd name="T25" fmla="*/ 1 h 328"/>
                    <a:gd name="T26" fmla="*/ 1 w 240"/>
                    <a:gd name="T27" fmla="*/ 1 h 328"/>
                    <a:gd name="T28" fmla="*/ 1 w 240"/>
                    <a:gd name="T29" fmla="*/ 1 h 328"/>
                    <a:gd name="T30" fmla="*/ 1 w 240"/>
                    <a:gd name="T31" fmla="*/ 1 h 328"/>
                    <a:gd name="T32" fmla="*/ 1 w 240"/>
                    <a:gd name="T33" fmla="*/ 1 h 328"/>
                    <a:gd name="T34" fmla="*/ 1 w 240"/>
                    <a:gd name="T35" fmla="*/ 0 h 328"/>
                    <a:gd name="T36" fmla="*/ 1 w 240"/>
                    <a:gd name="T37" fmla="*/ 0 h 328"/>
                    <a:gd name="T38" fmla="*/ 1 w 240"/>
                    <a:gd name="T39" fmla="*/ 1 h 328"/>
                    <a:gd name="T40" fmla="*/ 1 w 240"/>
                    <a:gd name="T41" fmla="*/ 1 h 328"/>
                    <a:gd name="T42" fmla="*/ 1 w 240"/>
                    <a:gd name="T43" fmla="*/ 1 h 328"/>
                    <a:gd name="T44" fmla="*/ 1 w 240"/>
                    <a:gd name="T45" fmla="*/ 1 h 328"/>
                    <a:gd name="T46" fmla="*/ 1 w 240"/>
                    <a:gd name="T47" fmla="*/ 1 h 328"/>
                    <a:gd name="T48" fmla="*/ 1 w 240"/>
                    <a:gd name="T49" fmla="*/ 1 h 328"/>
                    <a:gd name="T50" fmla="*/ 1 w 240"/>
                    <a:gd name="T51" fmla="*/ 1 h 328"/>
                    <a:gd name="T52" fmla="*/ 1 w 240"/>
                    <a:gd name="T53" fmla="*/ 1 h 328"/>
                    <a:gd name="T54" fmla="*/ 1 w 240"/>
                    <a:gd name="T55" fmla="*/ 1 h 328"/>
                    <a:gd name="T56" fmla="*/ 1 w 240"/>
                    <a:gd name="T57" fmla="*/ 1 h 328"/>
                    <a:gd name="T58" fmla="*/ 1 w 240"/>
                    <a:gd name="T59" fmla="*/ 1 h 328"/>
                    <a:gd name="T60" fmla="*/ 1 w 240"/>
                    <a:gd name="T61" fmla="*/ 1 h 328"/>
                    <a:gd name="T62" fmla="*/ 1 w 240"/>
                    <a:gd name="T63" fmla="*/ 1 h 328"/>
                    <a:gd name="T64" fmla="*/ 1 w 240"/>
                    <a:gd name="T65" fmla="*/ 1 h 328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240"/>
                    <a:gd name="T100" fmla="*/ 0 h 328"/>
                    <a:gd name="T101" fmla="*/ 240 w 240"/>
                    <a:gd name="T102" fmla="*/ 328 h 328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240" h="328">
                      <a:moveTo>
                        <a:pt x="184" y="328"/>
                      </a:moveTo>
                      <a:lnTo>
                        <a:pt x="168" y="328"/>
                      </a:lnTo>
                      <a:lnTo>
                        <a:pt x="176" y="304"/>
                      </a:lnTo>
                      <a:lnTo>
                        <a:pt x="160" y="296"/>
                      </a:lnTo>
                      <a:lnTo>
                        <a:pt x="112" y="296"/>
                      </a:lnTo>
                      <a:lnTo>
                        <a:pt x="80" y="256"/>
                      </a:lnTo>
                      <a:lnTo>
                        <a:pt x="64" y="256"/>
                      </a:lnTo>
                      <a:lnTo>
                        <a:pt x="56" y="256"/>
                      </a:lnTo>
                      <a:lnTo>
                        <a:pt x="48" y="248"/>
                      </a:lnTo>
                      <a:lnTo>
                        <a:pt x="32" y="248"/>
                      </a:lnTo>
                      <a:lnTo>
                        <a:pt x="24" y="256"/>
                      </a:lnTo>
                      <a:lnTo>
                        <a:pt x="16" y="248"/>
                      </a:lnTo>
                      <a:lnTo>
                        <a:pt x="16" y="240"/>
                      </a:lnTo>
                      <a:lnTo>
                        <a:pt x="0" y="232"/>
                      </a:lnTo>
                      <a:lnTo>
                        <a:pt x="0" y="208"/>
                      </a:lnTo>
                      <a:lnTo>
                        <a:pt x="8" y="200"/>
                      </a:lnTo>
                      <a:lnTo>
                        <a:pt x="24" y="192"/>
                      </a:lnTo>
                      <a:lnTo>
                        <a:pt x="24" y="184"/>
                      </a:lnTo>
                      <a:lnTo>
                        <a:pt x="40" y="168"/>
                      </a:lnTo>
                      <a:lnTo>
                        <a:pt x="32" y="160"/>
                      </a:lnTo>
                      <a:lnTo>
                        <a:pt x="32" y="136"/>
                      </a:lnTo>
                      <a:lnTo>
                        <a:pt x="32" y="112"/>
                      </a:lnTo>
                      <a:lnTo>
                        <a:pt x="24" y="104"/>
                      </a:lnTo>
                      <a:lnTo>
                        <a:pt x="40" y="96"/>
                      </a:lnTo>
                      <a:lnTo>
                        <a:pt x="48" y="88"/>
                      </a:lnTo>
                      <a:lnTo>
                        <a:pt x="48" y="80"/>
                      </a:lnTo>
                      <a:lnTo>
                        <a:pt x="48" y="72"/>
                      </a:lnTo>
                      <a:lnTo>
                        <a:pt x="64" y="64"/>
                      </a:lnTo>
                      <a:lnTo>
                        <a:pt x="64" y="48"/>
                      </a:lnTo>
                      <a:lnTo>
                        <a:pt x="72" y="48"/>
                      </a:lnTo>
                      <a:lnTo>
                        <a:pt x="72" y="32"/>
                      </a:lnTo>
                      <a:lnTo>
                        <a:pt x="80" y="24"/>
                      </a:lnTo>
                      <a:lnTo>
                        <a:pt x="88" y="32"/>
                      </a:lnTo>
                      <a:lnTo>
                        <a:pt x="96" y="24"/>
                      </a:lnTo>
                      <a:lnTo>
                        <a:pt x="136" y="8"/>
                      </a:lnTo>
                      <a:lnTo>
                        <a:pt x="136" y="0"/>
                      </a:lnTo>
                      <a:lnTo>
                        <a:pt x="152" y="0"/>
                      </a:lnTo>
                      <a:lnTo>
                        <a:pt x="160" y="0"/>
                      </a:lnTo>
                      <a:lnTo>
                        <a:pt x="160" y="8"/>
                      </a:lnTo>
                      <a:lnTo>
                        <a:pt x="144" y="8"/>
                      </a:lnTo>
                      <a:lnTo>
                        <a:pt x="120" y="32"/>
                      </a:lnTo>
                      <a:lnTo>
                        <a:pt x="112" y="64"/>
                      </a:lnTo>
                      <a:lnTo>
                        <a:pt x="120" y="72"/>
                      </a:lnTo>
                      <a:lnTo>
                        <a:pt x="128" y="80"/>
                      </a:lnTo>
                      <a:lnTo>
                        <a:pt x="128" y="96"/>
                      </a:lnTo>
                      <a:lnTo>
                        <a:pt x="136" y="104"/>
                      </a:lnTo>
                      <a:lnTo>
                        <a:pt x="184" y="112"/>
                      </a:lnTo>
                      <a:lnTo>
                        <a:pt x="192" y="120"/>
                      </a:lnTo>
                      <a:lnTo>
                        <a:pt x="216" y="128"/>
                      </a:lnTo>
                      <a:lnTo>
                        <a:pt x="224" y="136"/>
                      </a:lnTo>
                      <a:lnTo>
                        <a:pt x="224" y="152"/>
                      </a:lnTo>
                      <a:lnTo>
                        <a:pt x="224" y="160"/>
                      </a:lnTo>
                      <a:lnTo>
                        <a:pt x="232" y="184"/>
                      </a:lnTo>
                      <a:lnTo>
                        <a:pt x="224" y="192"/>
                      </a:lnTo>
                      <a:lnTo>
                        <a:pt x="240" y="200"/>
                      </a:lnTo>
                      <a:lnTo>
                        <a:pt x="240" y="208"/>
                      </a:lnTo>
                      <a:lnTo>
                        <a:pt x="240" y="232"/>
                      </a:lnTo>
                      <a:lnTo>
                        <a:pt x="232" y="224"/>
                      </a:lnTo>
                      <a:lnTo>
                        <a:pt x="216" y="216"/>
                      </a:lnTo>
                      <a:lnTo>
                        <a:pt x="184" y="216"/>
                      </a:lnTo>
                      <a:lnTo>
                        <a:pt x="184" y="224"/>
                      </a:lnTo>
                      <a:lnTo>
                        <a:pt x="200" y="240"/>
                      </a:lnTo>
                      <a:lnTo>
                        <a:pt x="192" y="248"/>
                      </a:lnTo>
                      <a:lnTo>
                        <a:pt x="184" y="248"/>
                      </a:lnTo>
                      <a:lnTo>
                        <a:pt x="184" y="264"/>
                      </a:lnTo>
                      <a:lnTo>
                        <a:pt x="192" y="272"/>
                      </a:lnTo>
                      <a:lnTo>
                        <a:pt x="184" y="32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98" name="Freeform 22"/>
                <p:cNvSpPr>
                  <a:spLocks noChangeAspect="1"/>
                </p:cNvSpPr>
                <p:nvPr/>
              </p:nvSpPr>
              <p:spPr bwMode="auto">
                <a:xfrm>
                  <a:off x="1697" y="2718"/>
                  <a:ext cx="197" cy="168"/>
                </a:xfrm>
                <a:custGeom>
                  <a:avLst/>
                  <a:gdLst>
                    <a:gd name="T0" fmla="*/ 1 w 280"/>
                    <a:gd name="T1" fmla="*/ 1 h 240"/>
                    <a:gd name="T2" fmla="*/ 1 w 280"/>
                    <a:gd name="T3" fmla="*/ 1 h 240"/>
                    <a:gd name="T4" fmla="*/ 1 w 280"/>
                    <a:gd name="T5" fmla="*/ 1 h 240"/>
                    <a:gd name="T6" fmla="*/ 1 w 280"/>
                    <a:gd name="T7" fmla="*/ 1 h 240"/>
                    <a:gd name="T8" fmla="*/ 1 w 280"/>
                    <a:gd name="T9" fmla="*/ 1 h 240"/>
                    <a:gd name="T10" fmla="*/ 1 w 280"/>
                    <a:gd name="T11" fmla="*/ 1 h 240"/>
                    <a:gd name="T12" fmla="*/ 1 w 280"/>
                    <a:gd name="T13" fmla="*/ 1 h 240"/>
                    <a:gd name="T14" fmla="*/ 0 w 280"/>
                    <a:gd name="T15" fmla="*/ 1 h 240"/>
                    <a:gd name="T16" fmla="*/ 1 w 280"/>
                    <a:gd name="T17" fmla="*/ 1 h 240"/>
                    <a:gd name="T18" fmla="*/ 1 w 280"/>
                    <a:gd name="T19" fmla="*/ 1 h 240"/>
                    <a:gd name="T20" fmla="*/ 1 w 280"/>
                    <a:gd name="T21" fmla="*/ 1 h 240"/>
                    <a:gd name="T22" fmla="*/ 1 w 280"/>
                    <a:gd name="T23" fmla="*/ 1 h 240"/>
                    <a:gd name="T24" fmla="*/ 1 w 280"/>
                    <a:gd name="T25" fmla="*/ 1 h 240"/>
                    <a:gd name="T26" fmla="*/ 1 w 280"/>
                    <a:gd name="T27" fmla="*/ 1 h 240"/>
                    <a:gd name="T28" fmla="*/ 1 w 280"/>
                    <a:gd name="T29" fmla="*/ 0 h 240"/>
                    <a:gd name="T30" fmla="*/ 1 w 280"/>
                    <a:gd name="T31" fmla="*/ 1 h 240"/>
                    <a:gd name="T32" fmla="*/ 1 w 280"/>
                    <a:gd name="T33" fmla="*/ 1 h 240"/>
                    <a:gd name="T34" fmla="*/ 1 w 280"/>
                    <a:gd name="T35" fmla="*/ 1 h 240"/>
                    <a:gd name="T36" fmla="*/ 1 w 280"/>
                    <a:gd name="T37" fmla="*/ 1 h 240"/>
                    <a:gd name="T38" fmla="*/ 1 w 280"/>
                    <a:gd name="T39" fmla="*/ 1 h 240"/>
                    <a:gd name="T40" fmla="*/ 1 w 280"/>
                    <a:gd name="T41" fmla="*/ 1 h 240"/>
                    <a:gd name="T42" fmla="*/ 1 w 280"/>
                    <a:gd name="T43" fmla="*/ 1 h 240"/>
                    <a:gd name="T44" fmla="*/ 1 w 280"/>
                    <a:gd name="T45" fmla="*/ 1 h 240"/>
                    <a:gd name="T46" fmla="*/ 1 w 280"/>
                    <a:gd name="T47" fmla="*/ 1 h 240"/>
                    <a:gd name="T48" fmla="*/ 1 w 280"/>
                    <a:gd name="T49" fmla="*/ 1 h 240"/>
                    <a:gd name="T50" fmla="*/ 1 w 280"/>
                    <a:gd name="T51" fmla="*/ 1 h 240"/>
                    <a:gd name="T52" fmla="*/ 1 w 280"/>
                    <a:gd name="T53" fmla="*/ 1 h 240"/>
                    <a:gd name="T54" fmla="*/ 1 w 280"/>
                    <a:gd name="T55" fmla="*/ 1 h 240"/>
                    <a:gd name="T56" fmla="*/ 1 w 280"/>
                    <a:gd name="T57" fmla="*/ 1 h 240"/>
                    <a:gd name="T58" fmla="*/ 1 w 280"/>
                    <a:gd name="T59" fmla="*/ 1 h 240"/>
                    <a:gd name="T60" fmla="*/ 1 w 280"/>
                    <a:gd name="T61" fmla="*/ 1 h 240"/>
                    <a:gd name="T62" fmla="*/ 1 w 280"/>
                    <a:gd name="T63" fmla="*/ 1 h 240"/>
                    <a:gd name="T64" fmla="*/ 1 w 280"/>
                    <a:gd name="T65" fmla="*/ 1 h 240"/>
                    <a:gd name="T66" fmla="*/ 1 w 280"/>
                    <a:gd name="T67" fmla="*/ 1 h 24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280"/>
                    <a:gd name="T103" fmla="*/ 0 h 240"/>
                    <a:gd name="T104" fmla="*/ 280 w 280"/>
                    <a:gd name="T105" fmla="*/ 240 h 240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280" h="240">
                      <a:moveTo>
                        <a:pt x="128" y="232"/>
                      </a:moveTo>
                      <a:lnTo>
                        <a:pt x="128" y="208"/>
                      </a:lnTo>
                      <a:lnTo>
                        <a:pt x="128" y="200"/>
                      </a:lnTo>
                      <a:lnTo>
                        <a:pt x="112" y="192"/>
                      </a:lnTo>
                      <a:lnTo>
                        <a:pt x="120" y="184"/>
                      </a:lnTo>
                      <a:lnTo>
                        <a:pt x="112" y="160"/>
                      </a:lnTo>
                      <a:lnTo>
                        <a:pt x="112" y="152"/>
                      </a:lnTo>
                      <a:lnTo>
                        <a:pt x="112" y="136"/>
                      </a:lnTo>
                      <a:lnTo>
                        <a:pt x="104" y="128"/>
                      </a:lnTo>
                      <a:lnTo>
                        <a:pt x="80" y="120"/>
                      </a:lnTo>
                      <a:lnTo>
                        <a:pt x="72" y="112"/>
                      </a:lnTo>
                      <a:lnTo>
                        <a:pt x="24" y="104"/>
                      </a:lnTo>
                      <a:lnTo>
                        <a:pt x="16" y="96"/>
                      </a:lnTo>
                      <a:lnTo>
                        <a:pt x="16" y="80"/>
                      </a:lnTo>
                      <a:lnTo>
                        <a:pt x="8" y="72"/>
                      </a:lnTo>
                      <a:lnTo>
                        <a:pt x="0" y="64"/>
                      </a:lnTo>
                      <a:lnTo>
                        <a:pt x="8" y="32"/>
                      </a:lnTo>
                      <a:lnTo>
                        <a:pt x="32" y="8"/>
                      </a:lnTo>
                      <a:lnTo>
                        <a:pt x="48" y="8"/>
                      </a:lnTo>
                      <a:lnTo>
                        <a:pt x="32" y="16"/>
                      </a:lnTo>
                      <a:lnTo>
                        <a:pt x="32" y="32"/>
                      </a:lnTo>
                      <a:lnTo>
                        <a:pt x="32" y="40"/>
                      </a:lnTo>
                      <a:lnTo>
                        <a:pt x="24" y="48"/>
                      </a:lnTo>
                      <a:lnTo>
                        <a:pt x="32" y="64"/>
                      </a:lnTo>
                      <a:lnTo>
                        <a:pt x="48" y="64"/>
                      </a:lnTo>
                      <a:lnTo>
                        <a:pt x="48" y="48"/>
                      </a:lnTo>
                      <a:lnTo>
                        <a:pt x="40" y="32"/>
                      </a:lnTo>
                      <a:lnTo>
                        <a:pt x="48" y="24"/>
                      </a:lnTo>
                      <a:lnTo>
                        <a:pt x="64" y="16"/>
                      </a:lnTo>
                      <a:lnTo>
                        <a:pt x="64" y="0"/>
                      </a:lnTo>
                      <a:lnTo>
                        <a:pt x="72" y="8"/>
                      </a:lnTo>
                      <a:lnTo>
                        <a:pt x="80" y="16"/>
                      </a:lnTo>
                      <a:lnTo>
                        <a:pt x="88" y="16"/>
                      </a:lnTo>
                      <a:lnTo>
                        <a:pt x="104" y="16"/>
                      </a:lnTo>
                      <a:lnTo>
                        <a:pt x="104" y="32"/>
                      </a:lnTo>
                      <a:lnTo>
                        <a:pt x="152" y="40"/>
                      </a:lnTo>
                      <a:lnTo>
                        <a:pt x="160" y="40"/>
                      </a:lnTo>
                      <a:lnTo>
                        <a:pt x="168" y="48"/>
                      </a:lnTo>
                      <a:lnTo>
                        <a:pt x="184" y="40"/>
                      </a:lnTo>
                      <a:lnTo>
                        <a:pt x="192" y="32"/>
                      </a:lnTo>
                      <a:lnTo>
                        <a:pt x="200" y="32"/>
                      </a:lnTo>
                      <a:lnTo>
                        <a:pt x="216" y="32"/>
                      </a:lnTo>
                      <a:lnTo>
                        <a:pt x="224" y="48"/>
                      </a:lnTo>
                      <a:lnTo>
                        <a:pt x="240" y="48"/>
                      </a:lnTo>
                      <a:lnTo>
                        <a:pt x="256" y="56"/>
                      </a:lnTo>
                      <a:lnTo>
                        <a:pt x="264" y="72"/>
                      </a:lnTo>
                      <a:lnTo>
                        <a:pt x="280" y="80"/>
                      </a:lnTo>
                      <a:lnTo>
                        <a:pt x="280" y="96"/>
                      </a:lnTo>
                      <a:lnTo>
                        <a:pt x="264" y="96"/>
                      </a:lnTo>
                      <a:lnTo>
                        <a:pt x="264" y="104"/>
                      </a:lnTo>
                      <a:lnTo>
                        <a:pt x="272" y="112"/>
                      </a:lnTo>
                      <a:lnTo>
                        <a:pt x="264" y="120"/>
                      </a:lnTo>
                      <a:lnTo>
                        <a:pt x="256" y="120"/>
                      </a:lnTo>
                      <a:lnTo>
                        <a:pt x="256" y="128"/>
                      </a:lnTo>
                      <a:lnTo>
                        <a:pt x="256" y="144"/>
                      </a:lnTo>
                      <a:lnTo>
                        <a:pt x="256" y="168"/>
                      </a:lnTo>
                      <a:lnTo>
                        <a:pt x="224" y="176"/>
                      </a:lnTo>
                      <a:lnTo>
                        <a:pt x="200" y="160"/>
                      </a:lnTo>
                      <a:lnTo>
                        <a:pt x="184" y="160"/>
                      </a:lnTo>
                      <a:lnTo>
                        <a:pt x="184" y="176"/>
                      </a:lnTo>
                      <a:lnTo>
                        <a:pt x="192" y="176"/>
                      </a:lnTo>
                      <a:lnTo>
                        <a:pt x="184" y="200"/>
                      </a:lnTo>
                      <a:lnTo>
                        <a:pt x="200" y="200"/>
                      </a:lnTo>
                      <a:lnTo>
                        <a:pt x="208" y="208"/>
                      </a:lnTo>
                      <a:lnTo>
                        <a:pt x="208" y="216"/>
                      </a:lnTo>
                      <a:lnTo>
                        <a:pt x="168" y="232"/>
                      </a:lnTo>
                      <a:lnTo>
                        <a:pt x="152" y="240"/>
                      </a:lnTo>
                      <a:lnTo>
                        <a:pt x="128" y="232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99" name="Freeform 23"/>
                <p:cNvSpPr>
                  <a:spLocks noChangeAspect="1"/>
                </p:cNvSpPr>
                <p:nvPr/>
              </p:nvSpPr>
              <p:spPr bwMode="auto">
                <a:xfrm>
                  <a:off x="1877" y="2774"/>
                  <a:ext cx="57" cy="101"/>
                </a:xfrm>
                <a:custGeom>
                  <a:avLst/>
                  <a:gdLst>
                    <a:gd name="T0" fmla="*/ 1 w 80"/>
                    <a:gd name="T1" fmla="*/ 0 h 144"/>
                    <a:gd name="T2" fmla="*/ 1 w 80"/>
                    <a:gd name="T3" fmla="*/ 1 h 144"/>
                    <a:gd name="T4" fmla="*/ 1 w 80"/>
                    <a:gd name="T5" fmla="*/ 1 h 144"/>
                    <a:gd name="T6" fmla="*/ 1 w 80"/>
                    <a:gd name="T7" fmla="*/ 1 h 144"/>
                    <a:gd name="T8" fmla="*/ 1 w 80"/>
                    <a:gd name="T9" fmla="*/ 1 h 144"/>
                    <a:gd name="T10" fmla="*/ 1 w 80"/>
                    <a:gd name="T11" fmla="*/ 1 h 144"/>
                    <a:gd name="T12" fmla="*/ 0 w 80"/>
                    <a:gd name="T13" fmla="*/ 1 h 144"/>
                    <a:gd name="T14" fmla="*/ 0 w 80"/>
                    <a:gd name="T15" fmla="*/ 1 h 144"/>
                    <a:gd name="T16" fmla="*/ 0 w 80"/>
                    <a:gd name="T17" fmla="*/ 1 h 144"/>
                    <a:gd name="T18" fmla="*/ 1 w 80"/>
                    <a:gd name="T19" fmla="*/ 1 h 144"/>
                    <a:gd name="T20" fmla="*/ 1 w 80"/>
                    <a:gd name="T21" fmla="*/ 1 h 144"/>
                    <a:gd name="T22" fmla="*/ 1 w 80"/>
                    <a:gd name="T23" fmla="*/ 1 h 144"/>
                    <a:gd name="T24" fmla="*/ 1 w 80"/>
                    <a:gd name="T25" fmla="*/ 1 h 144"/>
                    <a:gd name="T26" fmla="*/ 1 w 80"/>
                    <a:gd name="T27" fmla="*/ 1 h 144"/>
                    <a:gd name="T28" fmla="*/ 1 w 80"/>
                    <a:gd name="T29" fmla="*/ 1 h 144"/>
                    <a:gd name="T30" fmla="*/ 1 w 80"/>
                    <a:gd name="T31" fmla="*/ 1 h 144"/>
                    <a:gd name="T32" fmla="*/ 1 w 80"/>
                    <a:gd name="T33" fmla="*/ 1 h 144"/>
                    <a:gd name="T34" fmla="*/ 1 w 80"/>
                    <a:gd name="T35" fmla="*/ 1 h 144"/>
                    <a:gd name="T36" fmla="*/ 1 w 80"/>
                    <a:gd name="T37" fmla="*/ 1 h 144"/>
                    <a:gd name="T38" fmla="*/ 1 w 80"/>
                    <a:gd name="T39" fmla="*/ 1 h 144"/>
                    <a:gd name="T40" fmla="*/ 1 w 80"/>
                    <a:gd name="T41" fmla="*/ 1 h 144"/>
                    <a:gd name="T42" fmla="*/ 1 w 80"/>
                    <a:gd name="T43" fmla="*/ 1 h 144"/>
                    <a:gd name="T44" fmla="*/ 1 w 80"/>
                    <a:gd name="T45" fmla="*/ 1 h 144"/>
                    <a:gd name="T46" fmla="*/ 1 w 80"/>
                    <a:gd name="T47" fmla="*/ 1 h 144"/>
                    <a:gd name="T48" fmla="*/ 1 w 80"/>
                    <a:gd name="T49" fmla="*/ 1 h 144"/>
                    <a:gd name="T50" fmla="*/ 1 w 80"/>
                    <a:gd name="T51" fmla="*/ 1 h 144"/>
                    <a:gd name="T52" fmla="*/ 1 w 80"/>
                    <a:gd name="T53" fmla="*/ 1 h 144"/>
                    <a:gd name="T54" fmla="*/ 1 w 80"/>
                    <a:gd name="T55" fmla="*/ 1 h 144"/>
                    <a:gd name="T56" fmla="*/ 1 w 80"/>
                    <a:gd name="T57" fmla="*/ 1 h 144"/>
                    <a:gd name="T58" fmla="*/ 1 w 80"/>
                    <a:gd name="T59" fmla="*/ 1 h 144"/>
                    <a:gd name="T60" fmla="*/ 1 w 80"/>
                    <a:gd name="T61" fmla="*/ 0 h 144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80"/>
                    <a:gd name="T94" fmla="*/ 0 h 144"/>
                    <a:gd name="T95" fmla="*/ 80 w 80"/>
                    <a:gd name="T96" fmla="*/ 144 h 144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80" h="144">
                      <a:moveTo>
                        <a:pt x="24" y="0"/>
                      </a:moveTo>
                      <a:lnTo>
                        <a:pt x="24" y="16"/>
                      </a:lnTo>
                      <a:lnTo>
                        <a:pt x="8" y="16"/>
                      </a:lnTo>
                      <a:lnTo>
                        <a:pt x="8" y="24"/>
                      </a:lnTo>
                      <a:lnTo>
                        <a:pt x="16" y="32"/>
                      </a:lnTo>
                      <a:lnTo>
                        <a:pt x="8" y="40"/>
                      </a:lnTo>
                      <a:lnTo>
                        <a:pt x="0" y="40"/>
                      </a:lnTo>
                      <a:lnTo>
                        <a:pt x="0" y="48"/>
                      </a:lnTo>
                      <a:lnTo>
                        <a:pt x="0" y="64"/>
                      </a:lnTo>
                      <a:lnTo>
                        <a:pt x="8" y="64"/>
                      </a:lnTo>
                      <a:lnTo>
                        <a:pt x="24" y="80"/>
                      </a:lnTo>
                      <a:lnTo>
                        <a:pt x="24" y="96"/>
                      </a:lnTo>
                      <a:lnTo>
                        <a:pt x="24" y="112"/>
                      </a:lnTo>
                      <a:lnTo>
                        <a:pt x="24" y="136"/>
                      </a:lnTo>
                      <a:lnTo>
                        <a:pt x="32" y="144"/>
                      </a:lnTo>
                      <a:lnTo>
                        <a:pt x="48" y="144"/>
                      </a:lnTo>
                      <a:lnTo>
                        <a:pt x="64" y="144"/>
                      </a:lnTo>
                      <a:lnTo>
                        <a:pt x="64" y="136"/>
                      </a:lnTo>
                      <a:lnTo>
                        <a:pt x="80" y="136"/>
                      </a:lnTo>
                      <a:lnTo>
                        <a:pt x="80" y="128"/>
                      </a:lnTo>
                      <a:lnTo>
                        <a:pt x="80" y="112"/>
                      </a:lnTo>
                      <a:lnTo>
                        <a:pt x="64" y="104"/>
                      </a:lnTo>
                      <a:lnTo>
                        <a:pt x="64" y="80"/>
                      </a:lnTo>
                      <a:lnTo>
                        <a:pt x="72" y="72"/>
                      </a:lnTo>
                      <a:lnTo>
                        <a:pt x="80" y="56"/>
                      </a:lnTo>
                      <a:lnTo>
                        <a:pt x="72" y="40"/>
                      </a:lnTo>
                      <a:lnTo>
                        <a:pt x="72" y="32"/>
                      </a:lnTo>
                      <a:lnTo>
                        <a:pt x="56" y="32"/>
                      </a:lnTo>
                      <a:lnTo>
                        <a:pt x="48" y="16"/>
                      </a:lnTo>
                      <a:lnTo>
                        <a:pt x="40" y="8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400" name="Freeform 24"/>
                <p:cNvSpPr>
                  <a:spLocks noChangeAspect="1"/>
                </p:cNvSpPr>
                <p:nvPr/>
              </p:nvSpPr>
              <p:spPr bwMode="auto">
                <a:xfrm>
                  <a:off x="1692" y="2819"/>
                  <a:ext cx="562" cy="585"/>
                </a:xfrm>
                <a:custGeom>
                  <a:avLst/>
                  <a:gdLst>
                    <a:gd name="T0" fmla="*/ 1 w 800"/>
                    <a:gd name="T1" fmla="*/ 1 h 832"/>
                    <a:gd name="T2" fmla="*/ 1 w 800"/>
                    <a:gd name="T3" fmla="*/ 1 h 832"/>
                    <a:gd name="T4" fmla="*/ 1 w 800"/>
                    <a:gd name="T5" fmla="*/ 1 h 832"/>
                    <a:gd name="T6" fmla="*/ 1 w 800"/>
                    <a:gd name="T7" fmla="*/ 1 h 832"/>
                    <a:gd name="T8" fmla="*/ 1 w 800"/>
                    <a:gd name="T9" fmla="*/ 1 h 832"/>
                    <a:gd name="T10" fmla="*/ 1 w 800"/>
                    <a:gd name="T11" fmla="*/ 1 h 832"/>
                    <a:gd name="T12" fmla="*/ 1 w 800"/>
                    <a:gd name="T13" fmla="*/ 1 h 832"/>
                    <a:gd name="T14" fmla="*/ 1 w 800"/>
                    <a:gd name="T15" fmla="*/ 1 h 832"/>
                    <a:gd name="T16" fmla="*/ 1 w 800"/>
                    <a:gd name="T17" fmla="*/ 1 h 832"/>
                    <a:gd name="T18" fmla="*/ 1 w 800"/>
                    <a:gd name="T19" fmla="*/ 1 h 832"/>
                    <a:gd name="T20" fmla="*/ 1 w 800"/>
                    <a:gd name="T21" fmla="*/ 1 h 832"/>
                    <a:gd name="T22" fmla="*/ 1 w 800"/>
                    <a:gd name="T23" fmla="*/ 1 h 832"/>
                    <a:gd name="T24" fmla="*/ 1 w 800"/>
                    <a:gd name="T25" fmla="*/ 1 h 832"/>
                    <a:gd name="T26" fmla="*/ 1 w 800"/>
                    <a:gd name="T27" fmla="*/ 1 h 832"/>
                    <a:gd name="T28" fmla="*/ 1 w 800"/>
                    <a:gd name="T29" fmla="*/ 1 h 832"/>
                    <a:gd name="T30" fmla="*/ 1 w 800"/>
                    <a:gd name="T31" fmla="*/ 1 h 832"/>
                    <a:gd name="T32" fmla="*/ 1 w 800"/>
                    <a:gd name="T33" fmla="*/ 1 h 832"/>
                    <a:gd name="T34" fmla="*/ 1 w 800"/>
                    <a:gd name="T35" fmla="*/ 1 h 832"/>
                    <a:gd name="T36" fmla="*/ 1 w 800"/>
                    <a:gd name="T37" fmla="*/ 1 h 832"/>
                    <a:gd name="T38" fmla="*/ 1 w 800"/>
                    <a:gd name="T39" fmla="*/ 1 h 832"/>
                    <a:gd name="T40" fmla="*/ 1 w 800"/>
                    <a:gd name="T41" fmla="*/ 1 h 832"/>
                    <a:gd name="T42" fmla="*/ 1 w 800"/>
                    <a:gd name="T43" fmla="*/ 1 h 832"/>
                    <a:gd name="T44" fmla="*/ 1 w 800"/>
                    <a:gd name="T45" fmla="*/ 1 h 832"/>
                    <a:gd name="T46" fmla="*/ 1 w 800"/>
                    <a:gd name="T47" fmla="*/ 1 h 832"/>
                    <a:gd name="T48" fmla="*/ 1 w 800"/>
                    <a:gd name="T49" fmla="*/ 1 h 832"/>
                    <a:gd name="T50" fmla="*/ 1 w 800"/>
                    <a:gd name="T51" fmla="*/ 1 h 832"/>
                    <a:gd name="T52" fmla="*/ 1 w 800"/>
                    <a:gd name="T53" fmla="*/ 1 h 832"/>
                    <a:gd name="T54" fmla="*/ 1 w 800"/>
                    <a:gd name="T55" fmla="*/ 1 h 832"/>
                    <a:gd name="T56" fmla="*/ 1 w 800"/>
                    <a:gd name="T57" fmla="*/ 1 h 832"/>
                    <a:gd name="T58" fmla="*/ 1 w 800"/>
                    <a:gd name="T59" fmla="*/ 1 h 832"/>
                    <a:gd name="T60" fmla="*/ 1 w 800"/>
                    <a:gd name="T61" fmla="*/ 1 h 832"/>
                    <a:gd name="T62" fmla="*/ 1 w 800"/>
                    <a:gd name="T63" fmla="*/ 1 h 832"/>
                    <a:gd name="T64" fmla="*/ 1 w 800"/>
                    <a:gd name="T65" fmla="*/ 1 h 832"/>
                    <a:gd name="T66" fmla="*/ 1 w 800"/>
                    <a:gd name="T67" fmla="*/ 1 h 832"/>
                    <a:gd name="T68" fmla="*/ 1 w 800"/>
                    <a:gd name="T69" fmla="*/ 1 h 832"/>
                    <a:gd name="T70" fmla="*/ 1 w 800"/>
                    <a:gd name="T71" fmla="*/ 1 h 832"/>
                    <a:gd name="T72" fmla="*/ 1 w 800"/>
                    <a:gd name="T73" fmla="*/ 1 h 832"/>
                    <a:gd name="T74" fmla="*/ 1 w 800"/>
                    <a:gd name="T75" fmla="*/ 1 h 832"/>
                    <a:gd name="T76" fmla="*/ 1 w 800"/>
                    <a:gd name="T77" fmla="*/ 1 h 832"/>
                    <a:gd name="T78" fmla="*/ 1 w 800"/>
                    <a:gd name="T79" fmla="*/ 1 h 832"/>
                    <a:gd name="T80" fmla="*/ 1 w 800"/>
                    <a:gd name="T81" fmla="*/ 1 h 832"/>
                    <a:gd name="T82" fmla="*/ 1 w 800"/>
                    <a:gd name="T83" fmla="*/ 1 h 832"/>
                    <a:gd name="T84" fmla="*/ 1 w 800"/>
                    <a:gd name="T85" fmla="*/ 1 h 832"/>
                    <a:gd name="T86" fmla="*/ 1 w 800"/>
                    <a:gd name="T87" fmla="*/ 1 h 832"/>
                    <a:gd name="T88" fmla="*/ 1 w 800"/>
                    <a:gd name="T89" fmla="*/ 1 h 832"/>
                    <a:gd name="T90" fmla="*/ 1 w 800"/>
                    <a:gd name="T91" fmla="*/ 1 h 832"/>
                    <a:gd name="T92" fmla="*/ 1 w 800"/>
                    <a:gd name="T93" fmla="*/ 1 h 832"/>
                    <a:gd name="T94" fmla="*/ 1 w 800"/>
                    <a:gd name="T95" fmla="*/ 1 h 832"/>
                    <a:gd name="T96" fmla="*/ 1 w 800"/>
                    <a:gd name="T97" fmla="*/ 1 h 832"/>
                    <a:gd name="T98" fmla="*/ 1 w 800"/>
                    <a:gd name="T99" fmla="*/ 1 h 832"/>
                    <a:gd name="T100" fmla="*/ 1 w 800"/>
                    <a:gd name="T101" fmla="*/ 1 h 832"/>
                    <a:gd name="T102" fmla="*/ 1 w 800"/>
                    <a:gd name="T103" fmla="*/ 1 h 832"/>
                    <a:gd name="T104" fmla="*/ 1 w 800"/>
                    <a:gd name="T105" fmla="*/ 1 h 832"/>
                    <a:gd name="T106" fmla="*/ 1 w 800"/>
                    <a:gd name="T107" fmla="*/ 1 h 832"/>
                    <a:gd name="T108" fmla="*/ 1 w 800"/>
                    <a:gd name="T109" fmla="*/ 1 h 832"/>
                    <a:gd name="T110" fmla="*/ 1 w 800"/>
                    <a:gd name="T111" fmla="*/ 1 h 832"/>
                    <a:gd name="T112" fmla="*/ 1 w 800"/>
                    <a:gd name="T113" fmla="*/ 1 h 832"/>
                    <a:gd name="T114" fmla="*/ 1 w 800"/>
                    <a:gd name="T115" fmla="*/ 1 h 832"/>
                    <a:gd name="T116" fmla="*/ 1 w 800"/>
                    <a:gd name="T117" fmla="*/ 1 h 832"/>
                    <a:gd name="T118" fmla="*/ 1 w 800"/>
                    <a:gd name="T119" fmla="*/ 1 h 832"/>
                    <a:gd name="T120" fmla="*/ 1 w 800"/>
                    <a:gd name="T121" fmla="*/ 1 h 832"/>
                    <a:gd name="T122" fmla="*/ 1 w 800"/>
                    <a:gd name="T123" fmla="*/ 1 h 832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800"/>
                    <a:gd name="T187" fmla="*/ 0 h 832"/>
                    <a:gd name="T188" fmla="*/ 800 w 800"/>
                    <a:gd name="T189" fmla="*/ 832 h 832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800" h="832">
                      <a:moveTo>
                        <a:pt x="264" y="0"/>
                      </a:moveTo>
                      <a:lnTo>
                        <a:pt x="272" y="0"/>
                      </a:lnTo>
                      <a:lnTo>
                        <a:pt x="288" y="16"/>
                      </a:lnTo>
                      <a:lnTo>
                        <a:pt x="288" y="32"/>
                      </a:lnTo>
                      <a:lnTo>
                        <a:pt x="288" y="48"/>
                      </a:lnTo>
                      <a:lnTo>
                        <a:pt x="288" y="72"/>
                      </a:lnTo>
                      <a:lnTo>
                        <a:pt x="296" y="80"/>
                      </a:lnTo>
                      <a:lnTo>
                        <a:pt x="312" y="80"/>
                      </a:lnTo>
                      <a:lnTo>
                        <a:pt x="328" y="80"/>
                      </a:lnTo>
                      <a:lnTo>
                        <a:pt x="328" y="72"/>
                      </a:lnTo>
                      <a:lnTo>
                        <a:pt x="344" y="72"/>
                      </a:lnTo>
                      <a:lnTo>
                        <a:pt x="344" y="64"/>
                      </a:lnTo>
                      <a:lnTo>
                        <a:pt x="360" y="64"/>
                      </a:lnTo>
                      <a:lnTo>
                        <a:pt x="368" y="56"/>
                      </a:lnTo>
                      <a:lnTo>
                        <a:pt x="376" y="56"/>
                      </a:lnTo>
                      <a:lnTo>
                        <a:pt x="376" y="64"/>
                      </a:lnTo>
                      <a:lnTo>
                        <a:pt x="400" y="64"/>
                      </a:lnTo>
                      <a:lnTo>
                        <a:pt x="408" y="64"/>
                      </a:lnTo>
                      <a:lnTo>
                        <a:pt x="432" y="64"/>
                      </a:lnTo>
                      <a:lnTo>
                        <a:pt x="440" y="56"/>
                      </a:lnTo>
                      <a:lnTo>
                        <a:pt x="448" y="32"/>
                      </a:lnTo>
                      <a:lnTo>
                        <a:pt x="456" y="16"/>
                      </a:lnTo>
                      <a:lnTo>
                        <a:pt x="464" y="24"/>
                      </a:lnTo>
                      <a:lnTo>
                        <a:pt x="464" y="40"/>
                      </a:lnTo>
                      <a:lnTo>
                        <a:pt x="472" y="56"/>
                      </a:lnTo>
                      <a:lnTo>
                        <a:pt x="488" y="64"/>
                      </a:lnTo>
                      <a:lnTo>
                        <a:pt x="496" y="72"/>
                      </a:lnTo>
                      <a:lnTo>
                        <a:pt x="496" y="88"/>
                      </a:lnTo>
                      <a:lnTo>
                        <a:pt x="480" y="96"/>
                      </a:lnTo>
                      <a:lnTo>
                        <a:pt x="480" y="104"/>
                      </a:lnTo>
                      <a:lnTo>
                        <a:pt x="496" y="104"/>
                      </a:lnTo>
                      <a:lnTo>
                        <a:pt x="504" y="112"/>
                      </a:lnTo>
                      <a:lnTo>
                        <a:pt x="512" y="112"/>
                      </a:lnTo>
                      <a:lnTo>
                        <a:pt x="520" y="120"/>
                      </a:lnTo>
                      <a:lnTo>
                        <a:pt x="512" y="128"/>
                      </a:lnTo>
                      <a:lnTo>
                        <a:pt x="496" y="136"/>
                      </a:lnTo>
                      <a:lnTo>
                        <a:pt x="496" y="144"/>
                      </a:lnTo>
                      <a:lnTo>
                        <a:pt x="504" y="144"/>
                      </a:lnTo>
                      <a:lnTo>
                        <a:pt x="528" y="128"/>
                      </a:lnTo>
                      <a:lnTo>
                        <a:pt x="528" y="120"/>
                      </a:lnTo>
                      <a:lnTo>
                        <a:pt x="552" y="120"/>
                      </a:lnTo>
                      <a:lnTo>
                        <a:pt x="576" y="136"/>
                      </a:lnTo>
                      <a:lnTo>
                        <a:pt x="592" y="136"/>
                      </a:lnTo>
                      <a:lnTo>
                        <a:pt x="600" y="144"/>
                      </a:lnTo>
                      <a:lnTo>
                        <a:pt x="592" y="160"/>
                      </a:lnTo>
                      <a:lnTo>
                        <a:pt x="600" y="168"/>
                      </a:lnTo>
                      <a:lnTo>
                        <a:pt x="608" y="160"/>
                      </a:lnTo>
                      <a:lnTo>
                        <a:pt x="624" y="160"/>
                      </a:lnTo>
                      <a:lnTo>
                        <a:pt x="656" y="168"/>
                      </a:lnTo>
                      <a:lnTo>
                        <a:pt x="680" y="160"/>
                      </a:lnTo>
                      <a:lnTo>
                        <a:pt x="696" y="176"/>
                      </a:lnTo>
                      <a:lnTo>
                        <a:pt x="720" y="184"/>
                      </a:lnTo>
                      <a:lnTo>
                        <a:pt x="752" y="200"/>
                      </a:lnTo>
                      <a:lnTo>
                        <a:pt x="800" y="216"/>
                      </a:lnTo>
                      <a:lnTo>
                        <a:pt x="800" y="232"/>
                      </a:lnTo>
                      <a:lnTo>
                        <a:pt x="800" y="288"/>
                      </a:lnTo>
                      <a:lnTo>
                        <a:pt x="792" y="304"/>
                      </a:lnTo>
                      <a:lnTo>
                        <a:pt x="784" y="312"/>
                      </a:lnTo>
                      <a:lnTo>
                        <a:pt x="776" y="320"/>
                      </a:lnTo>
                      <a:lnTo>
                        <a:pt x="760" y="328"/>
                      </a:lnTo>
                      <a:lnTo>
                        <a:pt x="752" y="352"/>
                      </a:lnTo>
                      <a:lnTo>
                        <a:pt x="744" y="360"/>
                      </a:lnTo>
                      <a:lnTo>
                        <a:pt x="720" y="376"/>
                      </a:lnTo>
                      <a:lnTo>
                        <a:pt x="720" y="384"/>
                      </a:lnTo>
                      <a:lnTo>
                        <a:pt x="712" y="416"/>
                      </a:lnTo>
                      <a:lnTo>
                        <a:pt x="720" y="432"/>
                      </a:lnTo>
                      <a:lnTo>
                        <a:pt x="712" y="448"/>
                      </a:lnTo>
                      <a:lnTo>
                        <a:pt x="720" y="472"/>
                      </a:lnTo>
                      <a:lnTo>
                        <a:pt x="704" y="480"/>
                      </a:lnTo>
                      <a:lnTo>
                        <a:pt x="696" y="504"/>
                      </a:lnTo>
                      <a:lnTo>
                        <a:pt x="696" y="512"/>
                      </a:lnTo>
                      <a:lnTo>
                        <a:pt x="688" y="520"/>
                      </a:lnTo>
                      <a:lnTo>
                        <a:pt x="688" y="536"/>
                      </a:lnTo>
                      <a:lnTo>
                        <a:pt x="680" y="552"/>
                      </a:lnTo>
                      <a:lnTo>
                        <a:pt x="672" y="576"/>
                      </a:lnTo>
                      <a:lnTo>
                        <a:pt x="664" y="576"/>
                      </a:lnTo>
                      <a:lnTo>
                        <a:pt x="656" y="592"/>
                      </a:lnTo>
                      <a:lnTo>
                        <a:pt x="648" y="592"/>
                      </a:lnTo>
                      <a:lnTo>
                        <a:pt x="632" y="592"/>
                      </a:lnTo>
                      <a:lnTo>
                        <a:pt x="624" y="592"/>
                      </a:lnTo>
                      <a:lnTo>
                        <a:pt x="616" y="600"/>
                      </a:lnTo>
                      <a:lnTo>
                        <a:pt x="600" y="600"/>
                      </a:lnTo>
                      <a:lnTo>
                        <a:pt x="592" y="608"/>
                      </a:lnTo>
                      <a:lnTo>
                        <a:pt x="584" y="616"/>
                      </a:lnTo>
                      <a:lnTo>
                        <a:pt x="568" y="608"/>
                      </a:lnTo>
                      <a:lnTo>
                        <a:pt x="552" y="624"/>
                      </a:lnTo>
                      <a:lnTo>
                        <a:pt x="552" y="632"/>
                      </a:lnTo>
                      <a:lnTo>
                        <a:pt x="544" y="632"/>
                      </a:lnTo>
                      <a:lnTo>
                        <a:pt x="536" y="640"/>
                      </a:lnTo>
                      <a:lnTo>
                        <a:pt x="520" y="648"/>
                      </a:lnTo>
                      <a:lnTo>
                        <a:pt x="520" y="672"/>
                      </a:lnTo>
                      <a:lnTo>
                        <a:pt x="520" y="688"/>
                      </a:lnTo>
                      <a:lnTo>
                        <a:pt x="520" y="704"/>
                      </a:lnTo>
                      <a:lnTo>
                        <a:pt x="504" y="728"/>
                      </a:lnTo>
                      <a:lnTo>
                        <a:pt x="496" y="728"/>
                      </a:lnTo>
                      <a:lnTo>
                        <a:pt x="488" y="736"/>
                      </a:lnTo>
                      <a:lnTo>
                        <a:pt x="488" y="752"/>
                      </a:lnTo>
                      <a:lnTo>
                        <a:pt x="472" y="784"/>
                      </a:lnTo>
                      <a:lnTo>
                        <a:pt x="456" y="800"/>
                      </a:lnTo>
                      <a:lnTo>
                        <a:pt x="456" y="792"/>
                      </a:lnTo>
                      <a:lnTo>
                        <a:pt x="464" y="776"/>
                      </a:lnTo>
                      <a:lnTo>
                        <a:pt x="464" y="768"/>
                      </a:lnTo>
                      <a:lnTo>
                        <a:pt x="472" y="760"/>
                      </a:lnTo>
                      <a:lnTo>
                        <a:pt x="472" y="752"/>
                      </a:lnTo>
                      <a:lnTo>
                        <a:pt x="456" y="768"/>
                      </a:lnTo>
                      <a:lnTo>
                        <a:pt x="448" y="776"/>
                      </a:lnTo>
                      <a:lnTo>
                        <a:pt x="440" y="792"/>
                      </a:lnTo>
                      <a:lnTo>
                        <a:pt x="448" y="800"/>
                      </a:lnTo>
                      <a:lnTo>
                        <a:pt x="448" y="808"/>
                      </a:lnTo>
                      <a:lnTo>
                        <a:pt x="424" y="832"/>
                      </a:lnTo>
                      <a:lnTo>
                        <a:pt x="424" y="816"/>
                      </a:lnTo>
                      <a:lnTo>
                        <a:pt x="408" y="808"/>
                      </a:lnTo>
                      <a:lnTo>
                        <a:pt x="400" y="800"/>
                      </a:lnTo>
                      <a:lnTo>
                        <a:pt x="392" y="792"/>
                      </a:lnTo>
                      <a:lnTo>
                        <a:pt x="384" y="776"/>
                      </a:lnTo>
                      <a:lnTo>
                        <a:pt x="376" y="776"/>
                      </a:lnTo>
                      <a:lnTo>
                        <a:pt x="352" y="768"/>
                      </a:lnTo>
                      <a:lnTo>
                        <a:pt x="344" y="760"/>
                      </a:lnTo>
                      <a:lnTo>
                        <a:pt x="336" y="752"/>
                      </a:lnTo>
                      <a:lnTo>
                        <a:pt x="352" y="736"/>
                      </a:lnTo>
                      <a:lnTo>
                        <a:pt x="368" y="712"/>
                      </a:lnTo>
                      <a:lnTo>
                        <a:pt x="384" y="704"/>
                      </a:lnTo>
                      <a:lnTo>
                        <a:pt x="408" y="680"/>
                      </a:lnTo>
                      <a:lnTo>
                        <a:pt x="408" y="672"/>
                      </a:lnTo>
                      <a:lnTo>
                        <a:pt x="400" y="656"/>
                      </a:lnTo>
                      <a:lnTo>
                        <a:pt x="392" y="648"/>
                      </a:lnTo>
                      <a:lnTo>
                        <a:pt x="392" y="640"/>
                      </a:lnTo>
                      <a:lnTo>
                        <a:pt x="400" y="632"/>
                      </a:lnTo>
                      <a:lnTo>
                        <a:pt x="400" y="608"/>
                      </a:lnTo>
                      <a:lnTo>
                        <a:pt x="384" y="608"/>
                      </a:lnTo>
                      <a:lnTo>
                        <a:pt x="376" y="608"/>
                      </a:lnTo>
                      <a:lnTo>
                        <a:pt x="376" y="592"/>
                      </a:lnTo>
                      <a:lnTo>
                        <a:pt x="344" y="576"/>
                      </a:lnTo>
                      <a:lnTo>
                        <a:pt x="328" y="568"/>
                      </a:lnTo>
                      <a:lnTo>
                        <a:pt x="328" y="520"/>
                      </a:lnTo>
                      <a:lnTo>
                        <a:pt x="328" y="496"/>
                      </a:lnTo>
                      <a:lnTo>
                        <a:pt x="320" y="480"/>
                      </a:lnTo>
                      <a:lnTo>
                        <a:pt x="320" y="464"/>
                      </a:lnTo>
                      <a:lnTo>
                        <a:pt x="312" y="464"/>
                      </a:lnTo>
                      <a:lnTo>
                        <a:pt x="312" y="448"/>
                      </a:lnTo>
                      <a:lnTo>
                        <a:pt x="264" y="440"/>
                      </a:lnTo>
                      <a:lnTo>
                        <a:pt x="264" y="392"/>
                      </a:lnTo>
                      <a:lnTo>
                        <a:pt x="248" y="384"/>
                      </a:lnTo>
                      <a:lnTo>
                        <a:pt x="200" y="360"/>
                      </a:lnTo>
                      <a:lnTo>
                        <a:pt x="184" y="360"/>
                      </a:lnTo>
                      <a:lnTo>
                        <a:pt x="176" y="352"/>
                      </a:lnTo>
                      <a:lnTo>
                        <a:pt x="176" y="320"/>
                      </a:lnTo>
                      <a:lnTo>
                        <a:pt x="160" y="304"/>
                      </a:lnTo>
                      <a:lnTo>
                        <a:pt x="136" y="312"/>
                      </a:lnTo>
                      <a:lnTo>
                        <a:pt x="128" y="336"/>
                      </a:lnTo>
                      <a:lnTo>
                        <a:pt x="88" y="336"/>
                      </a:lnTo>
                      <a:lnTo>
                        <a:pt x="72" y="336"/>
                      </a:lnTo>
                      <a:lnTo>
                        <a:pt x="64" y="312"/>
                      </a:lnTo>
                      <a:lnTo>
                        <a:pt x="64" y="304"/>
                      </a:lnTo>
                      <a:lnTo>
                        <a:pt x="24" y="304"/>
                      </a:lnTo>
                      <a:lnTo>
                        <a:pt x="8" y="296"/>
                      </a:lnTo>
                      <a:lnTo>
                        <a:pt x="8" y="280"/>
                      </a:lnTo>
                      <a:lnTo>
                        <a:pt x="0" y="256"/>
                      </a:lnTo>
                      <a:lnTo>
                        <a:pt x="8" y="240"/>
                      </a:lnTo>
                      <a:lnTo>
                        <a:pt x="8" y="224"/>
                      </a:lnTo>
                      <a:lnTo>
                        <a:pt x="40" y="208"/>
                      </a:lnTo>
                      <a:lnTo>
                        <a:pt x="64" y="200"/>
                      </a:lnTo>
                      <a:lnTo>
                        <a:pt x="80" y="192"/>
                      </a:lnTo>
                      <a:lnTo>
                        <a:pt x="80" y="184"/>
                      </a:lnTo>
                      <a:lnTo>
                        <a:pt x="88" y="128"/>
                      </a:lnTo>
                      <a:lnTo>
                        <a:pt x="80" y="120"/>
                      </a:lnTo>
                      <a:lnTo>
                        <a:pt x="80" y="104"/>
                      </a:lnTo>
                      <a:lnTo>
                        <a:pt x="88" y="104"/>
                      </a:lnTo>
                      <a:lnTo>
                        <a:pt x="96" y="96"/>
                      </a:lnTo>
                      <a:lnTo>
                        <a:pt x="80" y="80"/>
                      </a:lnTo>
                      <a:lnTo>
                        <a:pt x="80" y="72"/>
                      </a:lnTo>
                      <a:lnTo>
                        <a:pt x="112" y="72"/>
                      </a:lnTo>
                      <a:lnTo>
                        <a:pt x="128" y="80"/>
                      </a:lnTo>
                      <a:lnTo>
                        <a:pt x="136" y="88"/>
                      </a:lnTo>
                      <a:lnTo>
                        <a:pt x="160" y="96"/>
                      </a:lnTo>
                      <a:lnTo>
                        <a:pt x="176" y="88"/>
                      </a:lnTo>
                      <a:lnTo>
                        <a:pt x="216" y="72"/>
                      </a:lnTo>
                      <a:lnTo>
                        <a:pt x="216" y="64"/>
                      </a:lnTo>
                      <a:lnTo>
                        <a:pt x="208" y="56"/>
                      </a:lnTo>
                      <a:lnTo>
                        <a:pt x="192" y="56"/>
                      </a:lnTo>
                      <a:lnTo>
                        <a:pt x="200" y="32"/>
                      </a:lnTo>
                      <a:lnTo>
                        <a:pt x="192" y="32"/>
                      </a:lnTo>
                      <a:lnTo>
                        <a:pt x="192" y="16"/>
                      </a:lnTo>
                      <a:lnTo>
                        <a:pt x="208" y="16"/>
                      </a:lnTo>
                      <a:lnTo>
                        <a:pt x="232" y="32"/>
                      </a:lnTo>
                      <a:lnTo>
                        <a:pt x="264" y="24"/>
                      </a:lnTo>
                      <a:lnTo>
                        <a:pt x="264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401" name="Freeform 25"/>
                <p:cNvSpPr>
                  <a:spLocks noChangeAspect="1"/>
                </p:cNvSpPr>
                <p:nvPr/>
              </p:nvSpPr>
              <p:spPr bwMode="auto">
                <a:xfrm>
                  <a:off x="1692" y="3218"/>
                  <a:ext cx="287" cy="535"/>
                </a:xfrm>
                <a:custGeom>
                  <a:avLst/>
                  <a:gdLst>
                    <a:gd name="T0" fmla="*/ 1 w 408"/>
                    <a:gd name="T1" fmla="*/ 1 h 760"/>
                    <a:gd name="T2" fmla="*/ 1 w 408"/>
                    <a:gd name="T3" fmla="*/ 1 h 760"/>
                    <a:gd name="T4" fmla="*/ 1 w 408"/>
                    <a:gd name="T5" fmla="*/ 1 h 760"/>
                    <a:gd name="T6" fmla="*/ 1 w 408"/>
                    <a:gd name="T7" fmla="*/ 1 h 760"/>
                    <a:gd name="T8" fmla="*/ 1 w 408"/>
                    <a:gd name="T9" fmla="*/ 1 h 760"/>
                    <a:gd name="T10" fmla="*/ 1 w 408"/>
                    <a:gd name="T11" fmla="*/ 1 h 760"/>
                    <a:gd name="T12" fmla="*/ 1 w 408"/>
                    <a:gd name="T13" fmla="*/ 1 h 760"/>
                    <a:gd name="T14" fmla="*/ 1 w 408"/>
                    <a:gd name="T15" fmla="*/ 1 h 760"/>
                    <a:gd name="T16" fmla="*/ 1 w 408"/>
                    <a:gd name="T17" fmla="*/ 1 h 760"/>
                    <a:gd name="T18" fmla="*/ 1 w 408"/>
                    <a:gd name="T19" fmla="*/ 1 h 760"/>
                    <a:gd name="T20" fmla="*/ 1 w 408"/>
                    <a:gd name="T21" fmla="*/ 1 h 760"/>
                    <a:gd name="T22" fmla="*/ 1 w 408"/>
                    <a:gd name="T23" fmla="*/ 1 h 760"/>
                    <a:gd name="T24" fmla="*/ 1 w 408"/>
                    <a:gd name="T25" fmla="*/ 1 h 760"/>
                    <a:gd name="T26" fmla="*/ 1 w 408"/>
                    <a:gd name="T27" fmla="*/ 1 h 760"/>
                    <a:gd name="T28" fmla="*/ 1 w 408"/>
                    <a:gd name="T29" fmla="*/ 1 h 760"/>
                    <a:gd name="T30" fmla="*/ 1 w 408"/>
                    <a:gd name="T31" fmla="*/ 1 h 760"/>
                    <a:gd name="T32" fmla="*/ 1 w 408"/>
                    <a:gd name="T33" fmla="*/ 1 h 760"/>
                    <a:gd name="T34" fmla="*/ 1 w 408"/>
                    <a:gd name="T35" fmla="*/ 1 h 760"/>
                    <a:gd name="T36" fmla="*/ 1 w 408"/>
                    <a:gd name="T37" fmla="*/ 1 h 760"/>
                    <a:gd name="T38" fmla="*/ 1 w 408"/>
                    <a:gd name="T39" fmla="*/ 1 h 760"/>
                    <a:gd name="T40" fmla="*/ 1 w 408"/>
                    <a:gd name="T41" fmla="*/ 1 h 760"/>
                    <a:gd name="T42" fmla="*/ 1 w 408"/>
                    <a:gd name="T43" fmla="*/ 1 h 760"/>
                    <a:gd name="T44" fmla="*/ 1 w 408"/>
                    <a:gd name="T45" fmla="*/ 1 h 760"/>
                    <a:gd name="T46" fmla="*/ 1 w 408"/>
                    <a:gd name="T47" fmla="*/ 1 h 760"/>
                    <a:gd name="T48" fmla="*/ 1 w 408"/>
                    <a:gd name="T49" fmla="*/ 1 h 760"/>
                    <a:gd name="T50" fmla="*/ 1 w 408"/>
                    <a:gd name="T51" fmla="*/ 1 h 760"/>
                    <a:gd name="T52" fmla="*/ 1 w 408"/>
                    <a:gd name="T53" fmla="*/ 1 h 760"/>
                    <a:gd name="T54" fmla="*/ 1 w 408"/>
                    <a:gd name="T55" fmla="*/ 1 h 760"/>
                    <a:gd name="T56" fmla="*/ 1 w 408"/>
                    <a:gd name="T57" fmla="*/ 1 h 760"/>
                    <a:gd name="T58" fmla="*/ 1 w 408"/>
                    <a:gd name="T59" fmla="*/ 1 h 760"/>
                    <a:gd name="T60" fmla="*/ 1 w 408"/>
                    <a:gd name="T61" fmla="*/ 1 h 760"/>
                    <a:gd name="T62" fmla="*/ 1 w 408"/>
                    <a:gd name="T63" fmla="*/ 0 h 760"/>
                    <a:gd name="T64" fmla="*/ 1 w 408"/>
                    <a:gd name="T65" fmla="*/ 1 h 760"/>
                    <a:gd name="T66" fmla="*/ 1 w 408"/>
                    <a:gd name="T67" fmla="*/ 1 h 760"/>
                    <a:gd name="T68" fmla="*/ 1 w 408"/>
                    <a:gd name="T69" fmla="*/ 1 h 760"/>
                    <a:gd name="T70" fmla="*/ 1 w 408"/>
                    <a:gd name="T71" fmla="*/ 1 h 760"/>
                    <a:gd name="T72" fmla="*/ 1 w 408"/>
                    <a:gd name="T73" fmla="*/ 1 h 760"/>
                    <a:gd name="T74" fmla="*/ 1 w 408"/>
                    <a:gd name="T75" fmla="*/ 1 h 760"/>
                    <a:gd name="T76" fmla="*/ 1 w 408"/>
                    <a:gd name="T77" fmla="*/ 1 h 760"/>
                    <a:gd name="T78" fmla="*/ 1 w 408"/>
                    <a:gd name="T79" fmla="*/ 1 h 760"/>
                    <a:gd name="T80" fmla="*/ 1 w 408"/>
                    <a:gd name="T81" fmla="*/ 1 h 760"/>
                    <a:gd name="T82" fmla="*/ 1 w 408"/>
                    <a:gd name="T83" fmla="*/ 1 h 760"/>
                    <a:gd name="T84" fmla="*/ 0 w 408"/>
                    <a:gd name="T85" fmla="*/ 1 h 760"/>
                    <a:gd name="T86" fmla="*/ 1 w 408"/>
                    <a:gd name="T87" fmla="*/ 1 h 760"/>
                    <a:gd name="T88" fmla="*/ 1 w 408"/>
                    <a:gd name="T89" fmla="*/ 1 h 760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408"/>
                    <a:gd name="T136" fmla="*/ 0 h 760"/>
                    <a:gd name="T137" fmla="*/ 408 w 408"/>
                    <a:gd name="T138" fmla="*/ 760 h 760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408" h="760">
                      <a:moveTo>
                        <a:pt x="88" y="760"/>
                      </a:moveTo>
                      <a:lnTo>
                        <a:pt x="104" y="760"/>
                      </a:lnTo>
                      <a:lnTo>
                        <a:pt x="104" y="752"/>
                      </a:lnTo>
                      <a:lnTo>
                        <a:pt x="96" y="744"/>
                      </a:lnTo>
                      <a:lnTo>
                        <a:pt x="88" y="736"/>
                      </a:lnTo>
                      <a:lnTo>
                        <a:pt x="96" y="720"/>
                      </a:lnTo>
                      <a:lnTo>
                        <a:pt x="96" y="712"/>
                      </a:lnTo>
                      <a:lnTo>
                        <a:pt x="104" y="704"/>
                      </a:lnTo>
                      <a:lnTo>
                        <a:pt x="104" y="696"/>
                      </a:lnTo>
                      <a:lnTo>
                        <a:pt x="112" y="696"/>
                      </a:lnTo>
                      <a:lnTo>
                        <a:pt x="120" y="688"/>
                      </a:lnTo>
                      <a:lnTo>
                        <a:pt x="120" y="680"/>
                      </a:lnTo>
                      <a:lnTo>
                        <a:pt x="120" y="672"/>
                      </a:lnTo>
                      <a:lnTo>
                        <a:pt x="128" y="664"/>
                      </a:lnTo>
                      <a:lnTo>
                        <a:pt x="136" y="656"/>
                      </a:lnTo>
                      <a:lnTo>
                        <a:pt x="144" y="656"/>
                      </a:lnTo>
                      <a:lnTo>
                        <a:pt x="152" y="648"/>
                      </a:lnTo>
                      <a:lnTo>
                        <a:pt x="160" y="640"/>
                      </a:lnTo>
                      <a:lnTo>
                        <a:pt x="160" y="616"/>
                      </a:lnTo>
                      <a:lnTo>
                        <a:pt x="144" y="616"/>
                      </a:lnTo>
                      <a:lnTo>
                        <a:pt x="136" y="616"/>
                      </a:lnTo>
                      <a:lnTo>
                        <a:pt x="120" y="592"/>
                      </a:lnTo>
                      <a:lnTo>
                        <a:pt x="128" y="584"/>
                      </a:lnTo>
                      <a:lnTo>
                        <a:pt x="128" y="576"/>
                      </a:lnTo>
                      <a:lnTo>
                        <a:pt x="136" y="576"/>
                      </a:lnTo>
                      <a:lnTo>
                        <a:pt x="144" y="568"/>
                      </a:lnTo>
                      <a:lnTo>
                        <a:pt x="160" y="568"/>
                      </a:lnTo>
                      <a:lnTo>
                        <a:pt x="168" y="568"/>
                      </a:lnTo>
                      <a:lnTo>
                        <a:pt x="168" y="552"/>
                      </a:lnTo>
                      <a:lnTo>
                        <a:pt x="176" y="544"/>
                      </a:lnTo>
                      <a:lnTo>
                        <a:pt x="168" y="528"/>
                      </a:lnTo>
                      <a:lnTo>
                        <a:pt x="192" y="512"/>
                      </a:lnTo>
                      <a:lnTo>
                        <a:pt x="184" y="512"/>
                      </a:lnTo>
                      <a:lnTo>
                        <a:pt x="184" y="504"/>
                      </a:lnTo>
                      <a:lnTo>
                        <a:pt x="192" y="504"/>
                      </a:lnTo>
                      <a:lnTo>
                        <a:pt x="200" y="504"/>
                      </a:lnTo>
                      <a:lnTo>
                        <a:pt x="200" y="488"/>
                      </a:lnTo>
                      <a:lnTo>
                        <a:pt x="192" y="488"/>
                      </a:lnTo>
                      <a:lnTo>
                        <a:pt x="184" y="496"/>
                      </a:lnTo>
                      <a:lnTo>
                        <a:pt x="176" y="488"/>
                      </a:lnTo>
                      <a:lnTo>
                        <a:pt x="176" y="456"/>
                      </a:lnTo>
                      <a:lnTo>
                        <a:pt x="184" y="448"/>
                      </a:lnTo>
                      <a:lnTo>
                        <a:pt x="208" y="464"/>
                      </a:lnTo>
                      <a:lnTo>
                        <a:pt x="224" y="456"/>
                      </a:lnTo>
                      <a:lnTo>
                        <a:pt x="232" y="456"/>
                      </a:lnTo>
                      <a:lnTo>
                        <a:pt x="232" y="424"/>
                      </a:lnTo>
                      <a:lnTo>
                        <a:pt x="240" y="416"/>
                      </a:lnTo>
                      <a:lnTo>
                        <a:pt x="248" y="400"/>
                      </a:lnTo>
                      <a:lnTo>
                        <a:pt x="272" y="400"/>
                      </a:lnTo>
                      <a:lnTo>
                        <a:pt x="288" y="392"/>
                      </a:lnTo>
                      <a:lnTo>
                        <a:pt x="304" y="392"/>
                      </a:lnTo>
                      <a:lnTo>
                        <a:pt x="320" y="384"/>
                      </a:lnTo>
                      <a:lnTo>
                        <a:pt x="328" y="384"/>
                      </a:lnTo>
                      <a:lnTo>
                        <a:pt x="344" y="360"/>
                      </a:lnTo>
                      <a:lnTo>
                        <a:pt x="352" y="344"/>
                      </a:lnTo>
                      <a:lnTo>
                        <a:pt x="336" y="336"/>
                      </a:lnTo>
                      <a:lnTo>
                        <a:pt x="336" y="328"/>
                      </a:lnTo>
                      <a:lnTo>
                        <a:pt x="344" y="312"/>
                      </a:lnTo>
                      <a:lnTo>
                        <a:pt x="336" y="296"/>
                      </a:lnTo>
                      <a:lnTo>
                        <a:pt x="328" y="296"/>
                      </a:lnTo>
                      <a:lnTo>
                        <a:pt x="320" y="288"/>
                      </a:lnTo>
                      <a:lnTo>
                        <a:pt x="312" y="280"/>
                      </a:lnTo>
                      <a:lnTo>
                        <a:pt x="312" y="264"/>
                      </a:lnTo>
                      <a:lnTo>
                        <a:pt x="320" y="256"/>
                      </a:lnTo>
                      <a:lnTo>
                        <a:pt x="328" y="208"/>
                      </a:lnTo>
                      <a:lnTo>
                        <a:pt x="328" y="200"/>
                      </a:lnTo>
                      <a:lnTo>
                        <a:pt x="336" y="184"/>
                      </a:lnTo>
                      <a:lnTo>
                        <a:pt x="352" y="168"/>
                      </a:lnTo>
                      <a:lnTo>
                        <a:pt x="368" y="144"/>
                      </a:lnTo>
                      <a:lnTo>
                        <a:pt x="384" y="136"/>
                      </a:lnTo>
                      <a:lnTo>
                        <a:pt x="408" y="112"/>
                      </a:lnTo>
                      <a:lnTo>
                        <a:pt x="408" y="104"/>
                      </a:lnTo>
                      <a:lnTo>
                        <a:pt x="400" y="88"/>
                      </a:lnTo>
                      <a:lnTo>
                        <a:pt x="392" y="80"/>
                      </a:lnTo>
                      <a:lnTo>
                        <a:pt x="384" y="104"/>
                      </a:lnTo>
                      <a:lnTo>
                        <a:pt x="376" y="112"/>
                      </a:lnTo>
                      <a:lnTo>
                        <a:pt x="344" y="120"/>
                      </a:lnTo>
                      <a:lnTo>
                        <a:pt x="320" y="120"/>
                      </a:lnTo>
                      <a:lnTo>
                        <a:pt x="312" y="112"/>
                      </a:lnTo>
                      <a:lnTo>
                        <a:pt x="336" y="80"/>
                      </a:lnTo>
                      <a:lnTo>
                        <a:pt x="336" y="72"/>
                      </a:lnTo>
                      <a:lnTo>
                        <a:pt x="320" y="64"/>
                      </a:lnTo>
                      <a:lnTo>
                        <a:pt x="296" y="56"/>
                      </a:lnTo>
                      <a:lnTo>
                        <a:pt x="280" y="40"/>
                      </a:lnTo>
                      <a:lnTo>
                        <a:pt x="264" y="40"/>
                      </a:lnTo>
                      <a:lnTo>
                        <a:pt x="248" y="24"/>
                      </a:lnTo>
                      <a:lnTo>
                        <a:pt x="240" y="16"/>
                      </a:lnTo>
                      <a:lnTo>
                        <a:pt x="224" y="8"/>
                      </a:lnTo>
                      <a:lnTo>
                        <a:pt x="216" y="8"/>
                      </a:lnTo>
                      <a:lnTo>
                        <a:pt x="200" y="8"/>
                      </a:lnTo>
                      <a:lnTo>
                        <a:pt x="192" y="8"/>
                      </a:lnTo>
                      <a:lnTo>
                        <a:pt x="192" y="16"/>
                      </a:lnTo>
                      <a:lnTo>
                        <a:pt x="192" y="24"/>
                      </a:lnTo>
                      <a:lnTo>
                        <a:pt x="184" y="24"/>
                      </a:lnTo>
                      <a:lnTo>
                        <a:pt x="176" y="8"/>
                      </a:lnTo>
                      <a:lnTo>
                        <a:pt x="152" y="0"/>
                      </a:lnTo>
                      <a:lnTo>
                        <a:pt x="144" y="0"/>
                      </a:lnTo>
                      <a:lnTo>
                        <a:pt x="128" y="16"/>
                      </a:lnTo>
                      <a:lnTo>
                        <a:pt x="128" y="32"/>
                      </a:lnTo>
                      <a:lnTo>
                        <a:pt x="128" y="48"/>
                      </a:lnTo>
                      <a:lnTo>
                        <a:pt x="112" y="56"/>
                      </a:lnTo>
                      <a:lnTo>
                        <a:pt x="104" y="64"/>
                      </a:lnTo>
                      <a:lnTo>
                        <a:pt x="112" y="104"/>
                      </a:lnTo>
                      <a:lnTo>
                        <a:pt x="112" y="112"/>
                      </a:lnTo>
                      <a:lnTo>
                        <a:pt x="88" y="128"/>
                      </a:lnTo>
                      <a:lnTo>
                        <a:pt x="80" y="168"/>
                      </a:lnTo>
                      <a:lnTo>
                        <a:pt x="72" y="176"/>
                      </a:lnTo>
                      <a:lnTo>
                        <a:pt x="64" y="216"/>
                      </a:lnTo>
                      <a:lnTo>
                        <a:pt x="80" y="256"/>
                      </a:lnTo>
                      <a:lnTo>
                        <a:pt x="72" y="288"/>
                      </a:lnTo>
                      <a:lnTo>
                        <a:pt x="64" y="304"/>
                      </a:lnTo>
                      <a:lnTo>
                        <a:pt x="64" y="328"/>
                      </a:lnTo>
                      <a:lnTo>
                        <a:pt x="48" y="352"/>
                      </a:lnTo>
                      <a:lnTo>
                        <a:pt x="56" y="392"/>
                      </a:lnTo>
                      <a:lnTo>
                        <a:pt x="48" y="408"/>
                      </a:lnTo>
                      <a:lnTo>
                        <a:pt x="32" y="448"/>
                      </a:lnTo>
                      <a:lnTo>
                        <a:pt x="40" y="496"/>
                      </a:lnTo>
                      <a:lnTo>
                        <a:pt x="32" y="504"/>
                      </a:lnTo>
                      <a:lnTo>
                        <a:pt x="32" y="528"/>
                      </a:lnTo>
                      <a:lnTo>
                        <a:pt x="40" y="552"/>
                      </a:lnTo>
                      <a:lnTo>
                        <a:pt x="32" y="560"/>
                      </a:lnTo>
                      <a:lnTo>
                        <a:pt x="32" y="576"/>
                      </a:lnTo>
                      <a:lnTo>
                        <a:pt x="40" y="576"/>
                      </a:lnTo>
                      <a:lnTo>
                        <a:pt x="40" y="616"/>
                      </a:lnTo>
                      <a:lnTo>
                        <a:pt x="32" y="624"/>
                      </a:lnTo>
                      <a:lnTo>
                        <a:pt x="32" y="632"/>
                      </a:lnTo>
                      <a:lnTo>
                        <a:pt x="24" y="632"/>
                      </a:lnTo>
                      <a:lnTo>
                        <a:pt x="24" y="656"/>
                      </a:lnTo>
                      <a:lnTo>
                        <a:pt x="0" y="680"/>
                      </a:lnTo>
                      <a:lnTo>
                        <a:pt x="0" y="696"/>
                      </a:lnTo>
                      <a:lnTo>
                        <a:pt x="8" y="712"/>
                      </a:lnTo>
                      <a:lnTo>
                        <a:pt x="16" y="712"/>
                      </a:lnTo>
                      <a:lnTo>
                        <a:pt x="24" y="720"/>
                      </a:lnTo>
                      <a:lnTo>
                        <a:pt x="24" y="744"/>
                      </a:lnTo>
                      <a:lnTo>
                        <a:pt x="40" y="752"/>
                      </a:lnTo>
                      <a:lnTo>
                        <a:pt x="80" y="752"/>
                      </a:lnTo>
                      <a:lnTo>
                        <a:pt x="88" y="76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402" name="Freeform 26"/>
                <p:cNvSpPr>
                  <a:spLocks noChangeAspect="1"/>
                </p:cNvSpPr>
                <p:nvPr/>
              </p:nvSpPr>
              <p:spPr bwMode="auto">
                <a:xfrm>
                  <a:off x="1911" y="3348"/>
                  <a:ext cx="79" cy="84"/>
                </a:xfrm>
                <a:custGeom>
                  <a:avLst/>
                  <a:gdLst>
                    <a:gd name="T0" fmla="*/ 1 w 112"/>
                    <a:gd name="T1" fmla="*/ 1 h 120"/>
                    <a:gd name="T2" fmla="*/ 1 w 112"/>
                    <a:gd name="T3" fmla="*/ 1 h 120"/>
                    <a:gd name="T4" fmla="*/ 1 w 112"/>
                    <a:gd name="T5" fmla="*/ 1 h 120"/>
                    <a:gd name="T6" fmla="*/ 1 w 112"/>
                    <a:gd name="T7" fmla="*/ 1 h 120"/>
                    <a:gd name="T8" fmla="*/ 1 w 112"/>
                    <a:gd name="T9" fmla="*/ 1 h 120"/>
                    <a:gd name="T10" fmla="*/ 1 w 112"/>
                    <a:gd name="T11" fmla="*/ 1 h 120"/>
                    <a:gd name="T12" fmla="*/ 1 w 112"/>
                    <a:gd name="T13" fmla="*/ 1 h 120"/>
                    <a:gd name="T14" fmla="*/ 1 w 112"/>
                    <a:gd name="T15" fmla="*/ 1 h 120"/>
                    <a:gd name="T16" fmla="*/ 1 w 112"/>
                    <a:gd name="T17" fmla="*/ 1 h 120"/>
                    <a:gd name="T18" fmla="*/ 0 w 112"/>
                    <a:gd name="T19" fmla="*/ 1 h 120"/>
                    <a:gd name="T20" fmla="*/ 0 w 112"/>
                    <a:gd name="T21" fmla="*/ 1 h 120"/>
                    <a:gd name="T22" fmla="*/ 1 w 112"/>
                    <a:gd name="T23" fmla="*/ 1 h 120"/>
                    <a:gd name="T24" fmla="*/ 1 w 112"/>
                    <a:gd name="T25" fmla="*/ 1 h 120"/>
                    <a:gd name="T26" fmla="*/ 1 w 112"/>
                    <a:gd name="T27" fmla="*/ 1 h 120"/>
                    <a:gd name="T28" fmla="*/ 1 w 112"/>
                    <a:gd name="T29" fmla="*/ 0 h 120"/>
                    <a:gd name="T30" fmla="*/ 1 w 112"/>
                    <a:gd name="T31" fmla="*/ 1 h 120"/>
                    <a:gd name="T32" fmla="*/ 1 w 112"/>
                    <a:gd name="T33" fmla="*/ 1 h 120"/>
                    <a:gd name="T34" fmla="*/ 1 w 112"/>
                    <a:gd name="T35" fmla="*/ 1 h 120"/>
                    <a:gd name="T36" fmla="*/ 1 w 112"/>
                    <a:gd name="T37" fmla="*/ 1 h 120"/>
                    <a:gd name="T38" fmla="*/ 1 w 112"/>
                    <a:gd name="T39" fmla="*/ 1 h 120"/>
                    <a:gd name="T40" fmla="*/ 1 w 112"/>
                    <a:gd name="T41" fmla="*/ 1 h 120"/>
                    <a:gd name="T42" fmla="*/ 1 w 112"/>
                    <a:gd name="T43" fmla="*/ 1 h 120"/>
                    <a:gd name="T44" fmla="*/ 1 w 112"/>
                    <a:gd name="T45" fmla="*/ 1 h 120"/>
                    <a:gd name="T46" fmla="*/ 1 w 112"/>
                    <a:gd name="T47" fmla="*/ 1 h 120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12"/>
                    <a:gd name="T73" fmla="*/ 0 h 120"/>
                    <a:gd name="T74" fmla="*/ 112 w 112"/>
                    <a:gd name="T75" fmla="*/ 120 h 120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12" h="120">
                      <a:moveTo>
                        <a:pt x="112" y="80"/>
                      </a:moveTo>
                      <a:lnTo>
                        <a:pt x="104" y="96"/>
                      </a:lnTo>
                      <a:lnTo>
                        <a:pt x="104" y="104"/>
                      </a:lnTo>
                      <a:lnTo>
                        <a:pt x="88" y="120"/>
                      </a:lnTo>
                      <a:lnTo>
                        <a:pt x="72" y="120"/>
                      </a:lnTo>
                      <a:lnTo>
                        <a:pt x="56" y="112"/>
                      </a:lnTo>
                      <a:lnTo>
                        <a:pt x="40" y="104"/>
                      </a:lnTo>
                      <a:lnTo>
                        <a:pt x="24" y="104"/>
                      </a:lnTo>
                      <a:lnTo>
                        <a:pt x="16" y="96"/>
                      </a:lnTo>
                      <a:lnTo>
                        <a:pt x="0" y="96"/>
                      </a:lnTo>
                      <a:lnTo>
                        <a:pt x="0" y="80"/>
                      </a:lnTo>
                      <a:lnTo>
                        <a:pt x="8" y="72"/>
                      </a:lnTo>
                      <a:lnTo>
                        <a:pt x="16" y="24"/>
                      </a:lnTo>
                      <a:lnTo>
                        <a:pt x="16" y="16"/>
                      </a:lnTo>
                      <a:lnTo>
                        <a:pt x="24" y="0"/>
                      </a:lnTo>
                      <a:lnTo>
                        <a:pt x="32" y="8"/>
                      </a:lnTo>
                      <a:lnTo>
                        <a:pt x="40" y="16"/>
                      </a:lnTo>
                      <a:lnTo>
                        <a:pt x="64" y="24"/>
                      </a:lnTo>
                      <a:lnTo>
                        <a:pt x="72" y="24"/>
                      </a:lnTo>
                      <a:lnTo>
                        <a:pt x="80" y="40"/>
                      </a:lnTo>
                      <a:lnTo>
                        <a:pt x="88" y="48"/>
                      </a:lnTo>
                      <a:lnTo>
                        <a:pt x="96" y="56"/>
                      </a:lnTo>
                      <a:lnTo>
                        <a:pt x="112" y="64"/>
                      </a:lnTo>
                      <a:lnTo>
                        <a:pt x="112" y="8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403" name="Freeform 27"/>
                <p:cNvSpPr>
                  <a:spLocks noChangeAspect="1"/>
                </p:cNvSpPr>
                <p:nvPr/>
              </p:nvSpPr>
              <p:spPr bwMode="auto">
                <a:xfrm>
                  <a:off x="1737" y="3758"/>
                  <a:ext cx="22" cy="40"/>
                </a:xfrm>
                <a:custGeom>
                  <a:avLst/>
                  <a:gdLst>
                    <a:gd name="T0" fmla="*/ 1 w 32"/>
                    <a:gd name="T1" fmla="*/ 0 h 56"/>
                    <a:gd name="T2" fmla="*/ 1 w 32"/>
                    <a:gd name="T3" fmla="*/ 0 h 56"/>
                    <a:gd name="T4" fmla="*/ 1 w 32"/>
                    <a:gd name="T5" fmla="*/ 1 h 56"/>
                    <a:gd name="T6" fmla="*/ 0 w 32"/>
                    <a:gd name="T7" fmla="*/ 1 h 56"/>
                    <a:gd name="T8" fmla="*/ 0 w 32"/>
                    <a:gd name="T9" fmla="*/ 1 h 56"/>
                    <a:gd name="T10" fmla="*/ 1 w 32"/>
                    <a:gd name="T11" fmla="*/ 1 h 56"/>
                    <a:gd name="T12" fmla="*/ 1 w 32"/>
                    <a:gd name="T13" fmla="*/ 1 h 56"/>
                    <a:gd name="T14" fmla="*/ 1 w 32"/>
                    <a:gd name="T15" fmla="*/ 1 h 56"/>
                    <a:gd name="T16" fmla="*/ 1 w 32"/>
                    <a:gd name="T17" fmla="*/ 1 h 56"/>
                    <a:gd name="T18" fmla="*/ 1 w 32"/>
                    <a:gd name="T19" fmla="*/ 1 h 56"/>
                    <a:gd name="T20" fmla="*/ 1 w 32"/>
                    <a:gd name="T21" fmla="*/ 1 h 56"/>
                    <a:gd name="T22" fmla="*/ 1 w 32"/>
                    <a:gd name="T23" fmla="*/ 1 h 56"/>
                    <a:gd name="T24" fmla="*/ 1 w 32"/>
                    <a:gd name="T25" fmla="*/ 1 h 56"/>
                    <a:gd name="T26" fmla="*/ 1 w 32"/>
                    <a:gd name="T27" fmla="*/ 0 h 5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32"/>
                    <a:gd name="T43" fmla="*/ 0 h 56"/>
                    <a:gd name="T44" fmla="*/ 32 w 32"/>
                    <a:gd name="T45" fmla="*/ 56 h 5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32" h="56">
                      <a:moveTo>
                        <a:pt x="32" y="0"/>
                      </a:moveTo>
                      <a:lnTo>
                        <a:pt x="24" y="0"/>
                      </a:lnTo>
                      <a:lnTo>
                        <a:pt x="16" y="8"/>
                      </a:lnTo>
                      <a:lnTo>
                        <a:pt x="0" y="16"/>
                      </a:lnTo>
                      <a:lnTo>
                        <a:pt x="0" y="24"/>
                      </a:lnTo>
                      <a:lnTo>
                        <a:pt x="8" y="24"/>
                      </a:lnTo>
                      <a:lnTo>
                        <a:pt x="16" y="24"/>
                      </a:lnTo>
                      <a:lnTo>
                        <a:pt x="24" y="24"/>
                      </a:lnTo>
                      <a:lnTo>
                        <a:pt x="16" y="32"/>
                      </a:lnTo>
                      <a:lnTo>
                        <a:pt x="8" y="40"/>
                      </a:lnTo>
                      <a:lnTo>
                        <a:pt x="16" y="48"/>
                      </a:lnTo>
                      <a:lnTo>
                        <a:pt x="24" y="48"/>
                      </a:lnTo>
                      <a:lnTo>
                        <a:pt x="32" y="56"/>
                      </a:lnTo>
                      <a:lnTo>
                        <a:pt x="32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404" name="Freeform 28"/>
                <p:cNvSpPr>
                  <a:spLocks noChangeAspect="1"/>
                </p:cNvSpPr>
                <p:nvPr/>
              </p:nvSpPr>
              <p:spPr bwMode="auto">
                <a:xfrm>
                  <a:off x="1720" y="3798"/>
                  <a:ext cx="45" cy="5"/>
                </a:xfrm>
                <a:custGeom>
                  <a:avLst/>
                  <a:gdLst>
                    <a:gd name="T0" fmla="*/ 1 w 64"/>
                    <a:gd name="T1" fmla="*/ 0 h 8"/>
                    <a:gd name="T2" fmla="*/ 1 w 64"/>
                    <a:gd name="T3" fmla="*/ 0 h 8"/>
                    <a:gd name="T4" fmla="*/ 1 w 64"/>
                    <a:gd name="T5" fmla="*/ 0 h 8"/>
                    <a:gd name="T6" fmla="*/ 0 w 64"/>
                    <a:gd name="T7" fmla="*/ 0 h 8"/>
                    <a:gd name="T8" fmla="*/ 0 w 64"/>
                    <a:gd name="T9" fmla="*/ 1 h 8"/>
                    <a:gd name="T10" fmla="*/ 1 w 64"/>
                    <a:gd name="T11" fmla="*/ 1 h 8"/>
                    <a:gd name="T12" fmla="*/ 1 w 64"/>
                    <a:gd name="T13" fmla="*/ 1 h 8"/>
                    <a:gd name="T14" fmla="*/ 1 w 64"/>
                    <a:gd name="T15" fmla="*/ 1 h 8"/>
                    <a:gd name="T16" fmla="*/ 1 w 64"/>
                    <a:gd name="T17" fmla="*/ 0 h 8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4"/>
                    <a:gd name="T28" fmla="*/ 0 h 8"/>
                    <a:gd name="T29" fmla="*/ 64 w 64"/>
                    <a:gd name="T30" fmla="*/ 8 h 8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4" h="8">
                      <a:moveTo>
                        <a:pt x="64" y="0"/>
                      </a:moveTo>
                      <a:lnTo>
                        <a:pt x="32" y="0"/>
                      </a:lnTo>
                      <a:lnTo>
                        <a:pt x="24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lnTo>
                        <a:pt x="8" y="8"/>
                      </a:lnTo>
                      <a:lnTo>
                        <a:pt x="24" y="8"/>
                      </a:lnTo>
                      <a:lnTo>
                        <a:pt x="56" y="8"/>
                      </a:lnTo>
                      <a:lnTo>
                        <a:pt x="64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405" name="Freeform 29"/>
                <p:cNvSpPr>
                  <a:spLocks noChangeAspect="1"/>
                </p:cNvSpPr>
                <p:nvPr/>
              </p:nvSpPr>
              <p:spPr bwMode="auto">
                <a:xfrm>
                  <a:off x="1759" y="3758"/>
                  <a:ext cx="57" cy="51"/>
                </a:xfrm>
                <a:custGeom>
                  <a:avLst/>
                  <a:gdLst>
                    <a:gd name="T0" fmla="*/ 0 w 80"/>
                    <a:gd name="T1" fmla="*/ 1 h 72"/>
                    <a:gd name="T2" fmla="*/ 1 w 80"/>
                    <a:gd name="T3" fmla="*/ 1 h 72"/>
                    <a:gd name="T4" fmla="*/ 1 w 80"/>
                    <a:gd name="T5" fmla="*/ 1 h 72"/>
                    <a:gd name="T6" fmla="*/ 1 w 80"/>
                    <a:gd name="T7" fmla="*/ 1 h 72"/>
                    <a:gd name="T8" fmla="*/ 1 w 80"/>
                    <a:gd name="T9" fmla="*/ 1 h 72"/>
                    <a:gd name="T10" fmla="*/ 1 w 80"/>
                    <a:gd name="T11" fmla="*/ 1 h 72"/>
                    <a:gd name="T12" fmla="*/ 1 w 80"/>
                    <a:gd name="T13" fmla="*/ 1 h 72"/>
                    <a:gd name="T14" fmla="*/ 1 w 80"/>
                    <a:gd name="T15" fmla="*/ 1 h 72"/>
                    <a:gd name="T16" fmla="*/ 1 w 80"/>
                    <a:gd name="T17" fmla="*/ 1 h 72"/>
                    <a:gd name="T18" fmla="*/ 1 w 80"/>
                    <a:gd name="T19" fmla="*/ 1 h 72"/>
                    <a:gd name="T20" fmla="*/ 1 w 80"/>
                    <a:gd name="T21" fmla="*/ 1 h 72"/>
                    <a:gd name="T22" fmla="*/ 1 w 80"/>
                    <a:gd name="T23" fmla="*/ 1 h 72"/>
                    <a:gd name="T24" fmla="*/ 0 w 80"/>
                    <a:gd name="T25" fmla="*/ 0 h 72"/>
                    <a:gd name="T26" fmla="*/ 0 w 80"/>
                    <a:gd name="T27" fmla="*/ 1 h 72"/>
                    <a:gd name="T28" fmla="*/ 1 w 80"/>
                    <a:gd name="T29" fmla="*/ 1 h 72"/>
                    <a:gd name="T30" fmla="*/ 1 w 80"/>
                    <a:gd name="T31" fmla="*/ 1 h 72"/>
                    <a:gd name="T32" fmla="*/ 0 w 80"/>
                    <a:gd name="T33" fmla="*/ 1 h 72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80"/>
                    <a:gd name="T52" fmla="*/ 0 h 72"/>
                    <a:gd name="T53" fmla="*/ 80 w 80"/>
                    <a:gd name="T54" fmla="*/ 72 h 72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80" h="72">
                      <a:moveTo>
                        <a:pt x="0" y="64"/>
                      </a:moveTo>
                      <a:lnTo>
                        <a:pt x="16" y="64"/>
                      </a:lnTo>
                      <a:lnTo>
                        <a:pt x="32" y="72"/>
                      </a:lnTo>
                      <a:lnTo>
                        <a:pt x="48" y="72"/>
                      </a:lnTo>
                      <a:lnTo>
                        <a:pt x="56" y="72"/>
                      </a:lnTo>
                      <a:lnTo>
                        <a:pt x="72" y="72"/>
                      </a:lnTo>
                      <a:lnTo>
                        <a:pt x="80" y="64"/>
                      </a:lnTo>
                      <a:lnTo>
                        <a:pt x="56" y="56"/>
                      </a:lnTo>
                      <a:lnTo>
                        <a:pt x="48" y="56"/>
                      </a:lnTo>
                      <a:lnTo>
                        <a:pt x="24" y="40"/>
                      </a:lnTo>
                      <a:lnTo>
                        <a:pt x="24" y="32"/>
                      </a:lnTo>
                      <a:lnTo>
                        <a:pt x="16" y="8"/>
                      </a:lnTo>
                      <a:lnTo>
                        <a:pt x="0" y="0"/>
                      </a:lnTo>
                      <a:lnTo>
                        <a:pt x="0" y="56"/>
                      </a:lnTo>
                      <a:lnTo>
                        <a:pt x="16" y="56"/>
                      </a:lnTo>
                      <a:lnTo>
                        <a:pt x="8" y="56"/>
                      </a:lnTo>
                      <a:lnTo>
                        <a:pt x="0" y="64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406" name="Freeform 30"/>
                <p:cNvSpPr>
                  <a:spLocks noChangeAspect="1"/>
                </p:cNvSpPr>
                <p:nvPr/>
              </p:nvSpPr>
              <p:spPr bwMode="auto">
                <a:xfrm>
                  <a:off x="1529" y="2734"/>
                  <a:ext cx="45" cy="40"/>
                </a:xfrm>
                <a:custGeom>
                  <a:avLst/>
                  <a:gdLst>
                    <a:gd name="T0" fmla="*/ 0 w 64"/>
                    <a:gd name="T1" fmla="*/ 0 h 56"/>
                    <a:gd name="T2" fmla="*/ 1 w 64"/>
                    <a:gd name="T3" fmla="*/ 1 h 56"/>
                    <a:gd name="T4" fmla="*/ 1 w 64"/>
                    <a:gd name="T5" fmla="*/ 1 h 56"/>
                    <a:gd name="T6" fmla="*/ 1 w 64"/>
                    <a:gd name="T7" fmla="*/ 1 h 56"/>
                    <a:gd name="T8" fmla="*/ 1 w 64"/>
                    <a:gd name="T9" fmla="*/ 1 h 56"/>
                    <a:gd name="T10" fmla="*/ 1 w 64"/>
                    <a:gd name="T11" fmla="*/ 1 h 56"/>
                    <a:gd name="T12" fmla="*/ 1 w 64"/>
                    <a:gd name="T13" fmla="*/ 1 h 56"/>
                    <a:gd name="T14" fmla="*/ 1 w 64"/>
                    <a:gd name="T15" fmla="*/ 1 h 56"/>
                    <a:gd name="T16" fmla="*/ 1 w 64"/>
                    <a:gd name="T17" fmla="*/ 1 h 56"/>
                    <a:gd name="T18" fmla="*/ 1 w 64"/>
                    <a:gd name="T19" fmla="*/ 1 h 56"/>
                    <a:gd name="T20" fmla="*/ 1 w 64"/>
                    <a:gd name="T21" fmla="*/ 1 h 56"/>
                    <a:gd name="T22" fmla="*/ 0 w 64"/>
                    <a:gd name="T23" fmla="*/ 1 h 56"/>
                    <a:gd name="T24" fmla="*/ 0 w 64"/>
                    <a:gd name="T25" fmla="*/ 0 h 5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64"/>
                    <a:gd name="T40" fmla="*/ 0 h 56"/>
                    <a:gd name="T41" fmla="*/ 64 w 64"/>
                    <a:gd name="T42" fmla="*/ 56 h 5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64" h="56">
                      <a:moveTo>
                        <a:pt x="0" y="0"/>
                      </a:moveTo>
                      <a:lnTo>
                        <a:pt x="16" y="8"/>
                      </a:lnTo>
                      <a:lnTo>
                        <a:pt x="32" y="8"/>
                      </a:lnTo>
                      <a:lnTo>
                        <a:pt x="40" y="8"/>
                      </a:lnTo>
                      <a:lnTo>
                        <a:pt x="64" y="32"/>
                      </a:lnTo>
                      <a:lnTo>
                        <a:pt x="56" y="48"/>
                      </a:lnTo>
                      <a:lnTo>
                        <a:pt x="56" y="56"/>
                      </a:lnTo>
                      <a:lnTo>
                        <a:pt x="48" y="56"/>
                      </a:lnTo>
                      <a:lnTo>
                        <a:pt x="32" y="40"/>
                      </a:lnTo>
                      <a:lnTo>
                        <a:pt x="32" y="32"/>
                      </a:lnTo>
                      <a:lnTo>
                        <a:pt x="16" y="24"/>
                      </a:lnTo>
                      <a:lnTo>
                        <a:pt x="0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</p:grpSp>
          <p:grpSp>
            <p:nvGrpSpPr>
              <p:cNvPr id="335" name="Group 31"/>
              <p:cNvGrpSpPr>
                <a:grpSpLocks noChangeAspect="1"/>
              </p:cNvGrpSpPr>
              <p:nvPr/>
            </p:nvGrpSpPr>
            <p:grpSpPr bwMode="auto">
              <a:xfrm>
                <a:off x="240" y="1097"/>
                <a:ext cx="1756" cy="1643"/>
                <a:chOff x="240" y="1097"/>
                <a:chExt cx="1756" cy="1643"/>
              </a:xfrm>
              <a:grpFill/>
            </p:grpSpPr>
            <p:sp>
              <p:nvSpPr>
                <p:cNvPr id="336" name="Freeform 32"/>
                <p:cNvSpPr>
                  <a:spLocks noChangeAspect="1"/>
                </p:cNvSpPr>
                <p:nvPr/>
              </p:nvSpPr>
              <p:spPr bwMode="auto">
                <a:xfrm>
                  <a:off x="910" y="2048"/>
                  <a:ext cx="73" cy="56"/>
                </a:xfrm>
                <a:custGeom>
                  <a:avLst/>
                  <a:gdLst>
                    <a:gd name="T0" fmla="*/ 1 w 104"/>
                    <a:gd name="T1" fmla="*/ 1 h 80"/>
                    <a:gd name="T2" fmla="*/ 1 w 104"/>
                    <a:gd name="T3" fmla="*/ 1 h 80"/>
                    <a:gd name="T4" fmla="*/ 1 w 104"/>
                    <a:gd name="T5" fmla="*/ 1 h 80"/>
                    <a:gd name="T6" fmla="*/ 1 w 104"/>
                    <a:gd name="T7" fmla="*/ 1 h 80"/>
                    <a:gd name="T8" fmla="*/ 1 w 104"/>
                    <a:gd name="T9" fmla="*/ 1 h 80"/>
                    <a:gd name="T10" fmla="*/ 1 w 104"/>
                    <a:gd name="T11" fmla="*/ 1 h 80"/>
                    <a:gd name="T12" fmla="*/ 1 w 104"/>
                    <a:gd name="T13" fmla="*/ 1 h 80"/>
                    <a:gd name="T14" fmla="*/ 1 w 104"/>
                    <a:gd name="T15" fmla="*/ 1 h 80"/>
                    <a:gd name="T16" fmla="*/ 1 w 104"/>
                    <a:gd name="T17" fmla="*/ 1 h 80"/>
                    <a:gd name="T18" fmla="*/ 1 w 104"/>
                    <a:gd name="T19" fmla="*/ 1 h 80"/>
                    <a:gd name="T20" fmla="*/ 1 w 104"/>
                    <a:gd name="T21" fmla="*/ 0 h 80"/>
                    <a:gd name="T22" fmla="*/ 0 w 104"/>
                    <a:gd name="T23" fmla="*/ 0 h 80"/>
                    <a:gd name="T24" fmla="*/ 0 w 104"/>
                    <a:gd name="T25" fmla="*/ 1 h 80"/>
                    <a:gd name="T26" fmla="*/ 1 w 104"/>
                    <a:gd name="T27" fmla="*/ 1 h 80"/>
                    <a:gd name="T28" fmla="*/ 1 w 104"/>
                    <a:gd name="T29" fmla="*/ 1 h 80"/>
                    <a:gd name="T30" fmla="*/ 1 w 104"/>
                    <a:gd name="T31" fmla="*/ 1 h 80"/>
                    <a:gd name="T32" fmla="*/ 1 w 104"/>
                    <a:gd name="T33" fmla="*/ 1 h 80"/>
                    <a:gd name="T34" fmla="*/ 1 w 104"/>
                    <a:gd name="T35" fmla="*/ 1 h 80"/>
                    <a:gd name="T36" fmla="*/ 1 w 104"/>
                    <a:gd name="T37" fmla="*/ 1 h 80"/>
                    <a:gd name="T38" fmla="*/ 1 w 104"/>
                    <a:gd name="T39" fmla="*/ 1 h 80"/>
                    <a:gd name="T40" fmla="*/ 1 w 104"/>
                    <a:gd name="T41" fmla="*/ 1 h 80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04"/>
                    <a:gd name="T64" fmla="*/ 0 h 80"/>
                    <a:gd name="T65" fmla="*/ 104 w 104"/>
                    <a:gd name="T66" fmla="*/ 80 h 80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04" h="80">
                      <a:moveTo>
                        <a:pt x="80" y="72"/>
                      </a:moveTo>
                      <a:lnTo>
                        <a:pt x="96" y="80"/>
                      </a:lnTo>
                      <a:lnTo>
                        <a:pt x="104" y="72"/>
                      </a:lnTo>
                      <a:lnTo>
                        <a:pt x="96" y="56"/>
                      </a:lnTo>
                      <a:lnTo>
                        <a:pt x="88" y="56"/>
                      </a:lnTo>
                      <a:lnTo>
                        <a:pt x="72" y="40"/>
                      </a:lnTo>
                      <a:lnTo>
                        <a:pt x="72" y="32"/>
                      </a:lnTo>
                      <a:lnTo>
                        <a:pt x="64" y="24"/>
                      </a:lnTo>
                      <a:lnTo>
                        <a:pt x="48" y="24"/>
                      </a:lnTo>
                      <a:lnTo>
                        <a:pt x="24" y="16"/>
                      </a:lnTo>
                      <a:lnTo>
                        <a:pt x="16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lnTo>
                        <a:pt x="8" y="32"/>
                      </a:lnTo>
                      <a:lnTo>
                        <a:pt x="16" y="32"/>
                      </a:lnTo>
                      <a:lnTo>
                        <a:pt x="24" y="40"/>
                      </a:lnTo>
                      <a:lnTo>
                        <a:pt x="32" y="40"/>
                      </a:lnTo>
                      <a:lnTo>
                        <a:pt x="40" y="48"/>
                      </a:lnTo>
                      <a:lnTo>
                        <a:pt x="64" y="64"/>
                      </a:lnTo>
                      <a:lnTo>
                        <a:pt x="72" y="72"/>
                      </a:lnTo>
                      <a:lnTo>
                        <a:pt x="80" y="72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37" name="Freeform 33"/>
                <p:cNvSpPr>
                  <a:spLocks noChangeAspect="1"/>
                </p:cNvSpPr>
                <p:nvPr/>
              </p:nvSpPr>
              <p:spPr bwMode="auto">
                <a:xfrm>
                  <a:off x="836" y="1924"/>
                  <a:ext cx="23" cy="28"/>
                </a:xfrm>
                <a:custGeom>
                  <a:avLst/>
                  <a:gdLst>
                    <a:gd name="T0" fmla="*/ 0 w 32"/>
                    <a:gd name="T1" fmla="*/ 0 h 40"/>
                    <a:gd name="T2" fmla="*/ 1 w 32"/>
                    <a:gd name="T3" fmla="*/ 0 h 40"/>
                    <a:gd name="T4" fmla="*/ 1 w 32"/>
                    <a:gd name="T5" fmla="*/ 1 h 40"/>
                    <a:gd name="T6" fmla="*/ 1 w 32"/>
                    <a:gd name="T7" fmla="*/ 1 h 40"/>
                    <a:gd name="T8" fmla="*/ 1 w 32"/>
                    <a:gd name="T9" fmla="*/ 1 h 40"/>
                    <a:gd name="T10" fmla="*/ 1 w 32"/>
                    <a:gd name="T11" fmla="*/ 1 h 40"/>
                    <a:gd name="T12" fmla="*/ 0 w 32"/>
                    <a:gd name="T13" fmla="*/ 0 h 4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2"/>
                    <a:gd name="T22" fmla="*/ 0 h 40"/>
                    <a:gd name="T23" fmla="*/ 32 w 32"/>
                    <a:gd name="T24" fmla="*/ 40 h 4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2" h="40">
                      <a:moveTo>
                        <a:pt x="0" y="0"/>
                      </a:moveTo>
                      <a:lnTo>
                        <a:pt x="8" y="0"/>
                      </a:lnTo>
                      <a:lnTo>
                        <a:pt x="24" y="16"/>
                      </a:lnTo>
                      <a:lnTo>
                        <a:pt x="32" y="40"/>
                      </a:lnTo>
                      <a:lnTo>
                        <a:pt x="24" y="40"/>
                      </a:lnTo>
                      <a:lnTo>
                        <a:pt x="8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38" name="Freeform 34"/>
                <p:cNvSpPr>
                  <a:spLocks noChangeAspect="1"/>
                </p:cNvSpPr>
                <p:nvPr/>
              </p:nvSpPr>
              <p:spPr bwMode="auto">
                <a:xfrm>
                  <a:off x="347" y="1812"/>
                  <a:ext cx="22" cy="17"/>
                </a:xfrm>
                <a:custGeom>
                  <a:avLst/>
                  <a:gdLst>
                    <a:gd name="T0" fmla="*/ 1 w 32"/>
                    <a:gd name="T1" fmla="*/ 0 h 24"/>
                    <a:gd name="T2" fmla="*/ 1 w 32"/>
                    <a:gd name="T3" fmla="*/ 1 h 24"/>
                    <a:gd name="T4" fmla="*/ 1 w 32"/>
                    <a:gd name="T5" fmla="*/ 1 h 24"/>
                    <a:gd name="T6" fmla="*/ 1 w 32"/>
                    <a:gd name="T7" fmla="*/ 1 h 24"/>
                    <a:gd name="T8" fmla="*/ 1 w 32"/>
                    <a:gd name="T9" fmla="*/ 1 h 24"/>
                    <a:gd name="T10" fmla="*/ 1 w 32"/>
                    <a:gd name="T11" fmla="*/ 1 h 24"/>
                    <a:gd name="T12" fmla="*/ 0 w 32"/>
                    <a:gd name="T13" fmla="*/ 1 h 24"/>
                    <a:gd name="T14" fmla="*/ 0 w 32"/>
                    <a:gd name="T15" fmla="*/ 1 h 24"/>
                    <a:gd name="T16" fmla="*/ 1 w 32"/>
                    <a:gd name="T17" fmla="*/ 0 h 24"/>
                    <a:gd name="T18" fmla="*/ 1 w 32"/>
                    <a:gd name="T19" fmla="*/ 0 h 2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32"/>
                    <a:gd name="T31" fmla="*/ 0 h 24"/>
                    <a:gd name="T32" fmla="*/ 32 w 32"/>
                    <a:gd name="T33" fmla="*/ 24 h 2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32" h="24">
                      <a:moveTo>
                        <a:pt x="16" y="0"/>
                      </a:moveTo>
                      <a:lnTo>
                        <a:pt x="32" y="8"/>
                      </a:lnTo>
                      <a:lnTo>
                        <a:pt x="32" y="16"/>
                      </a:lnTo>
                      <a:lnTo>
                        <a:pt x="24" y="24"/>
                      </a:lnTo>
                      <a:lnTo>
                        <a:pt x="16" y="24"/>
                      </a:lnTo>
                      <a:lnTo>
                        <a:pt x="8" y="16"/>
                      </a:lnTo>
                      <a:lnTo>
                        <a:pt x="0" y="16"/>
                      </a:lnTo>
                      <a:lnTo>
                        <a:pt x="0" y="8"/>
                      </a:lnTo>
                      <a:lnTo>
                        <a:pt x="8" y="0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39" name="Freeform 35"/>
                <p:cNvSpPr>
                  <a:spLocks noChangeAspect="1"/>
                </p:cNvSpPr>
                <p:nvPr/>
              </p:nvSpPr>
              <p:spPr bwMode="auto">
                <a:xfrm>
                  <a:off x="279" y="1710"/>
                  <a:ext cx="45" cy="23"/>
                </a:xfrm>
                <a:custGeom>
                  <a:avLst/>
                  <a:gdLst>
                    <a:gd name="T0" fmla="*/ 0 w 64"/>
                    <a:gd name="T1" fmla="*/ 0 h 32"/>
                    <a:gd name="T2" fmla="*/ 1 w 64"/>
                    <a:gd name="T3" fmla="*/ 0 h 32"/>
                    <a:gd name="T4" fmla="*/ 1 w 64"/>
                    <a:gd name="T5" fmla="*/ 0 h 32"/>
                    <a:gd name="T6" fmla="*/ 1 w 64"/>
                    <a:gd name="T7" fmla="*/ 1 h 32"/>
                    <a:gd name="T8" fmla="*/ 1 w 64"/>
                    <a:gd name="T9" fmla="*/ 1 h 32"/>
                    <a:gd name="T10" fmla="*/ 1 w 64"/>
                    <a:gd name="T11" fmla="*/ 1 h 32"/>
                    <a:gd name="T12" fmla="*/ 1 w 64"/>
                    <a:gd name="T13" fmla="*/ 1 h 32"/>
                    <a:gd name="T14" fmla="*/ 1 w 64"/>
                    <a:gd name="T15" fmla="*/ 1 h 32"/>
                    <a:gd name="T16" fmla="*/ 1 w 64"/>
                    <a:gd name="T17" fmla="*/ 1 h 32"/>
                    <a:gd name="T18" fmla="*/ 0 w 64"/>
                    <a:gd name="T19" fmla="*/ 1 h 32"/>
                    <a:gd name="T20" fmla="*/ 0 w 64"/>
                    <a:gd name="T21" fmla="*/ 1 h 32"/>
                    <a:gd name="T22" fmla="*/ 0 w 64"/>
                    <a:gd name="T23" fmla="*/ 0 h 32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64"/>
                    <a:gd name="T37" fmla="*/ 0 h 32"/>
                    <a:gd name="T38" fmla="*/ 64 w 64"/>
                    <a:gd name="T39" fmla="*/ 32 h 32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64" h="32">
                      <a:moveTo>
                        <a:pt x="0" y="0"/>
                      </a:moveTo>
                      <a:lnTo>
                        <a:pt x="16" y="0"/>
                      </a:lnTo>
                      <a:lnTo>
                        <a:pt x="40" y="0"/>
                      </a:lnTo>
                      <a:lnTo>
                        <a:pt x="56" y="16"/>
                      </a:lnTo>
                      <a:lnTo>
                        <a:pt x="64" y="16"/>
                      </a:lnTo>
                      <a:lnTo>
                        <a:pt x="64" y="24"/>
                      </a:lnTo>
                      <a:lnTo>
                        <a:pt x="56" y="24"/>
                      </a:lnTo>
                      <a:lnTo>
                        <a:pt x="40" y="32"/>
                      </a:lnTo>
                      <a:lnTo>
                        <a:pt x="24" y="16"/>
                      </a:lnTo>
                      <a:lnTo>
                        <a:pt x="0" y="16"/>
                      </a:lnTo>
                      <a:lnTo>
                        <a:pt x="0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40" name="Freeform 36"/>
                <p:cNvSpPr>
                  <a:spLocks noChangeAspect="1"/>
                </p:cNvSpPr>
                <p:nvPr/>
              </p:nvSpPr>
              <p:spPr bwMode="auto">
                <a:xfrm>
                  <a:off x="1050" y="1435"/>
                  <a:ext cx="259" cy="123"/>
                </a:xfrm>
                <a:custGeom>
                  <a:avLst/>
                  <a:gdLst>
                    <a:gd name="T0" fmla="*/ 1 w 368"/>
                    <a:gd name="T1" fmla="*/ 1 h 176"/>
                    <a:gd name="T2" fmla="*/ 1 w 368"/>
                    <a:gd name="T3" fmla="*/ 1 h 176"/>
                    <a:gd name="T4" fmla="*/ 1 w 368"/>
                    <a:gd name="T5" fmla="*/ 1 h 176"/>
                    <a:gd name="T6" fmla="*/ 1 w 368"/>
                    <a:gd name="T7" fmla="*/ 1 h 176"/>
                    <a:gd name="T8" fmla="*/ 1 w 368"/>
                    <a:gd name="T9" fmla="*/ 1 h 176"/>
                    <a:gd name="T10" fmla="*/ 1 w 368"/>
                    <a:gd name="T11" fmla="*/ 1 h 176"/>
                    <a:gd name="T12" fmla="*/ 1 w 368"/>
                    <a:gd name="T13" fmla="*/ 1 h 176"/>
                    <a:gd name="T14" fmla="*/ 1 w 368"/>
                    <a:gd name="T15" fmla="*/ 1 h 176"/>
                    <a:gd name="T16" fmla="*/ 1 w 368"/>
                    <a:gd name="T17" fmla="*/ 1 h 176"/>
                    <a:gd name="T18" fmla="*/ 1 w 368"/>
                    <a:gd name="T19" fmla="*/ 1 h 176"/>
                    <a:gd name="T20" fmla="*/ 1 w 368"/>
                    <a:gd name="T21" fmla="*/ 1 h 176"/>
                    <a:gd name="T22" fmla="*/ 1 w 368"/>
                    <a:gd name="T23" fmla="*/ 1 h 176"/>
                    <a:gd name="T24" fmla="*/ 1 w 368"/>
                    <a:gd name="T25" fmla="*/ 1 h 176"/>
                    <a:gd name="T26" fmla="*/ 1 w 368"/>
                    <a:gd name="T27" fmla="*/ 1 h 176"/>
                    <a:gd name="T28" fmla="*/ 1 w 368"/>
                    <a:gd name="T29" fmla="*/ 1 h 176"/>
                    <a:gd name="T30" fmla="*/ 1 w 368"/>
                    <a:gd name="T31" fmla="*/ 1 h 176"/>
                    <a:gd name="T32" fmla="*/ 1 w 368"/>
                    <a:gd name="T33" fmla="*/ 1 h 176"/>
                    <a:gd name="T34" fmla="*/ 1 w 368"/>
                    <a:gd name="T35" fmla="*/ 1 h 176"/>
                    <a:gd name="T36" fmla="*/ 1 w 368"/>
                    <a:gd name="T37" fmla="*/ 1 h 176"/>
                    <a:gd name="T38" fmla="*/ 1 w 368"/>
                    <a:gd name="T39" fmla="*/ 1 h 176"/>
                    <a:gd name="T40" fmla="*/ 1 w 368"/>
                    <a:gd name="T41" fmla="*/ 1 h 176"/>
                    <a:gd name="T42" fmla="*/ 1 w 368"/>
                    <a:gd name="T43" fmla="*/ 1 h 176"/>
                    <a:gd name="T44" fmla="*/ 1 w 368"/>
                    <a:gd name="T45" fmla="*/ 1 h 176"/>
                    <a:gd name="T46" fmla="*/ 1 w 368"/>
                    <a:gd name="T47" fmla="*/ 1 h 176"/>
                    <a:gd name="T48" fmla="*/ 1 w 368"/>
                    <a:gd name="T49" fmla="*/ 1 h 176"/>
                    <a:gd name="T50" fmla="*/ 1 w 368"/>
                    <a:gd name="T51" fmla="*/ 1 h 176"/>
                    <a:gd name="T52" fmla="*/ 1 w 368"/>
                    <a:gd name="T53" fmla="*/ 1 h 176"/>
                    <a:gd name="T54" fmla="*/ 1 w 368"/>
                    <a:gd name="T55" fmla="*/ 1 h 176"/>
                    <a:gd name="T56" fmla="*/ 1 w 368"/>
                    <a:gd name="T57" fmla="*/ 1 h 176"/>
                    <a:gd name="T58" fmla="*/ 1 w 368"/>
                    <a:gd name="T59" fmla="*/ 1 h 176"/>
                    <a:gd name="T60" fmla="*/ 1 w 368"/>
                    <a:gd name="T61" fmla="*/ 1 h 176"/>
                    <a:gd name="T62" fmla="*/ 1 w 368"/>
                    <a:gd name="T63" fmla="*/ 1 h 176"/>
                    <a:gd name="T64" fmla="*/ 0 w 368"/>
                    <a:gd name="T65" fmla="*/ 1 h 176"/>
                    <a:gd name="T66" fmla="*/ 1 w 368"/>
                    <a:gd name="T67" fmla="*/ 1 h 176"/>
                    <a:gd name="T68" fmla="*/ 1 w 368"/>
                    <a:gd name="T69" fmla="*/ 1 h 176"/>
                    <a:gd name="T70" fmla="*/ 1 w 368"/>
                    <a:gd name="T71" fmla="*/ 1 h 176"/>
                    <a:gd name="T72" fmla="*/ 1 w 368"/>
                    <a:gd name="T73" fmla="*/ 0 h 176"/>
                    <a:gd name="T74" fmla="*/ 1 w 368"/>
                    <a:gd name="T75" fmla="*/ 1 h 176"/>
                    <a:gd name="T76" fmla="*/ 1 w 368"/>
                    <a:gd name="T77" fmla="*/ 1 h 176"/>
                    <a:gd name="T78" fmla="*/ 1 w 368"/>
                    <a:gd name="T79" fmla="*/ 1 h 176"/>
                    <a:gd name="T80" fmla="*/ 1 w 368"/>
                    <a:gd name="T81" fmla="*/ 1 h 176"/>
                    <a:gd name="T82" fmla="*/ 1 w 368"/>
                    <a:gd name="T83" fmla="*/ 1 h 176"/>
                    <a:gd name="T84" fmla="*/ 1 w 368"/>
                    <a:gd name="T85" fmla="*/ 1 h 176"/>
                    <a:gd name="T86" fmla="*/ 1 w 368"/>
                    <a:gd name="T87" fmla="*/ 1 h 176"/>
                    <a:gd name="T88" fmla="*/ 1 w 368"/>
                    <a:gd name="T89" fmla="*/ 1 h 176"/>
                    <a:gd name="T90" fmla="*/ 1 w 368"/>
                    <a:gd name="T91" fmla="*/ 1 h 176"/>
                    <a:gd name="T92" fmla="*/ 1 w 368"/>
                    <a:gd name="T93" fmla="*/ 1 h 176"/>
                    <a:gd name="T94" fmla="*/ 1 w 368"/>
                    <a:gd name="T95" fmla="*/ 1 h 176"/>
                    <a:gd name="T96" fmla="*/ 1 w 368"/>
                    <a:gd name="T97" fmla="*/ 1 h 176"/>
                    <a:gd name="T98" fmla="*/ 1 w 368"/>
                    <a:gd name="T99" fmla="*/ 1 h 176"/>
                    <a:gd name="T100" fmla="*/ 1 w 368"/>
                    <a:gd name="T101" fmla="*/ 0 h 176"/>
                    <a:gd name="T102" fmla="*/ 1 w 368"/>
                    <a:gd name="T103" fmla="*/ 0 h 176"/>
                    <a:gd name="T104" fmla="*/ 1 w 368"/>
                    <a:gd name="T105" fmla="*/ 0 h 17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368"/>
                    <a:gd name="T160" fmla="*/ 0 h 176"/>
                    <a:gd name="T161" fmla="*/ 368 w 368"/>
                    <a:gd name="T162" fmla="*/ 176 h 176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368" h="176">
                      <a:moveTo>
                        <a:pt x="256" y="0"/>
                      </a:moveTo>
                      <a:lnTo>
                        <a:pt x="256" y="8"/>
                      </a:lnTo>
                      <a:lnTo>
                        <a:pt x="280" y="16"/>
                      </a:lnTo>
                      <a:lnTo>
                        <a:pt x="280" y="40"/>
                      </a:lnTo>
                      <a:lnTo>
                        <a:pt x="280" y="56"/>
                      </a:lnTo>
                      <a:lnTo>
                        <a:pt x="296" y="72"/>
                      </a:lnTo>
                      <a:lnTo>
                        <a:pt x="296" y="88"/>
                      </a:lnTo>
                      <a:lnTo>
                        <a:pt x="320" y="104"/>
                      </a:lnTo>
                      <a:lnTo>
                        <a:pt x="328" y="96"/>
                      </a:lnTo>
                      <a:lnTo>
                        <a:pt x="336" y="104"/>
                      </a:lnTo>
                      <a:lnTo>
                        <a:pt x="344" y="112"/>
                      </a:lnTo>
                      <a:lnTo>
                        <a:pt x="368" y="128"/>
                      </a:lnTo>
                      <a:lnTo>
                        <a:pt x="368" y="136"/>
                      </a:lnTo>
                      <a:lnTo>
                        <a:pt x="360" y="136"/>
                      </a:lnTo>
                      <a:lnTo>
                        <a:pt x="352" y="136"/>
                      </a:lnTo>
                      <a:lnTo>
                        <a:pt x="344" y="136"/>
                      </a:lnTo>
                      <a:lnTo>
                        <a:pt x="328" y="144"/>
                      </a:lnTo>
                      <a:lnTo>
                        <a:pt x="320" y="136"/>
                      </a:lnTo>
                      <a:lnTo>
                        <a:pt x="312" y="144"/>
                      </a:lnTo>
                      <a:lnTo>
                        <a:pt x="320" y="152"/>
                      </a:lnTo>
                      <a:lnTo>
                        <a:pt x="328" y="144"/>
                      </a:lnTo>
                      <a:lnTo>
                        <a:pt x="344" y="152"/>
                      </a:lnTo>
                      <a:lnTo>
                        <a:pt x="344" y="160"/>
                      </a:lnTo>
                      <a:lnTo>
                        <a:pt x="328" y="160"/>
                      </a:lnTo>
                      <a:lnTo>
                        <a:pt x="312" y="168"/>
                      </a:lnTo>
                      <a:lnTo>
                        <a:pt x="296" y="168"/>
                      </a:lnTo>
                      <a:lnTo>
                        <a:pt x="280" y="168"/>
                      </a:lnTo>
                      <a:lnTo>
                        <a:pt x="280" y="160"/>
                      </a:lnTo>
                      <a:lnTo>
                        <a:pt x="256" y="160"/>
                      </a:lnTo>
                      <a:lnTo>
                        <a:pt x="256" y="152"/>
                      </a:lnTo>
                      <a:lnTo>
                        <a:pt x="248" y="152"/>
                      </a:lnTo>
                      <a:lnTo>
                        <a:pt x="240" y="160"/>
                      </a:lnTo>
                      <a:lnTo>
                        <a:pt x="232" y="168"/>
                      </a:lnTo>
                      <a:lnTo>
                        <a:pt x="208" y="168"/>
                      </a:lnTo>
                      <a:lnTo>
                        <a:pt x="184" y="176"/>
                      </a:lnTo>
                      <a:lnTo>
                        <a:pt x="168" y="176"/>
                      </a:lnTo>
                      <a:lnTo>
                        <a:pt x="120" y="176"/>
                      </a:lnTo>
                      <a:lnTo>
                        <a:pt x="104" y="168"/>
                      </a:lnTo>
                      <a:lnTo>
                        <a:pt x="104" y="160"/>
                      </a:lnTo>
                      <a:lnTo>
                        <a:pt x="96" y="152"/>
                      </a:lnTo>
                      <a:lnTo>
                        <a:pt x="72" y="152"/>
                      </a:lnTo>
                      <a:lnTo>
                        <a:pt x="48" y="152"/>
                      </a:lnTo>
                      <a:lnTo>
                        <a:pt x="24" y="136"/>
                      </a:lnTo>
                      <a:lnTo>
                        <a:pt x="24" y="128"/>
                      </a:lnTo>
                      <a:lnTo>
                        <a:pt x="48" y="120"/>
                      </a:lnTo>
                      <a:lnTo>
                        <a:pt x="88" y="120"/>
                      </a:lnTo>
                      <a:lnTo>
                        <a:pt x="112" y="120"/>
                      </a:lnTo>
                      <a:lnTo>
                        <a:pt x="136" y="120"/>
                      </a:lnTo>
                      <a:lnTo>
                        <a:pt x="144" y="112"/>
                      </a:lnTo>
                      <a:lnTo>
                        <a:pt x="120" y="104"/>
                      </a:lnTo>
                      <a:lnTo>
                        <a:pt x="112" y="104"/>
                      </a:lnTo>
                      <a:lnTo>
                        <a:pt x="88" y="104"/>
                      </a:lnTo>
                      <a:lnTo>
                        <a:pt x="64" y="112"/>
                      </a:lnTo>
                      <a:lnTo>
                        <a:pt x="40" y="104"/>
                      </a:lnTo>
                      <a:lnTo>
                        <a:pt x="24" y="104"/>
                      </a:lnTo>
                      <a:lnTo>
                        <a:pt x="8" y="88"/>
                      </a:lnTo>
                      <a:lnTo>
                        <a:pt x="32" y="80"/>
                      </a:lnTo>
                      <a:lnTo>
                        <a:pt x="48" y="80"/>
                      </a:lnTo>
                      <a:lnTo>
                        <a:pt x="64" y="72"/>
                      </a:lnTo>
                      <a:lnTo>
                        <a:pt x="56" y="72"/>
                      </a:lnTo>
                      <a:lnTo>
                        <a:pt x="24" y="72"/>
                      </a:lnTo>
                      <a:lnTo>
                        <a:pt x="16" y="80"/>
                      </a:lnTo>
                      <a:lnTo>
                        <a:pt x="16" y="72"/>
                      </a:lnTo>
                      <a:lnTo>
                        <a:pt x="16" y="64"/>
                      </a:lnTo>
                      <a:lnTo>
                        <a:pt x="0" y="64"/>
                      </a:lnTo>
                      <a:lnTo>
                        <a:pt x="0" y="48"/>
                      </a:lnTo>
                      <a:lnTo>
                        <a:pt x="16" y="48"/>
                      </a:lnTo>
                      <a:lnTo>
                        <a:pt x="16" y="40"/>
                      </a:lnTo>
                      <a:lnTo>
                        <a:pt x="0" y="32"/>
                      </a:lnTo>
                      <a:lnTo>
                        <a:pt x="8" y="24"/>
                      </a:lnTo>
                      <a:lnTo>
                        <a:pt x="24" y="16"/>
                      </a:lnTo>
                      <a:lnTo>
                        <a:pt x="32" y="16"/>
                      </a:lnTo>
                      <a:lnTo>
                        <a:pt x="64" y="0"/>
                      </a:lnTo>
                      <a:lnTo>
                        <a:pt x="80" y="0"/>
                      </a:lnTo>
                      <a:lnTo>
                        <a:pt x="88" y="0"/>
                      </a:lnTo>
                      <a:lnTo>
                        <a:pt x="96" y="8"/>
                      </a:lnTo>
                      <a:lnTo>
                        <a:pt x="80" y="16"/>
                      </a:lnTo>
                      <a:lnTo>
                        <a:pt x="88" y="24"/>
                      </a:lnTo>
                      <a:lnTo>
                        <a:pt x="96" y="24"/>
                      </a:lnTo>
                      <a:lnTo>
                        <a:pt x="104" y="24"/>
                      </a:lnTo>
                      <a:lnTo>
                        <a:pt x="112" y="24"/>
                      </a:lnTo>
                      <a:lnTo>
                        <a:pt x="104" y="16"/>
                      </a:lnTo>
                      <a:lnTo>
                        <a:pt x="112" y="8"/>
                      </a:lnTo>
                      <a:lnTo>
                        <a:pt x="144" y="24"/>
                      </a:lnTo>
                      <a:lnTo>
                        <a:pt x="152" y="32"/>
                      </a:lnTo>
                      <a:lnTo>
                        <a:pt x="136" y="40"/>
                      </a:lnTo>
                      <a:lnTo>
                        <a:pt x="152" y="40"/>
                      </a:lnTo>
                      <a:lnTo>
                        <a:pt x="160" y="32"/>
                      </a:lnTo>
                      <a:lnTo>
                        <a:pt x="176" y="32"/>
                      </a:lnTo>
                      <a:lnTo>
                        <a:pt x="176" y="16"/>
                      </a:lnTo>
                      <a:lnTo>
                        <a:pt x="168" y="16"/>
                      </a:lnTo>
                      <a:lnTo>
                        <a:pt x="184" y="16"/>
                      </a:lnTo>
                      <a:lnTo>
                        <a:pt x="200" y="24"/>
                      </a:lnTo>
                      <a:lnTo>
                        <a:pt x="208" y="40"/>
                      </a:lnTo>
                      <a:lnTo>
                        <a:pt x="208" y="64"/>
                      </a:lnTo>
                      <a:lnTo>
                        <a:pt x="216" y="64"/>
                      </a:lnTo>
                      <a:lnTo>
                        <a:pt x="232" y="56"/>
                      </a:lnTo>
                      <a:lnTo>
                        <a:pt x="224" y="48"/>
                      </a:lnTo>
                      <a:lnTo>
                        <a:pt x="224" y="32"/>
                      </a:lnTo>
                      <a:lnTo>
                        <a:pt x="224" y="24"/>
                      </a:lnTo>
                      <a:lnTo>
                        <a:pt x="216" y="8"/>
                      </a:lnTo>
                      <a:lnTo>
                        <a:pt x="216" y="0"/>
                      </a:lnTo>
                      <a:lnTo>
                        <a:pt x="224" y="0"/>
                      </a:lnTo>
                      <a:lnTo>
                        <a:pt x="232" y="0"/>
                      </a:lnTo>
                      <a:lnTo>
                        <a:pt x="240" y="0"/>
                      </a:lnTo>
                      <a:lnTo>
                        <a:pt x="256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41" name="Freeform 37"/>
                <p:cNvSpPr>
                  <a:spLocks noChangeAspect="1"/>
                </p:cNvSpPr>
                <p:nvPr/>
              </p:nvSpPr>
              <p:spPr bwMode="auto">
                <a:xfrm>
                  <a:off x="1197" y="1553"/>
                  <a:ext cx="39" cy="11"/>
                </a:xfrm>
                <a:custGeom>
                  <a:avLst/>
                  <a:gdLst>
                    <a:gd name="T0" fmla="*/ 1 w 56"/>
                    <a:gd name="T1" fmla="*/ 0 h 16"/>
                    <a:gd name="T2" fmla="*/ 1 w 56"/>
                    <a:gd name="T3" fmla="*/ 0 h 16"/>
                    <a:gd name="T4" fmla="*/ 1 w 56"/>
                    <a:gd name="T5" fmla="*/ 1 h 16"/>
                    <a:gd name="T6" fmla="*/ 1 w 56"/>
                    <a:gd name="T7" fmla="*/ 1 h 16"/>
                    <a:gd name="T8" fmla="*/ 1 w 56"/>
                    <a:gd name="T9" fmla="*/ 1 h 16"/>
                    <a:gd name="T10" fmla="*/ 1 w 56"/>
                    <a:gd name="T11" fmla="*/ 1 h 16"/>
                    <a:gd name="T12" fmla="*/ 0 w 56"/>
                    <a:gd name="T13" fmla="*/ 1 h 16"/>
                    <a:gd name="T14" fmla="*/ 1 w 56"/>
                    <a:gd name="T15" fmla="*/ 1 h 16"/>
                    <a:gd name="T16" fmla="*/ 1 w 56"/>
                    <a:gd name="T17" fmla="*/ 1 h 16"/>
                    <a:gd name="T18" fmla="*/ 1 w 56"/>
                    <a:gd name="T19" fmla="*/ 0 h 1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56"/>
                    <a:gd name="T31" fmla="*/ 0 h 16"/>
                    <a:gd name="T32" fmla="*/ 56 w 56"/>
                    <a:gd name="T33" fmla="*/ 16 h 1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56" h="16">
                      <a:moveTo>
                        <a:pt x="48" y="0"/>
                      </a:moveTo>
                      <a:lnTo>
                        <a:pt x="56" y="0"/>
                      </a:lnTo>
                      <a:lnTo>
                        <a:pt x="56" y="8"/>
                      </a:lnTo>
                      <a:lnTo>
                        <a:pt x="48" y="8"/>
                      </a:lnTo>
                      <a:lnTo>
                        <a:pt x="40" y="16"/>
                      </a:lnTo>
                      <a:lnTo>
                        <a:pt x="16" y="16"/>
                      </a:lnTo>
                      <a:lnTo>
                        <a:pt x="0" y="16"/>
                      </a:lnTo>
                      <a:lnTo>
                        <a:pt x="8" y="8"/>
                      </a:lnTo>
                      <a:lnTo>
                        <a:pt x="32" y="8"/>
                      </a:lnTo>
                      <a:lnTo>
                        <a:pt x="48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42" name="Freeform 38"/>
                <p:cNvSpPr>
                  <a:spLocks noChangeAspect="1"/>
                </p:cNvSpPr>
                <p:nvPr/>
              </p:nvSpPr>
              <p:spPr bwMode="auto">
                <a:xfrm>
                  <a:off x="949" y="1395"/>
                  <a:ext cx="146" cy="102"/>
                </a:xfrm>
                <a:custGeom>
                  <a:avLst/>
                  <a:gdLst>
                    <a:gd name="T0" fmla="*/ 1 w 208"/>
                    <a:gd name="T1" fmla="*/ 1 h 144"/>
                    <a:gd name="T2" fmla="*/ 1 w 208"/>
                    <a:gd name="T3" fmla="*/ 1 h 144"/>
                    <a:gd name="T4" fmla="*/ 1 w 208"/>
                    <a:gd name="T5" fmla="*/ 1 h 144"/>
                    <a:gd name="T6" fmla="*/ 1 w 208"/>
                    <a:gd name="T7" fmla="*/ 1 h 144"/>
                    <a:gd name="T8" fmla="*/ 1 w 208"/>
                    <a:gd name="T9" fmla="*/ 1 h 144"/>
                    <a:gd name="T10" fmla="*/ 1 w 208"/>
                    <a:gd name="T11" fmla="*/ 1 h 144"/>
                    <a:gd name="T12" fmla="*/ 1 w 208"/>
                    <a:gd name="T13" fmla="*/ 1 h 144"/>
                    <a:gd name="T14" fmla="*/ 1 w 208"/>
                    <a:gd name="T15" fmla="*/ 1 h 144"/>
                    <a:gd name="T16" fmla="*/ 1 w 208"/>
                    <a:gd name="T17" fmla="*/ 1 h 144"/>
                    <a:gd name="T18" fmla="*/ 1 w 208"/>
                    <a:gd name="T19" fmla="*/ 1 h 144"/>
                    <a:gd name="T20" fmla="*/ 1 w 208"/>
                    <a:gd name="T21" fmla="*/ 1 h 144"/>
                    <a:gd name="T22" fmla="*/ 1 w 208"/>
                    <a:gd name="T23" fmla="*/ 1 h 144"/>
                    <a:gd name="T24" fmla="*/ 1 w 208"/>
                    <a:gd name="T25" fmla="*/ 1 h 144"/>
                    <a:gd name="T26" fmla="*/ 1 w 208"/>
                    <a:gd name="T27" fmla="*/ 1 h 144"/>
                    <a:gd name="T28" fmla="*/ 1 w 208"/>
                    <a:gd name="T29" fmla="*/ 1 h 144"/>
                    <a:gd name="T30" fmla="*/ 1 w 208"/>
                    <a:gd name="T31" fmla="*/ 1 h 144"/>
                    <a:gd name="T32" fmla="*/ 0 w 208"/>
                    <a:gd name="T33" fmla="*/ 1 h 144"/>
                    <a:gd name="T34" fmla="*/ 0 w 208"/>
                    <a:gd name="T35" fmla="*/ 1 h 144"/>
                    <a:gd name="T36" fmla="*/ 1 w 208"/>
                    <a:gd name="T37" fmla="*/ 1 h 144"/>
                    <a:gd name="T38" fmla="*/ 1 w 208"/>
                    <a:gd name="T39" fmla="*/ 1 h 144"/>
                    <a:gd name="T40" fmla="*/ 1 w 208"/>
                    <a:gd name="T41" fmla="*/ 1 h 144"/>
                    <a:gd name="T42" fmla="*/ 1 w 208"/>
                    <a:gd name="T43" fmla="*/ 1 h 144"/>
                    <a:gd name="T44" fmla="*/ 1 w 208"/>
                    <a:gd name="T45" fmla="*/ 1 h 144"/>
                    <a:gd name="T46" fmla="*/ 1 w 208"/>
                    <a:gd name="T47" fmla="*/ 1 h 144"/>
                    <a:gd name="T48" fmla="*/ 1 w 208"/>
                    <a:gd name="T49" fmla="*/ 1 h 144"/>
                    <a:gd name="T50" fmla="*/ 1 w 208"/>
                    <a:gd name="T51" fmla="*/ 1 h 144"/>
                    <a:gd name="T52" fmla="*/ 1 w 208"/>
                    <a:gd name="T53" fmla="*/ 1 h 144"/>
                    <a:gd name="T54" fmla="*/ 1 w 208"/>
                    <a:gd name="T55" fmla="*/ 1 h 144"/>
                    <a:gd name="T56" fmla="*/ 1 w 208"/>
                    <a:gd name="T57" fmla="*/ 0 h 144"/>
                    <a:gd name="T58" fmla="*/ 1 w 208"/>
                    <a:gd name="T59" fmla="*/ 0 h 144"/>
                    <a:gd name="T60" fmla="*/ 1 w 208"/>
                    <a:gd name="T61" fmla="*/ 0 h 144"/>
                    <a:gd name="T62" fmla="*/ 1 w 208"/>
                    <a:gd name="T63" fmla="*/ 1 h 144"/>
                    <a:gd name="T64" fmla="*/ 1 w 208"/>
                    <a:gd name="T65" fmla="*/ 1 h 144"/>
                    <a:gd name="T66" fmla="*/ 1 w 208"/>
                    <a:gd name="T67" fmla="*/ 1 h 144"/>
                    <a:gd name="T68" fmla="*/ 1 w 208"/>
                    <a:gd name="T69" fmla="*/ 1 h 144"/>
                    <a:gd name="T70" fmla="*/ 1 w 208"/>
                    <a:gd name="T71" fmla="*/ 1 h 144"/>
                    <a:gd name="T72" fmla="*/ 1 w 208"/>
                    <a:gd name="T73" fmla="*/ 1 h 144"/>
                    <a:gd name="T74" fmla="*/ 1 w 208"/>
                    <a:gd name="T75" fmla="*/ 1 h 144"/>
                    <a:gd name="T76" fmla="*/ 1 w 208"/>
                    <a:gd name="T77" fmla="*/ 1 h 144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208"/>
                    <a:gd name="T118" fmla="*/ 0 h 144"/>
                    <a:gd name="T119" fmla="*/ 208 w 208"/>
                    <a:gd name="T120" fmla="*/ 144 h 144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208" h="144">
                      <a:moveTo>
                        <a:pt x="208" y="48"/>
                      </a:moveTo>
                      <a:lnTo>
                        <a:pt x="200" y="48"/>
                      </a:lnTo>
                      <a:lnTo>
                        <a:pt x="192" y="56"/>
                      </a:lnTo>
                      <a:lnTo>
                        <a:pt x="160" y="72"/>
                      </a:lnTo>
                      <a:lnTo>
                        <a:pt x="152" y="72"/>
                      </a:lnTo>
                      <a:lnTo>
                        <a:pt x="128" y="88"/>
                      </a:lnTo>
                      <a:lnTo>
                        <a:pt x="128" y="96"/>
                      </a:lnTo>
                      <a:lnTo>
                        <a:pt x="120" y="96"/>
                      </a:lnTo>
                      <a:lnTo>
                        <a:pt x="104" y="104"/>
                      </a:lnTo>
                      <a:lnTo>
                        <a:pt x="104" y="120"/>
                      </a:lnTo>
                      <a:lnTo>
                        <a:pt x="88" y="128"/>
                      </a:lnTo>
                      <a:lnTo>
                        <a:pt x="72" y="136"/>
                      </a:lnTo>
                      <a:lnTo>
                        <a:pt x="56" y="144"/>
                      </a:lnTo>
                      <a:lnTo>
                        <a:pt x="48" y="144"/>
                      </a:lnTo>
                      <a:lnTo>
                        <a:pt x="40" y="128"/>
                      </a:lnTo>
                      <a:lnTo>
                        <a:pt x="8" y="112"/>
                      </a:lnTo>
                      <a:lnTo>
                        <a:pt x="0" y="112"/>
                      </a:lnTo>
                      <a:lnTo>
                        <a:pt x="0" y="96"/>
                      </a:lnTo>
                      <a:lnTo>
                        <a:pt x="16" y="88"/>
                      </a:lnTo>
                      <a:lnTo>
                        <a:pt x="16" y="80"/>
                      </a:lnTo>
                      <a:lnTo>
                        <a:pt x="8" y="80"/>
                      </a:lnTo>
                      <a:lnTo>
                        <a:pt x="8" y="72"/>
                      </a:lnTo>
                      <a:lnTo>
                        <a:pt x="16" y="72"/>
                      </a:lnTo>
                      <a:lnTo>
                        <a:pt x="24" y="64"/>
                      </a:lnTo>
                      <a:lnTo>
                        <a:pt x="16" y="56"/>
                      </a:lnTo>
                      <a:lnTo>
                        <a:pt x="16" y="48"/>
                      </a:lnTo>
                      <a:lnTo>
                        <a:pt x="32" y="40"/>
                      </a:lnTo>
                      <a:lnTo>
                        <a:pt x="24" y="8"/>
                      </a:lnTo>
                      <a:lnTo>
                        <a:pt x="64" y="0"/>
                      </a:lnTo>
                      <a:lnTo>
                        <a:pt x="80" y="0"/>
                      </a:lnTo>
                      <a:lnTo>
                        <a:pt x="96" y="0"/>
                      </a:lnTo>
                      <a:lnTo>
                        <a:pt x="120" y="16"/>
                      </a:lnTo>
                      <a:lnTo>
                        <a:pt x="128" y="16"/>
                      </a:lnTo>
                      <a:lnTo>
                        <a:pt x="136" y="16"/>
                      </a:lnTo>
                      <a:lnTo>
                        <a:pt x="136" y="24"/>
                      </a:lnTo>
                      <a:lnTo>
                        <a:pt x="144" y="16"/>
                      </a:lnTo>
                      <a:lnTo>
                        <a:pt x="168" y="8"/>
                      </a:lnTo>
                      <a:lnTo>
                        <a:pt x="208" y="40"/>
                      </a:lnTo>
                      <a:lnTo>
                        <a:pt x="208" y="4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43" name="Freeform 39"/>
                <p:cNvSpPr>
                  <a:spLocks noChangeAspect="1"/>
                </p:cNvSpPr>
                <p:nvPr/>
              </p:nvSpPr>
              <p:spPr bwMode="auto">
                <a:xfrm>
                  <a:off x="1287" y="1418"/>
                  <a:ext cx="90" cy="73"/>
                </a:xfrm>
                <a:custGeom>
                  <a:avLst/>
                  <a:gdLst>
                    <a:gd name="T0" fmla="*/ 1 w 128"/>
                    <a:gd name="T1" fmla="*/ 0 h 104"/>
                    <a:gd name="T2" fmla="*/ 1 w 128"/>
                    <a:gd name="T3" fmla="*/ 0 h 104"/>
                    <a:gd name="T4" fmla="*/ 1 w 128"/>
                    <a:gd name="T5" fmla="*/ 1 h 104"/>
                    <a:gd name="T6" fmla="*/ 1 w 128"/>
                    <a:gd name="T7" fmla="*/ 1 h 104"/>
                    <a:gd name="T8" fmla="*/ 1 w 128"/>
                    <a:gd name="T9" fmla="*/ 0 h 104"/>
                    <a:gd name="T10" fmla="*/ 1 w 128"/>
                    <a:gd name="T11" fmla="*/ 0 h 104"/>
                    <a:gd name="T12" fmla="*/ 1 w 128"/>
                    <a:gd name="T13" fmla="*/ 0 h 104"/>
                    <a:gd name="T14" fmla="*/ 1 w 128"/>
                    <a:gd name="T15" fmla="*/ 1 h 104"/>
                    <a:gd name="T16" fmla="*/ 1 w 128"/>
                    <a:gd name="T17" fmla="*/ 1 h 104"/>
                    <a:gd name="T18" fmla="*/ 1 w 128"/>
                    <a:gd name="T19" fmla="*/ 1 h 104"/>
                    <a:gd name="T20" fmla="*/ 1 w 128"/>
                    <a:gd name="T21" fmla="*/ 1 h 104"/>
                    <a:gd name="T22" fmla="*/ 1 w 128"/>
                    <a:gd name="T23" fmla="*/ 1 h 104"/>
                    <a:gd name="T24" fmla="*/ 1 w 128"/>
                    <a:gd name="T25" fmla="*/ 1 h 104"/>
                    <a:gd name="T26" fmla="*/ 1 w 128"/>
                    <a:gd name="T27" fmla="*/ 1 h 104"/>
                    <a:gd name="T28" fmla="*/ 1 w 128"/>
                    <a:gd name="T29" fmla="*/ 1 h 104"/>
                    <a:gd name="T30" fmla="*/ 1 w 128"/>
                    <a:gd name="T31" fmla="*/ 1 h 104"/>
                    <a:gd name="T32" fmla="*/ 1 w 128"/>
                    <a:gd name="T33" fmla="*/ 1 h 104"/>
                    <a:gd name="T34" fmla="*/ 1 w 128"/>
                    <a:gd name="T35" fmla="*/ 1 h 104"/>
                    <a:gd name="T36" fmla="*/ 0 w 128"/>
                    <a:gd name="T37" fmla="*/ 1 h 104"/>
                    <a:gd name="T38" fmla="*/ 0 w 128"/>
                    <a:gd name="T39" fmla="*/ 1 h 104"/>
                    <a:gd name="T40" fmla="*/ 0 w 128"/>
                    <a:gd name="T41" fmla="*/ 1 h 104"/>
                    <a:gd name="T42" fmla="*/ 1 w 128"/>
                    <a:gd name="T43" fmla="*/ 1 h 104"/>
                    <a:gd name="T44" fmla="*/ 1 w 128"/>
                    <a:gd name="T45" fmla="*/ 1 h 104"/>
                    <a:gd name="T46" fmla="*/ 1 w 128"/>
                    <a:gd name="T47" fmla="*/ 1 h 104"/>
                    <a:gd name="T48" fmla="*/ 1 w 128"/>
                    <a:gd name="T49" fmla="*/ 1 h 104"/>
                    <a:gd name="T50" fmla="*/ 1 w 128"/>
                    <a:gd name="T51" fmla="*/ 1 h 104"/>
                    <a:gd name="T52" fmla="*/ 1 w 128"/>
                    <a:gd name="T53" fmla="*/ 1 h 104"/>
                    <a:gd name="T54" fmla="*/ 1 w 128"/>
                    <a:gd name="T55" fmla="*/ 1 h 104"/>
                    <a:gd name="T56" fmla="*/ 1 w 128"/>
                    <a:gd name="T57" fmla="*/ 1 h 104"/>
                    <a:gd name="T58" fmla="*/ 1 w 128"/>
                    <a:gd name="T59" fmla="*/ 1 h 104"/>
                    <a:gd name="T60" fmla="*/ 1 w 128"/>
                    <a:gd name="T61" fmla="*/ 1 h 104"/>
                    <a:gd name="T62" fmla="*/ 1 w 128"/>
                    <a:gd name="T63" fmla="*/ 1 h 104"/>
                    <a:gd name="T64" fmla="*/ 1 w 128"/>
                    <a:gd name="T65" fmla="*/ 1 h 104"/>
                    <a:gd name="T66" fmla="*/ 1 w 128"/>
                    <a:gd name="T67" fmla="*/ 1 h 104"/>
                    <a:gd name="T68" fmla="*/ 1 w 128"/>
                    <a:gd name="T69" fmla="*/ 1 h 104"/>
                    <a:gd name="T70" fmla="*/ 1 w 128"/>
                    <a:gd name="T71" fmla="*/ 1 h 104"/>
                    <a:gd name="T72" fmla="*/ 1 w 128"/>
                    <a:gd name="T73" fmla="*/ 1 h 104"/>
                    <a:gd name="T74" fmla="*/ 1 w 128"/>
                    <a:gd name="T75" fmla="*/ 1 h 104"/>
                    <a:gd name="T76" fmla="*/ 1 w 128"/>
                    <a:gd name="T77" fmla="*/ 1 h 104"/>
                    <a:gd name="T78" fmla="*/ 1 w 128"/>
                    <a:gd name="T79" fmla="*/ 1 h 104"/>
                    <a:gd name="T80" fmla="*/ 1 w 128"/>
                    <a:gd name="T81" fmla="*/ 1 h 104"/>
                    <a:gd name="T82" fmla="*/ 1 w 128"/>
                    <a:gd name="T83" fmla="*/ 1 h 104"/>
                    <a:gd name="T84" fmla="*/ 1 w 128"/>
                    <a:gd name="T85" fmla="*/ 1 h 104"/>
                    <a:gd name="T86" fmla="*/ 1 w 128"/>
                    <a:gd name="T87" fmla="*/ 1 h 104"/>
                    <a:gd name="T88" fmla="*/ 1 w 128"/>
                    <a:gd name="T89" fmla="*/ 0 h 104"/>
                    <a:gd name="T90" fmla="*/ 1 w 128"/>
                    <a:gd name="T91" fmla="*/ 0 h 104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128"/>
                    <a:gd name="T139" fmla="*/ 0 h 104"/>
                    <a:gd name="T140" fmla="*/ 128 w 128"/>
                    <a:gd name="T141" fmla="*/ 104 h 104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128" h="104">
                      <a:moveTo>
                        <a:pt x="96" y="0"/>
                      </a:moveTo>
                      <a:lnTo>
                        <a:pt x="88" y="0"/>
                      </a:lnTo>
                      <a:lnTo>
                        <a:pt x="80" y="8"/>
                      </a:lnTo>
                      <a:lnTo>
                        <a:pt x="64" y="8"/>
                      </a:lnTo>
                      <a:lnTo>
                        <a:pt x="56" y="0"/>
                      </a:lnTo>
                      <a:lnTo>
                        <a:pt x="40" y="0"/>
                      </a:lnTo>
                      <a:lnTo>
                        <a:pt x="32" y="0"/>
                      </a:lnTo>
                      <a:lnTo>
                        <a:pt x="32" y="8"/>
                      </a:lnTo>
                      <a:lnTo>
                        <a:pt x="40" y="16"/>
                      </a:lnTo>
                      <a:lnTo>
                        <a:pt x="32" y="16"/>
                      </a:lnTo>
                      <a:lnTo>
                        <a:pt x="32" y="24"/>
                      </a:lnTo>
                      <a:lnTo>
                        <a:pt x="48" y="24"/>
                      </a:lnTo>
                      <a:lnTo>
                        <a:pt x="48" y="32"/>
                      </a:lnTo>
                      <a:lnTo>
                        <a:pt x="40" y="32"/>
                      </a:lnTo>
                      <a:lnTo>
                        <a:pt x="48" y="48"/>
                      </a:lnTo>
                      <a:lnTo>
                        <a:pt x="40" y="48"/>
                      </a:lnTo>
                      <a:lnTo>
                        <a:pt x="32" y="48"/>
                      </a:lnTo>
                      <a:lnTo>
                        <a:pt x="16" y="40"/>
                      </a:lnTo>
                      <a:lnTo>
                        <a:pt x="0" y="40"/>
                      </a:lnTo>
                      <a:lnTo>
                        <a:pt x="0" y="48"/>
                      </a:lnTo>
                      <a:lnTo>
                        <a:pt x="0" y="56"/>
                      </a:lnTo>
                      <a:lnTo>
                        <a:pt x="16" y="64"/>
                      </a:lnTo>
                      <a:lnTo>
                        <a:pt x="24" y="72"/>
                      </a:lnTo>
                      <a:lnTo>
                        <a:pt x="40" y="72"/>
                      </a:lnTo>
                      <a:lnTo>
                        <a:pt x="40" y="80"/>
                      </a:lnTo>
                      <a:lnTo>
                        <a:pt x="56" y="80"/>
                      </a:lnTo>
                      <a:lnTo>
                        <a:pt x="64" y="104"/>
                      </a:lnTo>
                      <a:lnTo>
                        <a:pt x="88" y="104"/>
                      </a:lnTo>
                      <a:lnTo>
                        <a:pt x="88" y="96"/>
                      </a:lnTo>
                      <a:lnTo>
                        <a:pt x="80" y="96"/>
                      </a:lnTo>
                      <a:lnTo>
                        <a:pt x="80" y="88"/>
                      </a:lnTo>
                      <a:lnTo>
                        <a:pt x="96" y="96"/>
                      </a:lnTo>
                      <a:lnTo>
                        <a:pt x="120" y="88"/>
                      </a:lnTo>
                      <a:lnTo>
                        <a:pt x="120" y="80"/>
                      </a:lnTo>
                      <a:lnTo>
                        <a:pt x="120" y="64"/>
                      </a:lnTo>
                      <a:lnTo>
                        <a:pt x="128" y="56"/>
                      </a:lnTo>
                      <a:lnTo>
                        <a:pt x="120" y="56"/>
                      </a:lnTo>
                      <a:lnTo>
                        <a:pt x="120" y="48"/>
                      </a:lnTo>
                      <a:lnTo>
                        <a:pt x="104" y="48"/>
                      </a:lnTo>
                      <a:lnTo>
                        <a:pt x="104" y="40"/>
                      </a:lnTo>
                      <a:lnTo>
                        <a:pt x="80" y="40"/>
                      </a:lnTo>
                      <a:lnTo>
                        <a:pt x="88" y="32"/>
                      </a:lnTo>
                      <a:lnTo>
                        <a:pt x="104" y="16"/>
                      </a:lnTo>
                      <a:lnTo>
                        <a:pt x="112" y="8"/>
                      </a:lnTo>
                      <a:lnTo>
                        <a:pt x="112" y="0"/>
                      </a:lnTo>
                      <a:lnTo>
                        <a:pt x="96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44" name="Freeform 40"/>
                <p:cNvSpPr>
                  <a:spLocks noChangeAspect="1"/>
                </p:cNvSpPr>
                <p:nvPr/>
              </p:nvSpPr>
              <p:spPr bwMode="auto">
                <a:xfrm>
                  <a:off x="1219" y="1418"/>
                  <a:ext cx="34" cy="22"/>
                </a:xfrm>
                <a:custGeom>
                  <a:avLst/>
                  <a:gdLst>
                    <a:gd name="T0" fmla="*/ 0 w 48"/>
                    <a:gd name="T1" fmla="*/ 1 h 32"/>
                    <a:gd name="T2" fmla="*/ 1 w 48"/>
                    <a:gd name="T3" fmla="*/ 1 h 32"/>
                    <a:gd name="T4" fmla="*/ 1 w 48"/>
                    <a:gd name="T5" fmla="*/ 1 h 32"/>
                    <a:gd name="T6" fmla="*/ 1 w 48"/>
                    <a:gd name="T7" fmla="*/ 1 h 32"/>
                    <a:gd name="T8" fmla="*/ 1 w 48"/>
                    <a:gd name="T9" fmla="*/ 1 h 32"/>
                    <a:gd name="T10" fmla="*/ 1 w 48"/>
                    <a:gd name="T11" fmla="*/ 1 h 32"/>
                    <a:gd name="T12" fmla="*/ 1 w 48"/>
                    <a:gd name="T13" fmla="*/ 0 h 32"/>
                    <a:gd name="T14" fmla="*/ 1 w 48"/>
                    <a:gd name="T15" fmla="*/ 1 h 32"/>
                    <a:gd name="T16" fmla="*/ 0 w 48"/>
                    <a:gd name="T17" fmla="*/ 1 h 3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48"/>
                    <a:gd name="T28" fmla="*/ 0 h 32"/>
                    <a:gd name="T29" fmla="*/ 48 w 48"/>
                    <a:gd name="T30" fmla="*/ 32 h 32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48" h="32">
                      <a:moveTo>
                        <a:pt x="0" y="16"/>
                      </a:moveTo>
                      <a:lnTo>
                        <a:pt x="16" y="24"/>
                      </a:lnTo>
                      <a:lnTo>
                        <a:pt x="32" y="32"/>
                      </a:lnTo>
                      <a:lnTo>
                        <a:pt x="40" y="32"/>
                      </a:lnTo>
                      <a:lnTo>
                        <a:pt x="48" y="8"/>
                      </a:lnTo>
                      <a:lnTo>
                        <a:pt x="40" y="8"/>
                      </a:lnTo>
                      <a:lnTo>
                        <a:pt x="32" y="0"/>
                      </a:lnTo>
                      <a:lnTo>
                        <a:pt x="8" y="8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45" name="Freeform 41"/>
                <p:cNvSpPr>
                  <a:spLocks noChangeAspect="1"/>
                </p:cNvSpPr>
                <p:nvPr/>
              </p:nvSpPr>
              <p:spPr bwMode="auto">
                <a:xfrm>
                  <a:off x="1382" y="1407"/>
                  <a:ext cx="79" cy="67"/>
                </a:xfrm>
                <a:custGeom>
                  <a:avLst/>
                  <a:gdLst>
                    <a:gd name="T0" fmla="*/ 1 w 112"/>
                    <a:gd name="T1" fmla="*/ 1 h 96"/>
                    <a:gd name="T2" fmla="*/ 1 w 112"/>
                    <a:gd name="T3" fmla="*/ 1 h 96"/>
                    <a:gd name="T4" fmla="*/ 1 w 112"/>
                    <a:gd name="T5" fmla="*/ 1 h 96"/>
                    <a:gd name="T6" fmla="*/ 1 w 112"/>
                    <a:gd name="T7" fmla="*/ 1 h 96"/>
                    <a:gd name="T8" fmla="*/ 1 w 112"/>
                    <a:gd name="T9" fmla="*/ 1 h 96"/>
                    <a:gd name="T10" fmla="*/ 1 w 112"/>
                    <a:gd name="T11" fmla="*/ 1 h 96"/>
                    <a:gd name="T12" fmla="*/ 1 w 112"/>
                    <a:gd name="T13" fmla="*/ 1 h 96"/>
                    <a:gd name="T14" fmla="*/ 1 w 112"/>
                    <a:gd name="T15" fmla="*/ 1 h 96"/>
                    <a:gd name="T16" fmla="*/ 1 w 112"/>
                    <a:gd name="T17" fmla="*/ 1 h 96"/>
                    <a:gd name="T18" fmla="*/ 1 w 112"/>
                    <a:gd name="T19" fmla="*/ 1 h 96"/>
                    <a:gd name="T20" fmla="*/ 1 w 112"/>
                    <a:gd name="T21" fmla="*/ 1 h 96"/>
                    <a:gd name="T22" fmla="*/ 1 w 112"/>
                    <a:gd name="T23" fmla="*/ 1 h 96"/>
                    <a:gd name="T24" fmla="*/ 1 w 112"/>
                    <a:gd name="T25" fmla="*/ 1 h 96"/>
                    <a:gd name="T26" fmla="*/ 1 w 112"/>
                    <a:gd name="T27" fmla="*/ 0 h 96"/>
                    <a:gd name="T28" fmla="*/ 1 w 112"/>
                    <a:gd name="T29" fmla="*/ 0 h 96"/>
                    <a:gd name="T30" fmla="*/ 1 w 112"/>
                    <a:gd name="T31" fmla="*/ 0 h 96"/>
                    <a:gd name="T32" fmla="*/ 1 w 112"/>
                    <a:gd name="T33" fmla="*/ 1 h 96"/>
                    <a:gd name="T34" fmla="*/ 1 w 112"/>
                    <a:gd name="T35" fmla="*/ 1 h 96"/>
                    <a:gd name="T36" fmla="*/ 1 w 112"/>
                    <a:gd name="T37" fmla="*/ 1 h 96"/>
                    <a:gd name="T38" fmla="*/ 0 w 112"/>
                    <a:gd name="T39" fmla="*/ 1 h 96"/>
                    <a:gd name="T40" fmla="*/ 1 w 112"/>
                    <a:gd name="T41" fmla="*/ 1 h 96"/>
                    <a:gd name="T42" fmla="*/ 0 w 112"/>
                    <a:gd name="T43" fmla="*/ 1 h 96"/>
                    <a:gd name="T44" fmla="*/ 1 w 112"/>
                    <a:gd name="T45" fmla="*/ 1 h 96"/>
                    <a:gd name="T46" fmla="*/ 1 w 112"/>
                    <a:gd name="T47" fmla="*/ 1 h 9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12"/>
                    <a:gd name="T73" fmla="*/ 0 h 96"/>
                    <a:gd name="T74" fmla="*/ 112 w 112"/>
                    <a:gd name="T75" fmla="*/ 96 h 96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12" h="96">
                      <a:moveTo>
                        <a:pt x="16" y="96"/>
                      </a:moveTo>
                      <a:lnTo>
                        <a:pt x="16" y="88"/>
                      </a:lnTo>
                      <a:lnTo>
                        <a:pt x="32" y="96"/>
                      </a:lnTo>
                      <a:lnTo>
                        <a:pt x="48" y="72"/>
                      </a:lnTo>
                      <a:lnTo>
                        <a:pt x="32" y="64"/>
                      </a:lnTo>
                      <a:lnTo>
                        <a:pt x="40" y="56"/>
                      </a:lnTo>
                      <a:lnTo>
                        <a:pt x="48" y="64"/>
                      </a:lnTo>
                      <a:lnTo>
                        <a:pt x="64" y="64"/>
                      </a:lnTo>
                      <a:lnTo>
                        <a:pt x="72" y="64"/>
                      </a:lnTo>
                      <a:lnTo>
                        <a:pt x="112" y="16"/>
                      </a:lnTo>
                      <a:lnTo>
                        <a:pt x="112" y="8"/>
                      </a:lnTo>
                      <a:lnTo>
                        <a:pt x="80" y="8"/>
                      </a:lnTo>
                      <a:lnTo>
                        <a:pt x="72" y="8"/>
                      </a:lnTo>
                      <a:lnTo>
                        <a:pt x="56" y="0"/>
                      </a:lnTo>
                      <a:lnTo>
                        <a:pt x="40" y="0"/>
                      </a:lnTo>
                      <a:lnTo>
                        <a:pt x="24" y="0"/>
                      </a:lnTo>
                      <a:lnTo>
                        <a:pt x="8" y="8"/>
                      </a:lnTo>
                      <a:lnTo>
                        <a:pt x="16" y="16"/>
                      </a:lnTo>
                      <a:lnTo>
                        <a:pt x="8" y="16"/>
                      </a:lnTo>
                      <a:lnTo>
                        <a:pt x="0" y="16"/>
                      </a:lnTo>
                      <a:lnTo>
                        <a:pt x="8" y="56"/>
                      </a:lnTo>
                      <a:lnTo>
                        <a:pt x="0" y="56"/>
                      </a:lnTo>
                      <a:lnTo>
                        <a:pt x="8" y="72"/>
                      </a:lnTo>
                      <a:lnTo>
                        <a:pt x="16" y="9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46" name="Freeform 42"/>
                <p:cNvSpPr>
                  <a:spLocks noChangeAspect="1"/>
                </p:cNvSpPr>
                <p:nvPr/>
              </p:nvSpPr>
              <p:spPr bwMode="auto">
                <a:xfrm>
                  <a:off x="1337" y="1412"/>
                  <a:ext cx="17" cy="6"/>
                </a:xfrm>
                <a:custGeom>
                  <a:avLst/>
                  <a:gdLst>
                    <a:gd name="T0" fmla="*/ 0 w 24"/>
                    <a:gd name="T1" fmla="*/ 2 h 8"/>
                    <a:gd name="T2" fmla="*/ 1 w 24"/>
                    <a:gd name="T3" fmla="*/ 2 h 8"/>
                    <a:gd name="T4" fmla="*/ 1 w 24"/>
                    <a:gd name="T5" fmla="*/ 2 h 8"/>
                    <a:gd name="T6" fmla="*/ 1 w 24"/>
                    <a:gd name="T7" fmla="*/ 0 h 8"/>
                    <a:gd name="T8" fmla="*/ 1 w 24"/>
                    <a:gd name="T9" fmla="*/ 0 h 8"/>
                    <a:gd name="T10" fmla="*/ 0 w 24"/>
                    <a:gd name="T11" fmla="*/ 0 h 8"/>
                    <a:gd name="T12" fmla="*/ 0 w 24"/>
                    <a:gd name="T13" fmla="*/ 2 h 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4"/>
                    <a:gd name="T22" fmla="*/ 0 h 8"/>
                    <a:gd name="T23" fmla="*/ 24 w 24"/>
                    <a:gd name="T24" fmla="*/ 8 h 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4" h="8">
                      <a:moveTo>
                        <a:pt x="0" y="8"/>
                      </a:moveTo>
                      <a:lnTo>
                        <a:pt x="8" y="8"/>
                      </a:lnTo>
                      <a:lnTo>
                        <a:pt x="16" y="8"/>
                      </a:lnTo>
                      <a:lnTo>
                        <a:pt x="24" y="0"/>
                      </a:ln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47" name="Freeform 43"/>
                <p:cNvSpPr>
                  <a:spLocks noChangeAspect="1"/>
                </p:cNvSpPr>
                <p:nvPr/>
              </p:nvSpPr>
              <p:spPr bwMode="auto">
                <a:xfrm>
                  <a:off x="1467" y="1418"/>
                  <a:ext cx="405" cy="343"/>
                </a:xfrm>
                <a:custGeom>
                  <a:avLst/>
                  <a:gdLst>
                    <a:gd name="T0" fmla="*/ 1 w 576"/>
                    <a:gd name="T1" fmla="*/ 1 h 488"/>
                    <a:gd name="T2" fmla="*/ 0 w 576"/>
                    <a:gd name="T3" fmla="*/ 1 h 488"/>
                    <a:gd name="T4" fmla="*/ 1 w 576"/>
                    <a:gd name="T5" fmla="*/ 1 h 488"/>
                    <a:gd name="T6" fmla="*/ 1 w 576"/>
                    <a:gd name="T7" fmla="*/ 1 h 488"/>
                    <a:gd name="T8" fmla="*/ 1 w 576"/>
                    <a:gd name="T9" fmla="*/ 1 h 488"/>
                    <a:gd name="T10" fmla="*/ 1 w 576"/>
                    <a:gd name="T11" fmla="*/ 1 h 488"/>
                    <a:gd name="T12" fmla="*/ 1 w 576"/>
                    <a:gd name="T13" fmla="*/ 1 h 488"/>
                    <a:gd name="T14" fmla="*/ 1 w 576"/>
                    <a:gd name="T15" fmla="*/ 1 h 488"/>
                    <a:gd name="T16" fmla="*/ 1 w 576"/>
                    <a:gd name="T17" fmla="*/ 1 h 488"/>
                    <a:gd name="T18" fmla="*/ 1 w 576"/>
                    <a:gd name="T19" fmla="*/ 1 h 488"/>
                    <a:gd name="T20" fmla="*/ 1 w 576"/>
                    <a:gd name="T21" fmla="*/ 1 h 488"/>
                    <a:gd name="T22" fmla="*/ 1 w 576"/>
                    <a:gd name="T23" fmla="*/ 1 h 488"/>
                    <a:gd name="T24" fmla="*/ 1 w 576"/>
                    <a:gd name="T25" fmla="*/ 1 h 488"/>
                    <a:gd name="T26" fmla="*/ 1 w 576"/>
                    <a:gd name="T27" fmla="*/ 1 h 488"/>
                    <a:gd name="T28" fmla="*/ 1 w 576"/>
                    <a:gd name="T29" fmla="*/ 1 h 488"/>
                    <a:gd name="T30" fmla="*/ 1 w 576"/>
                    <a:gd name="T31" fmla="*/ 1 h 488"/>
                    <a:gd name="T32" fmla="*/ 1 w 576"/>
                    <a:gd name="T33" fmla="*/ 1 h 488"/>
                    <a:gd name="T34" fmla="*/ 1 w 576"/>
                    <a:gd name="T35" fmla="*/ 1 h 488"/>
                    <a:gd name="T36" fmla="*/ 1 w 576"/>
                    <a:gd name="T37" fmla="*/ 1 h 488"/>
                    <a:gd name="T38" fmla="*/ 1 w 576"/>
                    <a:gd name="T39" fmla="*/ 1 h 488"/>
                    <a:gd name="T40" fmla="*/ 1 w 576"/>
                    <a:gd name="T41" fmla="*/ 1 h 488"/>
                    <a:gd name="T42" fmla="*/ 1 w 576"/>
                    <a:gd name="T43" fmla="*/ 1 h 488"/>
                    <a:gd name="T44" fmla="*/ 1 w 576"/>
                    <a:gd name="T45" fmla="*/ 1 h 488"/>
                    <a:gd name="T46" fmla="*/ 1 w 576"/>
                    <a:gd name="T47" fmla="*/ 1 h 488"/>
                    <a:gd name="T48" fmla="*/ 1 w 576"/>
                    <a:gd name="T49" fmla="*/ 1 h 488"/>
                    <a:gd name="T50" fmla="*/ 1 w 576"/>
                    <a:gd name="T51" fmla="*/ 1 h 488"/>
                    <a:gd name="T52" fmla="*/ 1 w 576"/>
                    <a:gd name="T53" fmla="*/ 1 h 488"/>
                    <a:gd name="T54" fmla="*/ 1 w 576"/>
                    <a:gd name="T55" fmla="*/ 1 h 488"/>
                    <a:gd name="T56" fmla="*/ 1 w 576"/>
                    <a:gd name="T57" fmla="*/ 1 h 488"/>
                    <a:gd name="T58" fmla="*/ 1 w 576"/>
                    <a:gd name="T59" fmla="*/ 1 h 488"/>
                    <a:gd name="T60" fmla="*/ 1 w 576"/>
                    <a:gd name="T61" fmla="*/ 1 h 488"/>
                    <a:gd name="T62" fmla="*/ 1 w 576"/>
                    <a:gd name="T63" fmla="*/ 1 h 488"/>
                    <a:gd name="T64" fmla="*/ 1 w 576"/>
                    <a:gd name="T65" fmla="*/ 1 h 488"/>
                    <a:gd name="T66" fmla="*/ 1 w 576"/>
                    <a:gd name="T67" fmla="*/ 1 h 488"/>
                    <a:gd name="T68" fmla="*/ 1 w 576"/>
                    <a:gd name="T69" fmla="*/ 1 h 488"/>
                    <a:gd name="T70" fmla="*/ 1 w 576"/>
                    <a:gd name="T71" fmla="*/ 1 h 488"/>
                    <a:gd name="T72" fmla="*/ 1 w 576"/>
                    <a:gd name="T73" fmla="*/ 1 h 488"/>
                    <a:gd name="T74" fmla="*/ 1 w 576"/>
                    <a:gd name="T75" fmla="*/ 1 h 488"/>
                    <a:gd name="T76" fmla="*/ 1 w 576"/>
                    <a:gd name="T77" fmla="*/ 1 h 488"/>
                    <a:gd name="T78" fmla="*/ 1 w 576"/>
                    <a:gd name="T79" fmla="*/ 1 h 488"/>
                    <a:gd name="T80" fmla="*/ 1 w 576"/>
                    <a:gd name="T81" fmla="*/ 1 h 488"/>
                    <a:gd name="T82" fmla="*/ 1 w 576"/>
                    <a:gd name="T83" fmla="*/ 1 h 488"/>
                    <a:gd name="T84" fmla="*/ 1 w 576"/>
                    <a:gd name="T85" fmla="*/ 1 h 488"/>
                    <a:gd name="T86" fmla="*/ 1 w 576"/>
                    <a:gd name="T87" fmla="*/ 1 h 488"/>
                    <a:gd name="T88" fmla="*/ 1 w 576"/>
                    <a:gd name="T89" fmla="*/ 1 h 488"/>
                    <a:gd name="T90" fmla="*/ 1 w 576"/>
                    <a:gd name="T91" fmla="*/ 1 h 488"/>
                    <a:gd name="T92" fmla="*/ 1 w 576"/>
                    <a:gd name="T93" fmla="*/ 1 h 488"/>
                    <a:gd name="T94" fmla="*/ 1 w 576"/>
                    <a:gd name="T95" fmla="*/ 1 h 488"/>
                    <a:gd name="T96" fmla="*/ 1 w 576"/>
                    <a:gd name="T97" fmla="*/ 0 h 488"/>
                    <a:gd name="T98" fmla="*/ 1 w 576"/>
                    <a:gd name="T99" fmla="*/ 1 h 488"/>
                    <a:gd name="T100" fmla="*/ 1 w 576"/>
                    <a:gd name="T101" fmla="*/ 1 h 488"/>
                    <a:gd name="T102" fmla="*/ 1 w 576"/>
                    <a:gd name="T103" fmla="*/ 1 h 488"/>
                    <a:gd name="T104" fmla="*/ 1 w 576"/>
                    <a:gd name="T105" fmla="*/ 1 h 488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576"/>
                    <a:gd name="T160" fmla="*/ 0 h 488"/>
                    <a:gd name="T161" fmla="*/ 576 w 576"/>
                    <a:gd name="T162" fmla="*/ 488 h 488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576" h="488">
                      <a:moveTo>
                        <a:pt x="96" y="0"/>
                      </a:moveTo>
                      <a:lnTo>
                        <a:pt x="88" y="0"/>
                      </a:lnTo>
                      <a:lnTo>
                        <a:pt x="80" y="0"/>
                      </a:lnTo>
                      <a:lnTo>
                        <a:pt x="64" y="0"/>
                      </a:lnTo>
                      <a:lnTo>
                        <a:pt x="32" y="16"/>
                      </a:lnTo>
                      <a:lnTo>
                        <a:pt x="16" y="32"/>
                      </a:lnTo>
                      <a:lnTo>
                        <a:pt x="16" y="48"/>
                      </a:lnTo>
                      <a:lnTo>
                        <a:pt x="0" y="56"/>
                      </a:lnTo>
                      <a:lnTo>
                        <a:pt x="8" y="64"/>
                      </a:lnTo>
                      <a:lnTo>
                        <a:pt x="0" y="72"/>
                      </a:lnTo>
                      <a:lnTo>
                        <a:pt x="0" y="80"/>
                      </a:lnTo>
                      <a:lnTo>
                        <a:pt x="0" y="88"/>
                      </a:lnTo>
                      <a:lnTo>
                        <a:pt x="8" y="104"/>
                      </a:lnTo>
                      <a:lnTo>
                        <a:pt x="32" y="104"/>
                      </a:lnTo>
                      <a:lnTo>
                        <a:pt x="48" y="112"/>
                      </a:lnTo>
                      <a:lnTo>
                        <a:pt x="56" y="112"/>
                      </a:lnTo>
                      <a:lnTo>
                        <a:pt x="40" y="112"/>
                      </a:lnTo>
                      <a:lnTo>
                        <a:pt x="32" y="112"/>
                      </a:lnTo>
                      <a:lnTo>
                        <a:pt x="16" y="112"/>
                      </a:lnTo>
                      <a:lnTo>
                        <a:pt x="8" y="112"/>
                      </a:lnTo>
                      <a:lnTo>
                        <a:pt x="16" y="120"/>
                      </a:lnTo>
                      <a:lnTo>
                        <a:pt x="24" y="128"/>
                      </a:lnTo>
                      <a:lnTo>
                        <a:pt x="32" y="136"/>
                      </a:lnTo>
                      <a:lnTo>
                        <a:pt x="48" y="144"/>
                      </a:lnTo>
                      <a:lnTo>
                        <a:pt x="56" y="144"/>
                      </a:lnTo>
                      <a:lnTo>
                        <a:pt x="64" y="136"/>
                      </a:lnTo>
                      <a:lnTo>
                        <a:pt x="72" y="136"/>
                      </a:lnTo>
                      <a:lnTo>
                        <a:pt x="80" y="144"/>
                      </a:lnTo>
                      <a:lnTo>
                        <a:pt x="88" y="152"/>
                      </a:lnTo>
                      <a:lnTo>
                        <a:pt x="104" y="144"/>
                      </a:lnTo>
                      <a:lnTo>
                        <a:pt x="112" y="144"/>
                      </a:lnTo>
                      <a:lnTo>
                        <a:pt x="128" y="152"/>
                      </a:lnTo>
                      <a:lnTo>
                        <a:pt x="136" y="152"/>
                      </a:lnTo>
                      <a:lnTo>
                        <a:pt x="144" y="152"/>
                      </a:lnTo>
                      <a:lnTo>
                        <a:pt x="160" y="160"/>
                      </a:lnTo>
                      <a:lnTo>
                        <a:pt x="160" y="152"/>
                      </a:lnTo>
                      <a:lnTo>
                        <a:pt x="152" y="152"/>
                      </a:lnTo>
                      <a:lnTo>
                        <a:pt x="144" y="144"/>
                      </a:lnTo>
                      <a:lnTo>
                        <a:pt x="152" y="144"/>
                      </a:lnTo>
                      <a:lnTo>
                        <a:pt x="160" y="144"/>
                      </a:lnTo>
                      <a:lnTo>
                        <a:pt x="168" y="152"/>
                      </a:lnTo>
                      <a:lnTo>
                        <a:pt x="176" y="160"/>
                      </a:lnTo>
                      <a:lnTo>
                        <a:pt x="184" y="152"/>
                      </a:lnTo>
                      <a:lnTo>
                        <a:pt x="176" y="152"/>
                      </a:lnTo>
                      <a:lnTo>
                        <a:pt x="192" y="144"/>
                      </a:lnTo>
                      <a:lnTo>
                        <a:pt x="208" y="152"/>
                      </a:lnTo>
                      <a:lnTo>
                        <a:pt x="224" y="152"/>
                      </a:lnTo>
                      <a:lnTo>
                        <a:pt x="232" y="144"/>
                      </a:lnTo>
                      <a:lnTo>
                        <a:pt x="208" y="136"/>
                      </a:lnTo>
                      <a:lnTo>
                        <a:pt x="208" y="128"/>
                      </a:lnTo>
                      <a:lnTo>
                        <a:pt x="224" y="128"/>
                      </a:lnTo>
                      <a:lnTo>
                        <a:pt x="232" y="136"/>
                      </a:lnTo>
                      <a:lnTo>
                        <a:pt x="240" y="136"/>
                      </a:lnTo>
                      <a:lnTo>
                        <a:pt x="248" y="144"/>
                      </a:lnTo>
                      <a:lnTo>
                        <a:pt x="248" y="152"/>
                      </a:lnTo>
                      <a:lnTo>
                        <a:pt x="256" y="160"/>
                      </a:lnTo>
                      <a:lnTo>
                        <a:pt x="264" y="168"/>
                      </a:lnTo>
                      <a:lnTo>
                        <a:pt x="288" y="176"/>
                      </a:lnTo>
                      <a:lnTo>
                        <a:pt x="288" y="184"/>
                      </a:lnTo>
                      <a:lnTo>
                        <a:pt x="264" y="192"/>
                      </a:lnTo>
                      <a:lnTo>
                        <a:pt x="280" y="200"/>
                      </a:lnTo>
                      <a:lnTo>
                        <a:pt x="288" y="192"/>
                      </a:lnTo>
                      <a:lnTo>
                        <a:pt x="296" y="184"/>
                      </a:lnTo>
                      <a:lnTo>
                        <a:pt x="312" y="184"/>
                      </a:lnTo>
                      <a:lnTo>
                        <a:pt x="304" y="192"/>
                      </a:lnTo>
                      <a:lnTo>
                        <a:pt x="312" y="200"/>
                      </a:lnTo>
                      <a:lnTo>
                        <a:pt x="328" y="200"/>
                      </a:lnTo>
                      <a:lnTo>
                        <a:pt x="328" y="208"/>
                      </a:lnTo>
                      <a:lnTo>
                        <a:pt x="344" y="216"/>
                      </a:lnTo>
                      <a:lnTo>
                        <a:pt x="344" y="224"/>
                      </a:lnTo>
                      <a:lnTo>
                        <a:pt x="344" y="232"/>
                      </a:lnTo>
                      <a:lnTo>
                        <a:pt x="352" y="232"/>
                      </a:lnTo>
                      <a:lnTo>
                        <a:pt x="352" y="256"/>
                      </a:lnTo>
                      <a:lnTo>
                        <a:pt x="344" y="256"/>
                      </a:lnTo>
                      <a:lnTo>
                        <a:pt x="336" y="264"/>
                      </a:lnTo>
                      <a:lnTo>
                        <a:pt x="312" y="288"/>
                      </a:lnTo>
                      <a:lnTo>
                        <a:pt x="312" y="304"/>
                      </a:lnTo>
                      <a:lnTo>
                        <a:pt x="328" y="312"/>
                      </a:lnTo>
                      <a:lnTo>
                        <a:pt x="328" y="328"/>
                      </a:lnTo>
                      <a:lnTo>
                        <a:pt x="312" y="320"/>
                      </a:lnTo>
                      <a:lnTo>
                        <a:pt x="296" y="328"/>
                      </a:lnTo>
                      <a:lnTo>
                        <a:pt x="272" y="336"/>
                      </a:lnTo>
                      <a:lnTo>
                        <a:pt x="264" y="328"/>
                      </a:lnTo>
                      <a:lnTo>
                        <a:pt x="256" y="320"/>
                      </a:lnTo>
                      <a:lnTo>
                        <a:pt x="248" y="328"/>
                      </a:lnTo>
                      <a:lnTo>
                        <a:pt x="248" y="336"/>
                      </a:lnTo>
                      <a:lnTo>
                        <a:pt x="232" y="352"/>
                      </a:lnTo>
                      <a:lnTo>
                        <a:pt x="232" y="368"/>
                      </a:lnTo>
                      <a:lnTo>
                        <a:pt x="248" y="376"/>
                      </a:lnTo>
                      <a:lnTo>
                        <a:pt x="272" y="384"/>
                      </a:lnTo>
                      <a:lnTo>
                        <a:pt x="280" y="360"/>
                      </a:lnTo>
                      <a:lnTo>
                        <a:pt x="288" y="360"/>
                      </a:lnTo>
                      <a:lnTo>
                        <a:pt x="304" y="376"/>
                      </a:lnTo>
                      <a:lnTo>
                        <a:pt x="312" y="376"/>
                      </a:lnTo>
                      <a:lnTo>
                        <a:pt x="312" y="360"/>
                      </a:lnTo>
                      <a:lnTo>
                        <a:pt x="320" y="360"/>
                      </a:lnTo>
                      <a:lnTo>
                        <a:pt x="320" y="368"/>
                      </a:lnTo>
                      <a:lnTo>
                        <a:pt x="336" y="368"/>
                      </a:lnTo>
                      <a:lnTo>
                        <a:pt x="336" y="392"/>
                      </a:lnTo>
                      <a:lnTo>
                        <a:pt x="352" y="400"/>
                      </a:lnTo>
                      <a:lnTo>
                        <a:pt x="368" y="408"/>
                      </a:lnTo>
                      <a:lnTo>
                        <a:pt x="368" y="416"/>
                      </a:lnTo>
                      <a:lnTo>
                        <a:pt x="360" y="416"/>
                      </a:lnTo>
                      <a:lnTo>
                        <a:pt x="368" y="432"/>
                      </a:lnTo>
                      <a:lnTo>
                        <a:pt x="376" y="432"/>
                      </a:lnTo>
                      <a:lnTo>
                        <a:pt x="392" y="448"/>
                      </a:lnTo>
                      <a:lnTo>
                        <a:pt x="400" y="448"/>
                      </a:lnTo>
                      <a:lnTo>
                        <a:pt x="408" y="448"/>
                      </a:lnTo>
                      <a:lnTo>
                        <a:pt x="408" y="464"/>
                      </a:lnTo>
                      <a:lnTo>
                        <a:pt x="424" y="480"/>
                      </a:lnTo>
                      <a:lnTo>
                        <a:pt x="440" y="480"/>
                      </a:lnTo>
                      <a:lnTo>
                        <a:pt x="472" y="488"/>
                      </a:lnTo>
                      <a:lnTo>
                        <a:pt x="480" y="480"/>
                      </a:lnTo>
                      <a:lnTo>
                        <a:pt x="472" y="464"/>
                      </a:lnTo>
                      <a:lnTo>
                        <a:pt x="456" y="456"/>
                      </a:lnTo>
                      <a:lnTo>
                        <a:pt x="440" y="440"/>
                      </a:lnTo>
                      <a:lnTo>
                        <a:pt x="424" y="408"/>
                      </a:lnTo>
                      <a:lnTo>
                        <a:pt x="424" y="400"/>
                      </a:lnTo>
                      <a:lnTo>
                        <a:pt x="432" y="400"/>
                      </a:lnTo>
                      <a:lnTo>
                        <a:pt x="440" y="416"/>
                      </a:lnTo>
                      <a:lnTo>
                        <a:pt x="448" y="408"/>
                      </a:lnTo>
                      <a:lnTo>
                        <a:pt x="456" y="424"/>
                      </a:lnTo>
                      <a:lnTo>
                        <a:pt x="472" y="416"/>
                      </a:lnTo>
                      <a:lnTo>
                        <a:pt x="480" y="440"/>
                      </a:lnTo>
                      <a:lnTo>
                        <a:pt x="496" y="456"/>
                      </a:lnTo>
                      <a:lnTo>
                        <a:pt x="504" y="456"/>
                      </a:lnTo>
                      <a:lnTo>
                        <a:pt x="504" y="440"/>
                      </a:lnTo>
                      <a:lnTo>
                        <a:pt x="512" y="432"/>
                      </a:lnTo>
                      <a:lnTo>
                        <a:pt x="504" y="424"/>
                      </a:lnTo>
                      <a:lnTo>
                        <a:pt x="504" y="416"/>
                      </a:lnTo>
                      <a:lnTo>
                        <a:pt x="520" y="416"/>
                      </a:lnTo>
                      <a:lnTo>
                        <a:pt x="520" y="408"/>
                      </a:lnTo>
                      <a:lnTo>
                        <a:pt x="504" y="392"/>
                      </a:lnTo>
                      <a:lnTo>
                        <a:pt x="504" y="384"/>
                      </a:lnTo>
                      <a:lnTo>
                        <a:pt x="504" y="376"/>
                      </a:lnTo>
                      <a:lnTo>
                        <a:pt x="488" y="352"/>
                      </a:lnTo>
                      <a:lnTo>
                        <a:pt x="472" y="352"/>
                      </a:lnTo>
                      <a:lnTo>
                        <a:pt x="456" y="336"/>
                      </a:lnTo>
                      <a:lnTo>
                        <a:pt x="456" y="328"/>
                      </a:lnTo>
                      <a:lnTo>
                        <a:pt x="448" y="320"/>
                      </a:lnTo>
                      <a:lnTo>
                        <a:pt x="432" y="304"/>
                      </a:lnTo>
                      <a:lnTo>
                        <a:pt x="440" y="288"/>
                      </a:lnTo>
                      <a:lnTo>
                        <a:pt x="448" y="304"/>
                      </a:lnTo>
                      <a:lnTo>
                        <a:pt x="456" y="296"/>
                      </a:lnTo>
                      <a:lnTo>
                        <a:pt x="456" y="288"/>
                      </a:lnTo>
                      <a:lnTo>
                        <a:pt x="448" y="272"/>
                      </a:lnTo>
                      <a:lnTo>
                        <a:pt x="464" y="264"/>
                      </a:lnTo>
                      <a:lnTo>
                        <a:pt x="480" y="280"/>
                      </a:lnTo>
                      <a:lnTo>
                        <a:pt x="480" y="288"/>
                      </a:lnTo>
                      <a:lnTo>
                        <a:pt x="504" y="288"/>
                      </a:lnTo>
                      <a:lnTo>
                        <a:pt x="504" y="296"/>
                      </a:lnTo>
                      <a:lnTo>
                        <a:pt x="496" y="312"/>
                      </a:lnTo>
                      <a:lnTo>
                        <a:pt x="504" y="328"/>
                      </a:lnTo>
                      <a:lnTo>
                        <a:pt x="512" y="336"/>
                      </a:lnTo>
                      <a:lnTo>
                        <a:pt x="520" y="336"/>
                      </a:lnTo>
                      <a:lnTo>
                        <a:pt x="536" y="352"/>
                      </a:lnTo>
                      <a:lnTo>
                        <a:pt x="536" y="336"/>
                      </a:lnTo>
                      <a:lnTo>
                        <a:pt x="536" y="320"/>
                      </a:lnTo>
                      <a:lnTo>
                        <a:pt x="536" y="312"/>
                      </a:lnTo>
                      <a:lnTo>
                        <a:pt x="544" y="320"/>
                      </a:lnTo>
                      <a:lnTo>
                        <a:pt x="560" y="312"/>
                      </a:lnTo>
                      <a:lnTo>
                        <a:pt x="552" y="280"/>
                      </a:lnTo>
                      <a:lnTo>
                        <a:pt x="576" y="280"/>
                      </a:lnTo>
                      <a:lnTo>
                        <a:pt x="576" y="256"/>
                      </a:lnTo>
                      <a:lnTo>
                        <a:pt x="568" y="256"/>
                      </a:lnTo>
                      <a:lnTo>
                        <a:pt x="568" y="248"/>
                      </a:lnTo>
                      <a:lnTo>
                        <a:pt x="560" y="248"/>
                      </a:lnTo>
                      <a:lnTo>
                        <a:pt x="536" y="256"/>
                      </a:lnTo>
                      <a:lnTo>
                        <a:pt x="544" y="248"/>
                      </a:lnTo>
                      <a:lnTo>
                        <a:pt x="536" y="240"/>
                      </a:lnTo>
                      <a:lnTo>
                        <a:pt x="512" y="248"/>
                      </a:lnTo>
                      <a:lnTo>
                        <a:pt x="520" y="232"/>
                      </a:lnTo>
                      <a:lnTo>
                        <a:pt x="512" y="232"/>
                      </a:lnTo>
                      <a:lnTo>
                        <a:pt x="504" y="224"/>
                      </a:lnTo>
                      <a:lnTo>
                        <a:pt x="504" y="216"/>
                      </a:lnTo>
                      <a:lnTo>
                        <a:pt x="488" y="224"/>
                      </a:lnTo>
                      <a:lnTo>
                        <a:pt x="472" y="224"/>
                      </a:lnTo>
                      <a:lnTo>
                        <a:pt x="464" y="208"/>
                      </a:lnTo>
                      <a:lnTo>
                        <a:pt x="440" y="200"/>
                      </a:lnTo>
                      <a:lnTo>
                        <a:pt x="416" y="192"/>
                      </a:lnTo>
                      <a:lnTo>
                        <a:pt x="440" y="192"/>
                      </a:lnTo>
                      <a:lnTo>
                        <a:pt x="448" y="184"/>
                      </a:lnTo>
                      <a:lnTo>
                        <a:pt x="440" y="184"/>
                      </a:lnTo>
                      <a:lnTo>
                        <a:pt x="472" y="176"/>
                      </a:lnTo>
                      <a:lnTo>
                        <a:pt x="464" y="176"/>
                      </a:lnTo>
                      <a:lnTo>
                        <a:pt x="440" y="168"/>
                      </a:lnTo>
                      <a:lnTo>
                        <a:pt x="448" y="160"/>
                      </a:lnTo>
                      <a:lnTo>
                        <a:pt x="456" y="160"/>
                      </a:lnTo>
                      <a:lnTo>
                        <a:pt x="440" y="144"/>
                      </a:lnTo>
                      <a:lnTo>
                        <a:pt x="432" y="152"/>
                      </a:lnTo>
                      <a:lnTo>
                        <a:pt x="416" y="152"/>
                      </a:lnTo>
                      <a:lnTo>
                        <a:pt x="400" y="144"/>
                      </a:lnTo>
                      <a:lnTo>
                        <a:pt x="416" y="144"/>
                      </a:lnTo>
                      <a:lnTo>
                        <a:pt x="432" y="128"/>
                      </a:lnTo>
                      <a:lnTo>
                        <a:pt x="408" y="120"/>
                      </a:lnTo>
                      <a:lnTo>
                        <a:pt x="392" y="120"/>
                      </a:lnTo>
                      <a:lnTo>
                        <a:pt x="384" y="136"/>
                      </a:lnTo>
                      <a:lnTo>
                        <a:pt x="376" y="136"/>
                      </a:lnTo>
                      <a:lnTo>
                        <a:pt x="376" y="128"/>
                      </a:lnTo>
                      <a:lnTo>
                        <a:pt x="384" y="120"/>
                      </a:lnTo>
                      <a:lnTo>
                        <a:pt x="368" y="128"/>
                      </a:lnTo>
                      <a:lnTo>
                        <a:pt x="360" y="120"/>
                      </a:lnTo>
                      <a:lnTo>
                        <a:pt x="384" y="112"/>
                      </a:lnTo>
                      <a:lnTo>
                        <a:pt x="376" y="96"/>
                      </a:lnTo>
                      <a:lnTo>
                        <a:pt x="368" y="88"/>
                      </a:lnTo>
                      <a:lnTo>
                        <a:pt x="352" y="88"/>
                      </a:lnTo>
                      <a:lnTo>
                        <a:pt x="344" y="96"/>
                      </a:lnTo>
                      <a:lnTo>
                        <a:pt x="336" y="104"/>
                      </a:lnTo>
                      <a:lnTo>
                        <a:pt x="336" y="96"/>
                      </a:lnTo>
                      <a:lnTo>
                        <a:pt x="328" y="104"/>
                      </a:lnTo>
                      <a:lnTo>
                        <a:pt x="320" y="96"/>
                      </a:lnTo>
                      <a:lnTo>
                        <a:pt x="328" y="88"/>
                      </a:lnTo>
                      <a:lnTo>
                        <a:pt x="320" y="88"/>
                      </a:lnTo>
                      <a:lnTo>
                        <a:pt x="312" y="96"/>
                      </a:lnTo>
                      <a:lnTo>
                        <a:pt x="304" y="96"/>
                      </a:lnTo>
                      <a:lnTo>
                        <a:pt x="304" y="88"/>
                      </a:lnTo>
                      <a:lnTo>
                        <a:pt x="320" y="72"/>
                      </a:lnTo>
                      <a:lnTo>
                        <a:pt x="312" y="72"/>
                      </a:lnTo>
                      <a:lnTo>
                        <a:pt x="304" y="80"/>
                      </a:lnTo>
                      <a:lnTo>
                        <a:pt x="296" y="72"/>
                      </a:lnTo>
                      <a:lnTo>
                        <a:pt x="304" y="56"/>
                      </a:lnTo>
                      <a:lnTo>
                        <a:pt x="280" y="48"/>
                      </a:lnTo>
                      <a:lnTo>
                        <a:pt x="272" y="48"/>
                      </a:lnTo>
                      <a:lnTo>
                        <a:pt x="264" y="48"/>
                      </a:lnTo>
                      <a:lnTo>
                        <a:pt x="240" y="48"/>
                      </a:lnTo>
                      <a:lnTo>
                        <a:pt x="232" y="56"/>
                      </a:lnTo>
                      <a:lnTo>
                        <a:pt x="248" y="64"/>
                      </a:lnTo>
                      <a:lnTo>
                        <a:pt x="240" y="64"/>
                      </a:lnTo>
                      <a:lnTo>
                        <a:pt x="232" y="80"/>
                      </a:lnTo>
                      <a:lnTo>
                        <a:pt x="224" y="80"/>
                      </a:lnTo>
                      <a:lnTo>
                        <a:pt x="216" y="72"/>
                      </a:lnTo>
                      <a:lnTo>
                        <a:pt x="216" y="64"/>
                      </a:lnTo>
                      <a:lnTo>
                        <a:pt x="200" y="64"/>
                      </a:lnTo>
                      <a:lnTo>
                        <a:pt x="192" y="64"/>
                      </a:lnTo>
                      <a:lnTo>
                        <a:pt x="192" y="72"/>
                      </a:lnTo>
                      <a:lnTo>
                        <a:pt x="184" y="72"/>
                      </a:lnTo>
                      <a:lnTo>
                        <a:pt x="184" y="56"/>
                      </a:lnTo>
                      <a:lnTo>
                        <a:pt x="192" y="48"/>
                      </a:lnTo>
                      <a:lnTo>
                        <a:pt x="192" y="40"/>
                      </a:lnTo>
                      <a:lnTo>
                        <a:pt x="184" y="32"/>
                      </a:lnTo>
                      <a:lnTo>
                        <a:pt x="184" y="24"/>
                      </a:lnTo>
                      <a:lnTo>
                        <a:pt x="176" y="16"/>
                      </a:lnTo>
                      <a:lnTo>
                        <a:pt x="176" y="8"/>
                      </a:lnTo>
                      <a:lnTo>
                        <a:pt x="168" y="0"/>
                      </a:lnTo>
                      <a:lnTo>
                        <a:pt x="160" y="0"/>
                      </a:lnTo>
                      <a:lnTo>
                        <a:pt x="128" y="8"/>
                      </a:lnTo>
                      <a:lnTo>
                        <a:pt x="128" y="16"/>
                      </a:lnTo>
                      <a:lnTo>
                        <a:pt x="120" y="16"/>
                      </a:lnTo>
                      <a:lnTo>
                        <a:pt x="104" y="24"/>
                      </a:lnTo>
                      <a:lnTo>
                        <a:pt x="112" y="24"/>
                      </a:lnTo>
                      <a:lnTo>
                        <a:pt x="96" y="32"/>
                      </a:lnTo>
                      <a:lnTo>
                        <a:pt x="96" y="56"/>
                      </a:lnTo>
                      <a:lnTo>
                        <a:pt x="120" y="64"/>
                      </a:lnTo>
                      <a:lnTo>
                        <a:pt x="112" y="64"/>
                      </a:lnTo>
                      <a:lnTo>
                        <a:pt x="104" y="64"/>
                      </a:lnTo>
                      <a:lnTo>
                        <a:pt x="88" y="64"/>
                      </a:lnTo>
                      <a:lnTo>
                        <a:pt x="96" y="80"/>
                      </a:lnTo>
                      <a:lnTo>
                        <a:pt x="104" y="96"/>
                      </a:lnTo>
                      <a:lnTo>
                        <a:pt x="104" y="104"/>
                      </a:lnTo>
                      <a:lnTo>
                        <a:pt x="96" y="104"/>
                      </a:lnTo>
                      <a:lnTo>
                        <a:pt x="96" y="88"/>
                      </a:lnTo>
                      <a:lnTo>
                        <a:pt x="72" y="80"/>
                      </a:lnTo>
                      <a:lnTo>
                        <a:pt x="72" y="48"/>
                      </a:lnTo>
                      <a:lnTo>
                        <a:pt x="72" y="40"/>
                      </a:lnTo>
                      <a:lnTo>
                        <a:pt x="96" y="24"/>
                      </a:lnTo>
                      <a:lnTo>
                        <a:pt x="96" y="16"/>
                      </a:lnTo>
                      <a:lnTo>
                        <a:pt x="104" y="8"/>
                      </a:lnTo>
                      <a:lnTo>
                        <a:pt x="96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48" name="Freeform 44"/>
                <p:cNvSpPr>
                  <a:spLocks noChangeAspect="1"/>
                </p:cNvSpPr>
                <p:nvPr/>
              </p:nvSpPr>
              <p:spPr bwMode="auto">
                <a:xfrm>
                  <a:off x="1602" y="1423"/>
                  <a:ext cx="67" cy="29"/>
                </a:xfrm>
                <a:custGeom>
                  <a:avLst/>
                  <a:gdLst>
                    <a:gd name="T0" fmla="*/ 0 w 96"/>
                    <a:gd name="T1" fmla="*/ 0 h 40"/>
                    <a:gd name="T2" fmla="*/ 0 w 96"/>
                    <a:gd name="T3" fmla="*/ 1 h 40"/>
                    <a:gd name="T4" fmla="*/ 1 w 96"/>
                    <a:gd name="T5" fmla="*/ 1 h 40"/>
                    <a:gd name="T6" fmla="*/ 1 w 96"/>
                    <a:gd name="T7" fmla="*/ 1 h 40"/>
                    <a:gd name="T8" fmla="*/ 1 w 96"/>
                    <a:gd name="T9" fmla="*/ 1 h 40"/>
                    <a:gd name="T10" fmla="*/ 1 w 96"/>
                    <a:gd name="T11" fmla="*/ 1 h 40"/>
                    <a:gd name="T12" fmla="*/ 1 w 96"/>
                    <a:gd name="T13" fmla="*/ 1 h 40"/>
                    <a:gd name="T14" fmla="*/ 1 w 96"/>
                    <a:gd name="T15" fmla="*/ 1 h 40"/>
                    <a:gd name="T16" fmla="*/ 1 w 96"/>
                    <a:gd name="T17" fmla="*/ 1 h 40"/>
                    <a:gd name="T18" fmla="*/ 1 w 96"/>
                    <a:gd name="T19" fmla="*/ 1 h 40"/>
                    <a:gd name="T20" fmla="*/ 1 w 96"/>
                    <a:gd name="T21" fmla="*/ 1 h 40"/>
                    <a:gd name="T22" fmla="*/ 1 w 96"/>
                    <a:gd name="T23" fmla="*/ 1 h 40"/>
                    <a:gd name="T24" fmla="*/ 1 w 96"/>
                    <a:gd name="T25" fmla="*/ 1 h 40"/>
                    <a:gd name="T26" fmla="*/ 1 w 96"/>
                    <a:gd name="T27" fmla="*/ 1 h 40"/>
                    <a:gd name="T28" fmla="*/ 1 w 96"/>
                    <a:gd name="T29" fmla="*/ 0 h 40"/>
                    <a:gd name="T30" fmla="*/ 1 w 96"/>
                    <a:gd name="T31" fmla="*/ 0 h 40"/>
                    <a:gd name="T32" fmla="*/ 1 w 96"/>
                    <a:gd name="T33" fmla="*/ 0 h 40"/>
                    <a:gd name="T34" fmla="*/ 0 w 96"/>
                    <a:gd name="T35" fmla="*/ 0 h 40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96"/>
                    <a:gd name="T55" fmla="*/ 0 h 40"/>
                    <a:gd name="T56" fmla="*/ 96 w 96"/>
                    <a:gd name="T57" fmla="*/ 40 h 40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96" h="40">
                      <a:moveTo>
                        <a:pt x="0" y="0"/>
                      </a:moveTo>
                      <a:lnTo>
                        <a:pt x="0" y="8"/>
                      </a:lnTo>
                      <a:lnTo>
                        <a:pt x="8" y="16"/>
                      </a:lnTo>
                      <a:lnTo>
                        <a:pt x="8" y="40"/>
                      </a:lnTo>
                      <a:lnTo>
                        <a:pt x="16" y="40"/>
                      </a:lnTo>
                      <a:lnTo>
                        <a:pt x="32" y="40"/>
                      </a:lnTo>
                      <a:lnTo>
                        <a:pt x="32" y="32"/>
                      </a:lnTo>
                      <a:lnTo>
                        <a:pt x="64" y="32"/>
                      </a:lnTo>
                      <a:lnTo>
                        <a:pt x="88" y="40"/>
                      </a:lnTo>
                      <a:lnTo>
                        <a:pt x="96" y="32"/>
                      </a:lnTo>
                      <a:lnTo>
                        <a:pt x="80" y="24"/>
                      </a:lnTo>
                      <a:lnTo>
                        <a:pt x="80" y="16"/>
                      </a:lnTo>
                      <a:lnTo>
                        <a:pt x="72" y="8"/>
                      </a:lnTo>
                      <a:lnTo>
                        <a:pt x="64" y="8"/>
                      </a:lnTo>
                      <a:lnTo>
                        <a:pt x="40" y="0"/>
                      </a:lnTo>
                      <a:lnTo>
                        <a:pt x="16" y="0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49" name="Freeform 45"/>
                <p:cNvSpPr>
                  <a:spLocks noChangeAspect="1"/>
                </p:cNvSpPr>
                <p:nvPr/>
              </p:nvSpPr>
              <p:spPr bwMode="auto">
                <a:xfrm>
                  <a:off x="1506" y="1632"/>
                  <a:ext cx="96" cy="90"/>
                </a:xfrm>
                <a:custGeom>
                  <a:avLst/>
                  <a:gdLst>
                    <a:gd name="T0" fmla="*/ 1 w 136"/>
                    <a:gd name="T1" fmla="*/ 1 h 128"/>
                    <a:gd name="T2" fmla="*/ 1 w 136"/>
                    <a:gd name="T3" fmla="*/ 0 h 128"/>
                    <a:gd name="T4" fmla="*/ 1 w 136"/>
                    <a:gd name="T5" fmla="*/ 0 h 128"/>
                    <a:gd name="T6" fmla="*/ 1 w 136"/>
                    <a:gd name="T7" fmla="*/ 1 h 128"/>
                    <a:gd name="T8" fmla="*/ 1 w 136"/>
                    <a:gd name="T9" fmla="*/ 1 h 128"/>
                    <a:gd name="T10" fmla="*/ 1 w 136"/>
                    <a:gd name="T11" fmla="*/ 1 h 128"/>
                    <a:gd name="T12" fmla="*/ 1 w 136"/>
                    <a:gd name="T13" fmla="*/ 1 h 128"/>
                    <a:gd name="T14" fmla="*/ 1 w 136"/>
                    <a:gd name="T15" fmla="*/ 1 h 128"/>
                    <a:gd name="T16" fmla="*/ 1 w 136"/>
                    <a:gd name="T17" fmla="*/ 1 h 128"/>
                    <a:gd name="T18" fmla="*/ 1 w 136"/>
                    <a:gd name="T19" fmla="*/ 1 h 128"/>
                    <a:gd name="T20" fmla="*/ 1 w 136"/>
                    <a:gd name="T21" fmla="*/ 1 h 128"/>
                    <a:gd name="T22" fmla="*/ 1 w 136"/>
                    <a:gd name="T23" fmla="*/ 1 h 128"/>
                    <a:gd name="T24" fmla="*/ 1 w 136"/>
                    <a:gd name="T25" fmla="*/ 1 h 128"/>
                    <a:gd name="T26" fmla="*/ 1 w 136"/>
                    <a:gd name="T27" fmla="*/ 1 h 128"/>
                    <a:gd name="T28" fmla="*/ 1 w 136"/>
                    <a:gd name="T29" fmla="*/ 1 h 128"/>
                    <a:gd name="T30" fmla="*/ 1 w 136"/>
                    <a:gd name="T31" fmla="*/ 1 h 128"/>
                    <a:gd name="T32" fmla="*/ 1 w 136"/>
                    <a:gd name="T33" fmla="*/ 1 h 128"/>
                    <a:gd name="T34" fmla="*/ 1 w 136"/>
                    <a:gd name="T35" fmla="*/ 1 h 128"/>
                    <a:gd name="T36" fmla="*/ 1 w 136"/>
                    <a:gd name="T37" fmla="*/ 1 h 128"/>
                    <a:gd name="T38" fmla="*/ 1 w 136"/>
                    <a:gd name="T39" fmla="*/ 1 h 128"/>
                    <a:gd name="T40" fmla="*/ 1 w 136"/>
                    <a:gd name="T41" fmla="*/ 1 h 128"/>
                    <a:gd name="T42" fmla="*/ 1 w 136"/>
                    <a:gd name="T43" fmla="*/ 1 h 128"/>
                    <a:gd name="T44" fmla="*/ 1 w 136"/>
                    <a:gd name="T45" fmla="*/ 1 h 128"/>
                    <a:gd name="T46" fmla="*/ 1 w 136"/>
                    <a:gd name="T47" fmla="*/ 1 h 128"/>
                    <a:gd name="T48" fmla="*/ 1 w 136"/>
                    <a:gd name="T49" fmla="*/ 1 h 128"/>
                    <a:gd name="T50" fmla="*/ 0 w 136"/>
                    <a:gd name="T51" fmla="*/ 1 h 128"/>
                    <a:gd name="T52" fmla="*/ 1 w 136"/>
                    <a:gd name="T53" fmla="*/ 1 h 128"/>
                    <a:gd name="T54" fmla="*/ 1 w 136"/>
                    <a:gd name="T55" fmla="*/ 1 h 128"/>
                    <a:gd name="T56" fmla="*/ 1 w 136"/>
                    <a:gd name="T57" fmla="*/ 1 h 128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36"/>
                    <a:gd name="T88" fmla="*/ 0 h 128"/>
                    <a:gd name="T89" fmla="*/ 136 w 136"/>
                    <a:gd name="T90" fmla="*/ 128 h 128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36" h="128">
                      <a:moveTo>
                        <a:pt x="24" y="8"/>
                      </a:moveTo>
                      <a:lnTo>
                        <a:pt x="32" y="0"/>
                      </a:lnTo>
                      <a:lnTo>
                        <a:pt x="40" y="0"/>
                      </a:lnTo>
                      <a:lnTo>
                        <a:pt x="40" y="16"/>
                      </a:lnTo>
                      <a:lnTo>
                        <a:pt x="48" y="32"/>
                      </a:lnTo>
                      <a:lnTo>
                        <a:pt x="56" y="24"/>
                      </a:lnTo>
                      <a:lnTo>
                        <a:pt x="72" y="32"/>
                      </a:lnTo>
                      <a:lnTo>
                        <a:pt x="80" y="40"/>
                      </a:lnTo>
                      <a:lnTo>
                        <a:pt x="104" y="56"/>
                      </a:lnTo>
                      <a:lnTo>
                        <a:pt x="112" y="72"/>
                      </a:lnTo>
                      <a:lnTo>
                        <a:pt x="104" y="88"/>
                      </a:lnTo>
                      <a:lnTo>
                        <a:pt x="136" y="88"/>
                      </a:lnTo>
                      <a:lnTo>
                        <a:pt x="136" y="96"/>
                      </a:lnTo>
                      <a:lnTo>
                        <a:pt x="136" y="112"/>
                      </a:lnTo>
                      <a:lnTo>
                        <a:pt x="104" y="104"/>
                      </a:lnTo>
                      <a:lnTo>
                        <a:pt x="96" y="104"/>
                      </a:lnTo>
                      <a:lnTo>
                        <a:pt x="96" y="88"/>
                      </a:lnTo>
                      <a:lnTo>
                        <a:pt x="88" y="88"/>
                      </a:lnTo>
                      <a:lnTo>
                        <a:pt x="80" y="88"/>
                      </a:lnTo>
                      <a:lnTo>
                        <a:pt x="72" y="104"/>
                      </a:lnTo>
                      <a:lnTo>
                        <a:pt x="56" y="104"/>
                      </a:lnTo>
                      <a:lnTo>
                        <a:pt x="48" y="120"/>
                      </a:lnTo>
                      <a:lnTo>
                        <a:pt x="32" y="128"/>
                      </a:lnTo>
                      <a:lnTo>
                        <a:pt x="32" y="104"/>
                      </a:lnTo>
                      <a:lnTo>
                        <a:pt x="8" y="104"/>
                      </a:lnTo>
                      <a:lnTo>
                        <a:pt x="0" y="96"/>
                      </a:lnTo>
                      <a:lnTo>
                        <a:pt x="24" y="56"/>
                      </a:lnTo>
                      <a:lnTo>
                        <a:pt x="24" y="16"/>
                      </a:lnTo>
                      <a:lnTo>
                        <a:pt x="24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50" name="Freeform 46"/>
                <p:cNvSpPr>
                  <a:spLocks noChangeAspect="1"/>
                </p:cNvSpPr>
                <p:nvPr/>
              </p:nvSpPr>
              <p:spPr bwMode="auto">
                <a:xfrm>
                  <a:off x="988" y="1311"/>
                  <a:ext cx="107" cy="51"/>
                </a:xfrm>
                <a:custGeom>
                  <a:avLst/>
                  <a:gdLst>
                    <a:gd name="T0" fmla="*/ 1 w 152"/>
                    <a:gd name="T1" fmla="*/ 1 h 72"/>
                    <a:gd name="T2" fmla="*/ 1 w 152"/>
                    <a:gd name="T3" fmla="*/ 1 h 72"/>
                    <a:gd name="T4" fmla="*/ 1 w 152"/>
                    <a:gd name="T5" fmla="*/ 1 h 72"/>
                    <a:gd name="T6" fmla="*/ 1 w 152"/>
                    <a:gd name="T7" fmla="*/ 1 h 72"/>
                    <a:gd name="T8" fmla="*/ 0 w 152"/>
                    <a:gd name="T9" fmla="*/ 1 h 72"/>
                    <a:gd name="T10" fmla="*/ 1 w 152"/>
                    <a:gd name="T11" fmla="*/ 1 h 72"/>
                    <a:gd name="T12" fmla="*/ 1 w 152"/>
                    <a:gd name="T13" fmla="*/ 1 h 72"/>
                    <a:gd name="T14" fmla="*/ 1 w 152"/>
                    <a:gd name="T15" fmla="*/ 1 h 72"/>
                    <a:gd name="T16" fmla="*/ 1 w 152"/>
                    <a:gd name="T17" fmla="*/ 1 h 72"/>
                    <a:gd name="T18" fmla="*/ 1 w 152"/>
                    <a:gd name="T19" fmla="*/ 1 h 72"/>
                    <a:gd name="T20" fmla="*/ 1 w 152"/>
                    <a:gd name="T21" fmla="*/ 1 h 72"/>
                    <a:gd name="T22" fmla="*/ 1 w 152"/>
                    <a:gd name="T23" fmla="*/ 1 h 72"/>
                    <a:gd name="T24" fmla="*/ 1 w 152"/>
                    <a:gd name="T25" fmla="*/ 1 h 72"/>
                    <a:gd name="T26" fmla="*/ 1 w 152"/>
                    <a:gd name="T27" fmla="*/ 1 h 72"/>
                    <a:gd name="T28" fmla="*/ 1 w 152"/>
                    <a:gd name="T29" fmla="*/ 1 h 72"/>
                    <a:gd name="T30" fmla="*/ 1 w 152"/>
                    <a:gd name="T31" fmla="*/ 1 h 72"/>
                    <a:gd name="T32" fmla="*/ 1 w 152"/>
                    <a:gd name="T33" fmla="*/ 1 h 72"/>
                    <a:gd name="T34" fmla="*/ 1 w 152"/>
                    <a:gd name="T35" fmla="*/ 1 h 72"/>
                    <a:gd name="T36" fmla="*/ 1 w 152"/>
                    <a:gd name="T37" fmla="*/ 1 h 72"/>
                    <a:gd name="T38" fmla="*/ 1 w 152"/>
                    <a:gd name="T39" fmla="*/ 0 h 72"/>
                    <a:gd name="T40" fmla="*/ 1 w 152"/>
                    <a:gd name="T41" fmla="*/ 0 h 72"/>
                    <a:gd name="T42" fmla="*/ 1 w 152"/>
                    <a:gd name="T43" fmla="*/ 1 h 72"/>
                    <a:gd name="T44" fmla="*/ 1 w 152"/>
                    <a:gd name="T45" fmla="*/ 1 h 72"/>
                    <a:gd name="T46" fmla="*/ 1 w 152"/>
                    <a:gd name="T47" fmla="*/ 1 h 72"/>
                    <a:gd name="T48" fmla="*/ 1 w 152"/>
                    <a:gd name="T49" fmla="*/ 1 h 72"/>
                    <a:gd name="T50" fmla="*/ 1 w 152"/>
                    <a:gd name="T51" fmla="*/ 1 h 72"/>
                    <a:gd name="T52" fmla="*/ 1 w 152"/>
                    <a:gd name="T53" fmla="*/ 1 h 72"/>
                    <a:gd name="T54" fmla="*/ 1 w 152"/>
                    <a:gd name="T55" fmla="*/ 1 h 72"/>
                    <a:gd name="T56" fmla="*/ 1 w 152"/>
                    <a:gd name="T57" fmla="*/ 1 h 72"/>
                    <a:gd name="T58" fmla="*/ 1 w 152"/>
                    <a:gd name="T59" fmla="*/ 1 h 72"/>
                    <a:gd name="T60" fmla="*/ 1 w 152"/>
                    <a:gd name="T61" fmla="*/ 1 h 72"/>
                    <a:gd name="T62" fmla="*/ 1 w 152"/>
                    <a:gd name="T63" fmla="*/ 1 h 72"/>
                    <a:gd name="T64" fmla="*/ 1 w 152"/>
                    <a:gd name="T65" fmla="*/ 1 h 72"/>
                    <a:gd name="T66" fmla="*/ 1 w 152"/>
                    <a:gd name="T67" fmla="*/ 1 h 72"/>
                    <a:gd name="T68" fmla="*/ 1 w 152"/>
                    <a:gd name="T69" fmla="*/ 1 h 72"/>
                    <a:gd name="T70" fmla="*/ 1 w 152"/>
                    <a:gd name="T71" fmla="*/ 1 h 72"/>
                    <a:gd name="T72" fmla="*/ 1 w 152"/>
                    <a:gd name="T73" fmla="*/ 1 h 72"/>
                    <a:gd name="T74" fmla="*/ 1 w 152"/>
                    <a:gd name="T75" fmla="*/ 1 h 72"/>
                    <a:gd name="T76" fmla="*/ 1 w 152"/>
                    <a:gd name="T77" fmla="*/ 1 h 72"/>
                    <a:gd name="T78" fmla="*/ 1 w 152"/>
                    <a:gd name="T79" fmla="*/ 1 h 72"/>
                    <a:gd name="T80" fmla="*/ 1 w 152"/>
                    <a:gd name="T81" fmla="*/ 1 h 72"/>
                    <a:gd name="T82" fmla="*/ 1 w 152"/>
                    <a:gd name="T83" fmla="*/ 1 h 72"/>
                    <a:gd name="T84" fmla="*/ 1 w 152"/>
                    <a:gd name="T85" fmla="*/ 1 h 72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52"/>
                    <a:gd name="T130" fmla="*/ 0 h 72"/>
                    <a:gd name="T131" fmla="*/ 152 w 152"/>
                    <a:gd name="T132" fmla="*/ 72 h 72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52" h="72">
                      <a:moveTo>
                        <a:pt x="32" y="64"/>
                      </a:moveTo>
                      <a:lnTo>
                        <a:pt x="16" y="64"/>
                      </a:lnTo>
                      <a:lnTo>
                        <a:pt x="8" y="64"/>
                      </a:lnTo>
                      <a:lnTo>
                        <a:pt x="8" y="56"/>
                      </a:lnTo>
                      <a:lnTo>
                        <a:pt x="0" y="56"/>
                      </a:lnTo>
                      <a:lnTo>
                        <a:pt x="8" y="48"/>
                      </a:lnTo>
                      <a:lnTo>
                        <a:pt x="16" y="48"/>
                      </a:lnTo>
                      <a:lnTo>
                        <a:pt x="32" y="40"/>
                      </a:lnTo>
                      <a:lnTo>
                        <a:pt x="32" y="32"/>
                      </a:lnTo>
                      <a:lnTo>
                        <a:pt x="40" y="32"/>
                      </a:lnTo>
                      <a:lnTo>
                        <a:pt x="48" y="32"/>
                      </a:lnTo>
                      <a:lnTo>
                        <a:pt x="64" y="24"/>
                      </a:lnTo>
                      <a:lnTo>
                        <a:pt x="64" y="16"/>
                      </a:lnTo>
                      <a:lnTo>
                        <a:pt x="80" y="8"/>
                      </a:lnTo>
                      <a:lnTo>
                        <a:pt x="104" y="8"/>
                      </a:lnTo>
                      <a:lnTo>
                        <a:pt x="112" y="8"/>
                      </a:lnTo>
                      <a:lnTo>
                        <a:pt x="120" y="8"/>
                      </a:lnTo>
                      <a:lnTo>
                        <a:pt x="128" y="8"/>
                      </a:lnTo>
                      <a:lnTo>
                        <a:pt x="120" y="8"/>
                      </a:lnTo>
                      <a:lnTo>
                        <a:pt x="120" y="0"/>
                      </a:lnTo>
                      <a:lnTo>
                        <a:pt x="136" y="0"/>
                      </a:lnTo>
                      <a:lnTo>
                        <a:pt x="152" y="8"/>
                      </a:lnTo>
                      <a:lnTo>
                        <a:pt x="144" y="16"/>
                      </a:lnTo>
                      <a:lnTo>
                        <a:pt x="136" y="16"/>
                      </a:lnTo>
                      <a:lnTo>
                        <a:pt x="144" y="24"/>
                      </a:lnTo>
                      <a:lnTo>
                        <a:pt x="136" y="32"/>
                      </a:lnTo>
                      <a:lnTo>
                        <a:pt x="144" y="40"/>
                      </a:lnTo>
                      <a:lnTo>
                        <a:pt x="120" y="40"/>
                      </a:lnTo>
                      <a:lnTo>
                        <a:pt x="120" y="48"/>
                      </a:lnTo>
                      <a:lnTo>
                        <a:pt x="96" y="40"/>
                      </a:lnTo>
                      <a:lnTo>
                        <a:pt x="104" y="32"/>
                      </a:lnTo>
                      <a:lnTo>
                        <a:pt x="88" y="32"/>
                      </a:lnTo>
                      <a:lnTo>
                        <a:pt x="88" y="48"/>
                      </a:lnTo>
                      <a:lnTo>
                        <a:pt x="80" y="56"/>
                      </a:lnTo>
                      <a:lnTo>
                        <a:pt x="72" y="48"/>
                      </a:lnTo>
                      <a:lnTo>
                        <a:pt x="64" y="48"/>
                      </a:lnTo>
                      <a:lnTo>
                        <a:pt x="64" y="64"/>
                      </a:lnTo>
                      <a:lnTo>
                        <a:pt x="48" y="64"/>
                      </a:lnTo>
                      <a:lnTo>
                        <a:pt x="48" y="56"/>
                      </a:lnTo>
                      <a:lnTo>
                        <a:pt x="40" y="56"/>
                      </a:lnTo>
                      <a:lnTo>
                        <a:pt x="40" y="72"/>
                      </a:lnTo>
                      <a:lnTo>
                        <a:pt x="32" y="72"/>
                      </a:lnTo>
                      <a:lnTo>
                        <a:pt x="32" y="64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51" name="Freeform 47"/>
                <p:cNvSpPr>
                  <a:spLocks noChangeAspect="1"/>
                </p:cNvSpPr>
                <p:nvPr/>
              </p:nvSpPr>
              <p:spPr bwMode="auto">
                <a:xfrm>
                  <a:off x="1129" y="1277"/>
                  <a:ext cx="51" cy="11"/>
                </a:xfrm>
                <a:custGeom>
                  <a:avLst/>
                  <a:gdLst>
                    <a:gd name="T0" fmla="*/ 1 w 72"/>
                    <a:gd name="T1" fmla="*/ 0 h 16"/>
                    <a:gd name="T2" fmla="*/ 1 w 72"/>
                    <a:gd name="T3" fmla="*/ 1 h 16"/>
                    <a:gd name="T4" fmla="*/ 1 w 72"/>
                    <a:gd name="T5" fmla="*/ 1 h 16"/>
                    <a:gd name="T6" fmla="*/ 1 w 72"/>
                    <a:gd name="T7" fmla="*/ 1 h 16"/>
                    <a:gd name="T8" fmla="*/ 1 w 72"/>
                    <a:gd name="T9" fmla="*/ 1 h 16"/>
                    <a:gd name="T10" fmla="*/ 1 w 72"/>
                    <a:gd name="T11" fmla="*/ 1 h 16"/>
                    <a:gd name="T12" fmla="*/ 1 w 72"/>
                    <a:gd name="T13" fmla="*/ 1 h 16"/>
                    <a:gd name="T14" fmla="*/ 1 w 72"/>
                    <a:gd name="T15" fmla="*/ 1 h 16"/>
                    <a:gd name="T16" fmla="*/ 1 w 72"/>
                    <a:gd name="T17" fmla="*/ 1 h 16"/>
                    <a:gd name="T18" fmla="*/ 0 w 72"/>
                    <a:gd name="T19" fmla="*/ 1 h 16"/>
                    <a:gd name="T20" fmla="*/ 0 w 72"/>
                    <a:gd name="T21" fmla="*/ 1 h 16"/>
                    <a:gd name="T22" fmla="*/ 1 w 72"/>
                    <a:gd name="T23" fmla="*/ 1 h 16"/>
                    <a:gd name="T24" fmla="*/ 1 w 72"/>
                    <a:gd name="T25" fmla="*/ 1 h 16"/>
                    <a:gd name="T26" fmla="*/ 1 w 72"/>
                    <a:gd name="T27" fmla="*/ 0 h 16"/>
                    <a:gd name="T28" fmla="*/ 1 w 72"/>
                    <a:gd name="T29" fmla="*/ 0 h 1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72"/>
                    <a:gd name="T46" fmla="*/ 0 h 16"/>
                    <a:gd name="T47" fmla="*/ 72 w 72"/>
                    <a:gd name="T48" fmla="*/ 16 h 1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72" h="16">
                      <a:moveTo>
                        <a:pt x="48" y="0"/>
                      </a:moveTo>
                      <a:lnTo>
                        <a:pt x="64" y="8"/>
                      </a:lnTo>
                      <a:lnTo>
                        <a:pt x="72" y="8"/>
                      </a:lnTo>
                      <a:lnTo>
                        <a:pt x="72" y="16"/>
                      </a:lnTo>
                      <a:lnTo>
                        <a:pt x="48" y="16"/>
                      </a:lnTo>
                      <a:lnTo>
                        <a:pt x="40" y="16"/>
                      </a:lnTo>
                      <a:lnTo>
                        <a:pt x="32" y="16"/>
                      </a:lnTo>
                      <a:lnTo>
                        <a:pt x="24" y="16"/>
                      </a:lnTo>
                      <a:lnTo>
                        <a:pt x="16" y="16"/>
                      </a:lnTo>
                      <a:lnTo>
                        <a:pt x="0" y="16"/>
                      </a:lnTo>
                      <a:lnTo>
                        <a:pt x="0" y="8"/>
                      </a:lnTo>
                      <a:lnTo>
                        <a:pt x="8" y="8"/>
                      </a:lnTo>
                      <a:lnTo>
                        <a:pt x="32" y="8"/>
                      </a:lnTo>
                      <a:lnTo>
                        <a:pt x="40" y="0"/>
                      </a:lnTo>
                      <a:lnTo>
                        <a:pt x="48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52" name="Freeform 48"/>
                <p:cNvSpPr>
                  <a:spLocks noChangeAspect="1"/>
                </p:cNvSpPr>
                <p:nvPr/>
              </p:nvSpPr>
              <p:spPr bwMode="auto">
                <a:xfrm>
                  <a:off x="1236" y="1255"/>
                  <a:ext cx="96" cy="45"/>
                </a:xfrm>
                <a:custGeom>
                  <a:avLst/>
                  <a:gdLst>
                    <a:gd name="T0" fmla="*/ 0 w 136"/>
                    <a:gd name="T1" fmla="*/ 0 h 64"/>
                    <a:gd name="T2" fmla="*/ 1 w 136"/>
                    <a:gd name="T3" fmla="*/ 0 h 64"/>
                    <a:gd name="T4" fmla="*/ 1 w 136"/>
                    <a:gd name="T5" fmla="*/ 0 h 64"/>
                    <a:gd name="T6" fmla="*/ 1 w 136"/>
                    <a:gd name="T7" fmla="*/ 1 h 64"/>
                    <a:gd name="T8" fmla="*/ 1 w 136"/>
                    <a:gd name="T9" fmla="*/ 1 h 64"/>
                    <a:gd name="T10" fmla="*/ 1 w 136"/>
                    <a:gd name="T11" fmla="*/ 1 h 64"/>
                    <a:gd name="T12" fmla="*/ 1 w 136"/>
                    <a:gd name="T13" fmla="*/ 1 h 64"/>
                    <a:gd name="T14" fmla="*/ 1 w 136"/>
                    <a:gd name="T15" fmla="*/ 1 h 64"/>
                    <a:gd name="T16" fmla="*/ 1 w 136"/>
                    <a:gd name="T17" fmla="*/ 1 h 64"/>
                    <a:gd name="T18" fmla="*/ 1 w 136"/>
                    <a:gd name="T19" fmla="*/ 1 h 64"/>
                    <a:gd name="T20" fmla="*/ 1 w 136"/>
                    <a:gd name="T21" fmla="*/ 1 h 64"/>
                    <a:gd name="T22" fmla="*/ 1 w 136"/>
                    <a:gd name="T23" fmla="*/ 1 h 64"/>
                    <a:gd name="T24" fmla="*/ 1 w 136"/>
                    <a:gd name="T25" fmla="*/ 1 h 64"/>
                    <a:gd name="T26" fmla="*/ 1 w 136"/>
                    <a:gd name="T27" fmla="*/ 1 h 64"/>
                    <a:gd name="T28" fmla="*/ 1 w 136"/>
                    <a:gd name="T29" fmla="*/ 1 h 64"/>
                    <a:gd name="T30" fmla="*/ 1 w 136"/>
                    <a:gd name="T31" fmla="*/ 1 h 64"/>
                    <a:gd name="T32" fmla="*/ 1 w 136"/>
                    <a:gd name="T33" fmla="*/ 1 h 64"/>
                    <a:gd name="T34" fmla="*/ 1 w 136"/>
                    <a:gd name="T35" fmla="*/ 1 h 64"/>
                    <a:gd name="T36" fmla="*/ 1 w 136"/>
                    <a:gd name="T37" fmla="*/ 1 h 64"/>
                    <a:gd name="T38" fmla="*/ 1 w 136"/>
                    <a:gd name="T39" fmla="*/ 1 h 64"/>
                    <a:gd name="T40" fmla="*/ 1 w 136"/>
                    <a:gd name="T41" fmla="*/ 1 h 64"/>
                    <a:gd name="T42" fmla="*/ 1 w 136"/>
                    <a:gd name="T43" fmla="*/ 1 h 64"/>
                    <a:gd name="T44" fmla="*/ 1 w 136"/>
                    <a:gd name="T45" fmla="*/ 1 h 64"/>
                    <a:gd name="T46" fmla="*/ 1 w 136"/>
                    <a:gd name="T47" fmla="*/ 1 h 64"/>
                    <a:gd name="T48" fmla="*/ 1 w 136"/>
                    <a:gd name="T49" fmla="*/ 1 h 64"/>
                    <a:gd name="T50" fmla="*/ 1 w 136"/>
                    <a:gd name="T51" fmla="*/ 1 h 64"/>
                    <a:gd name="T52" fmla="*/ 1 w 136"/>
                    <a:gd name="T53" fmla="*/ 1 h 64"/>
                    <a:gd name="T54" fmla="*/ 1 w 136"/>
                    <a:gd name="T55" fmla="*/ 1 h 64"/>
                    <a:gd name="T56" fmla="*/ 1 w 136"/>
                    <a:gd name="T57" fmla="*/ 1 h 64"/>
                    <a:gd name="T58" fmla="*/ 1 w 136"/>
                    <a:gd name="T59" fmla="*/ 1 h 64"/>
                    <a:gd name="T60" fmla="*/ 0 w 136"/>
                    <a:gd name="T61" fmla="*/ 1 h 64"/>
                    <a:gd name="T62" fmla="*/ 0 w 136"/>
                    <a:gd name="T63" fmla="*/ 0 h 64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136"/>
                    <a:gd name="T97" fmla="*/ 0 h 64"/>
                    <a:gd name="T98" fmla="*/ 136 w 136"/>
                    <a:gd name="T99" fmla="*/ 64 h 64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136" h="64">
                      <a:moveTo>
                        <a:pt x="0" y="0"/>
                      </a:move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56" y="8"/>
                      </a:lnTo>
                      <a:lnTo>
                        <a:pt x="64" y="24"/>
                      </a:lnTo>
                      <a:lnTo>
                        <a:pt x="64" y="16"/>
                      </a:lnTo>
                      <a:lnTo>
                        <a:pt x="80" y="16"/>
                      </a:lnTo>
                      <a:lnTo>
                        <a:pt x="96" y="16"/>
                      </a:lnTo>
                      <a:lnTo>
                        <a:pt x="96" y="24"/>
                      </a:lnTo>
                      <a:lnTo>
                        <a:pt x="112" y="32"/>
                      </a:lnTo>
                      <a:lnTo>
                        <a:pt x="112" y="40"/>
                      </a:lnTo>
                      <a:lnTo>
                        <a:pt x="136" y="56"/>
                      </a:lnTo>
                      <a:lnTo>
                        <a:pt x="128" y="64"/>
                      </a:lnTo>
                      <a:lnTo>
                        <a:pt x="112" y="64"/>
                      </a:lnTo>
                      <a:lnTo>
                        <a:pt x="96" y="56"/>
                      </a:lnTo>
                      <a:lnTo>
                        <a:pt x="80" y="56"/>
                      </a:lnTo>
                      <a:lnTo>
                        <a:pt x="72" y="48"/>
                      </a:lnTo>
                      <a:lnTo>
                        <a:pt x="56" y="48"/>
                      </a:lnTo>
                      <a:lnTo>
                        <a:pt x="48" y="48"/>
                      </a:lnTo>
                      <a:lnTo>
                        <a:pt x="24" y="48"/>
                      </a:lnTo>
                      <a:lnTo>
                        <a:pt x="16" y="40"/>
                      </a:lnTo>
                      <a:lnTo>
                        <a:pt x="48" y="40"/>
                      </a:lnTo>
                      <a:lnTo>
                        <a:pt x="40" y="32"/>
                      </a:lnTo>
                      <a:lnTo>
                        <a:pt x="40" y="24"/>
                      </a:lnTo>
                      <a:lnTo>
                        <a:pt x="32" y="24"/>
                      </a:lnTo>
                      <a:lnTo>
                        <a:pt x="32" y="16"/>
                      </a:lnTo>
                      <a:lnTo>
                        <a:pt x="32" y="24"/>
                      </a:lnTo>
                      <a:lnTo>
                        <a:pt x="24" y="24"/>
                      </a:lnTo>
                      <a:lnTo>
                        <a:pt x="16" y="24"/>
                      </a:lnTo>
                      <a:lnTo>
                        <a:pt x="16" y="16"/>
                      </a:lnTo>
                      <a:lnTo>
                        <a:pt x="0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53" name="Freeform 49"/>
                <p:cNvSpPr>
                  <a:spLocks noChangeAspect="1"/>
                </p:cNvSpPr>
                <p:nvPr/>
              </p:nvSpPr>
              <p:spPr bwMode="auto">
                <a:xfrm>
                  <a:off x="1062" y="1333"/>
                  <a:ext cx="180" cy="62"/>
                </a:xfrm>
                <a:custGeom>
                  <a:avLst/>
                  <a:gdLst>
                    <a:gd name="T0" fmla="*/ 1 w 256"/>
                    <a:gd name="T1" fmla="*/ 0 h 88"/>
                    <a:gd name="T2" fmla="*/ 1 w 256"/>
                    <a:gd name="T3" fmla="*/ 1 h 88"/>
                    <a:gd name="T4" fmla="*/ 1 w 256"/>
                    <a:gd name="T5" fmla="*/ 1 h 88"/>
                    <a:gd name="T6" fmla="*/ 1 w 256"/>
                    <a:gd name="T7" fmla="*/ 1 h 88"/>
                    <a:gd name="T8" fmla="*/ 1 w 256"/>
                    <a:gd name="T9" fmla="*/ 1 h 88"/>
                    <a:gd name="T10" fmla="*/ 1 w 256"/>
                    <a:gd name="T11" fmla="*/ 1 h 88"/>
                    <a:gd name="T12" fmla="*/ 1 w 256"/>
                    <a:gd name="T13" fmla="*/ 1 h 88"/>
                    <a:gd name="T14" fmla="*/ 1 w 256"/>
                    <a:gd name="T15" fmla="*/ 1 h 88"/>
                    <a:gd name="T16" fmla="*/ 1 w 256"/>
                    <a:gd name="T17" fmla="*/ 1 h 88"/>
                    <a:gd name="T18" fmla="*/ 1 w 256"/>
                    <a:gd name="T19" fmla="*/ 1 h 88"/>
                    <a:gd name="T20" fmla="*/ 1 w 256"/>
                    <a:gd name="T21" fmla="*/ 1 h 88"/>
                    <a:gd name="T22" fmla="*/ 1 w 256"/>
                    <a:gd name="T23" fmla="*/ 1 h 88"/>
                    <a:gd name="T24" fmla="*/ 1 w 256"/>
                    <a:gd name="T25" fmla="*/ 1 h 88"/>
                    <a:gd name="T26" fmla="*/ 1 w 256"/>
                    <a:gd name="T27" fmla="*/ 1 h 88"/>
                    <a:gd name="T28" fmla="*/ 1 w 256"/>
                    <a:gd name="T29" fmla="*/ 1 h 88"/>
                    <a:gd name="T30" fmla="*/ 1 w 256"/>
                    <a:gd name="T31" fmla="*/ 1 h 88"/>
                    <a:gd name="T32" fmla="*/ 1 w 256"/>
                    <a:gd name="T33" fmla="*/ 1 h 88"/>
                    <a:gd name="T34" fmla="*/ 1 w 256"/>
                    <a:gd name="T35" fmla="*/ 1 h 88"/>
                    <a:gd name="T36" fmla="*/ 1 w 256"/>
                    <a:gd name="T37" fmla="*/ 1 h 88"/>
                    <a:gd name="T38" fmla="*/ 1 w 256"/>
                    <a:gd name="T39" fmla="*/ 1 h 88"/>
                    <a:gd name="T40" fmla="*/ 1 w 256"/>
                    <a:gd name="T41" fmla="*/ 1 h 88"/>
                    <a:gd name="T42" fmla="*/ 1 w 256"/>
                    <a:gd name="T43" fmla="*/ 1 h 88"/>
                    <a:gd name="T44" fmla="*/ 1 w 256"/>
                    <a:gd name="T45" fmla="*/ 1 h 88"/>
                    <a:gd name="T46" fmla="*/ 1 w 256"/>
                    <a:gd name="T47" fmla="*/ 1 h 88"/>
                    <a:gd name="T48" fmla="*/ 1 w 256"/>
                    <a:gd name="T49" fmla="*/ 1 h 88"/>
                    <a:gd name="T50" fmla="*/ 1 w 256"/>
                    <a:gd name="T51" fmla="*/ 1 h 88"/>
                    <a:gd name="T52" fmla="*/ 1 w 256"/>
                    <a:gd name="T53" fmla="*/ 1 h 88"/>
                    <a:gd name="T54" fmla="*/ 1 w 256"/>
                    <a:gd name="T55" fmla="*/ 1 h 88"/>
                    <a:gd name="T56" fmla="*/ 1 w 256"/>
                    <a:gd name="T57" fmla="*/ 1 h 88"/>
                    <a:gd name="T58" fmla="*/ 1 w 256"/>
                    <a:gd name="T59" fmla="*/ 1 h 88"/>
                    <a:gd name="T60" fmla="*/ 1 w 256"/>
                    <a:gd name="T61" fmla="*/ 1 h 88"/>
                    <a:gd name="T62" fmla="*/ 1 w 256"/>
                    <a:gd name="T63" fmla="*/ 1 h 88"/>
                    <a:gd name="T64" fmla="*/ 1 w 256"/>
                    <a:gd name="T65" fmla="*/ 1 h 88"/>
                    <a:gd name="T66" fmla="*/ 1 w 256"/>
                    <a:gd name="T67" fmla="*/ 1 h 88"/>
                    <a:gd name="T68" fmla="*/ 1 w 256"/>
                    <a:gd name="T69" fmla="*/ 1 h 88"/>
                    <a:gd name="T70" fmla="*/ 1 w 256"/>
                    <a:gd name="T71" fmla="*/ 1 h 88"/>
                    <a:gd name="T72" fmla="*/ 1 w 256"/>
                    <a:gd name="T73" fmla="*/ 1 h 88"/>
                    <a:gd name="T74" fmla="*/ 1 w 256"/>
                    <a:gd name="T75" fmla="*/ 1 h 88"/>
                    <a:gd name="T76" fmla="*/ 1 w 256"/>
                    <a:gd name="T77" fmla="*/ 1 h 88"/>
                    <a:gd name="T78" fmla="*/ 1 w 256"/>
                    <a:gd name="T79" fmla="*/ 0 h 88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56"/>
                    <a:gd name="T121" fmla="*/ 0 h 88"/>
                    <a:gd name="T122" fmla="*/ 256 w 256"/>
                    <a:gd name="T123" fmla="*/ 88 h 88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56" h="88">
                      <a:moveTo>
                        <a:pt x="168" y="0"/>
                      </a:moveTo>
                      <a:lnTo>
                        <a:pt x="176" y="0"/>
                      </a:lnTo>
                      <a:lnTo>
                        <a:pt x="192" y="0"/>
                      </a:lnTo>
                      <a:lnTo>
                        <a:pt x="192" y="8"/>
                      </a:lnTo>
                      <a:lnTo>
                        <a:pt x="200" y="16"/>
                      </a:lnTo>
                      <a:lnTo>
                        <a:pt x="192" y="24"/>
                      </a:lnTo>
                      <a:lnTo>
                        <a:pt x="208" y="24"/>
                      </a:lnTo>
                      <a:lnTo>
                        <a:pt x="208" y="32"/>
                      </a:lnTo>
                      <a:lnTo>
                        <a:pt x="216" y="32"/>
                      </a:lnTo>
                      <a:lnTo>
                        <a:pt x="224" y="32"/>
                      </a:lnTo>
                      <a:lnTo>
                        <a:pt x="224" y="40"/>
                      </a:lnTo>
                      <a:lnTo>
                        <a:pt x="232" y="40"/>
                      </a:lnTo>
                      <a:lnTo>
                        <a:pt x="224" y="24"/>
                      </a:lnTo>
                      <a:lnTo>
                        <a:pt x="240" y="24"/>
                      </a:lnTo>
                      <a:lnTo>
                        <a:pt x="256" y="32"/>
                      </a:lnTo>
                      <a:lnTo>
                        <a:pt x="248" y="48"/>
                      </a:lnTo>
                      <a:lnTo>
                        <a:pt x="240" y="64"/>
                      </a:lnTo>
                      <a:lnTo>
                        <a:pt x="216" y="64"/>
                      </a:lnTo>
                      <a:lnTo>
                        <a:pt x="208" y="64"/>
                      </a:lnTo>
                      <a:lnTo>
                        <a:pt x="200" y="64"/>
                      </a:lnTo>
                      <a:lnTo>
                        <a:pt x="192" y="64"/>
                      </a:lnTo>
                      <a:lnTo>
                        <a:pt x="176" y="64"/>
                      </a:lnTo>
                      <a:lnTo>
                        <a:pt x="144" y="80"/>
                      </a:lnTo>
                      <a:lnTo>
                        <a:pt x="136" y="88"/>
                      </a:lnTo>
                      <a:lnTo>
                        <a:pt x="104" y="88"/>
                      </a:lnTo>
                      <a:lnTo>
                        <a:pt x="88" y="88"/>
                      </a:lnTo>
                      <a:lnTo>
                        <a:pt x="72" y="80"/>
                      </a:lnTo>
                      <a:lnTo>
                        <a:pt x="88" y="72"/>
                      </a:lnTo>
                      <a:lnTo>
                        <a:pt x="96" y="72"/>
                      </a:lnTo>
                      <a:lnTo>
                        <a:pt x="104" y="72"/>
                      </a:lnTo>
                      <a:lnTo>
                        <a:pt x="128" y="64"/>
                      </a:lnTo>
                      <a:lnTo>
                        <a:pt x="136" y="64"/>
                      </a:lnTo>
                      <a:lnTo>
                        <a:pt x="136" y="56"/>
                      </a:lnTo>
                      <a:lnTo>
                        <a:pt x="120" y="56"/>
                      </a:lnTo>
                      <a:lnTo>
                        <a:pt x="112" y="64"/>
                      </a:lnTo>
                      <a:lnTo>
                        <a:pt x="104" y="56"/>
                      </a:lnTo>
                      <a:lnTo>
                        <a:pt x="88" y="64"/>
                      </a:lnTo>
                      <a:lnTo>
                        <a:pt x="80" y="64"/>
                      </a:lnTo>
                      <a:lnTo>
                        <a:pt x="80" y="56"/>
                      </a:lnTo>
                      <a:lnTo>
                        <a:pt x="88" y="56"/>
                      </a:lnTo>
                      <a:lnTo>
                        <a:pt x="80" y="48"/>
                      </a:lnTo>
                      <a:lnTo>
                        <a:pt x="64" y="56"/>
                      </a:lnTo>
                      <a:lnTo>
                        <a:pt x="72" y="64"/>
                      </a:lnTo>
                      <a:lnTo>
                        <a:pt x="56" y="64"/>
                      </a:lnTo>
                      <a:lnTo>
                        <a:pt x="48" y="64"/>
                      </a:lnTo>
                      <a:lnTo>
                        <a:pt x="32" y="64"/>
                      </a:lnTo>
                      <a:lnTo>
                        <a:pt x="32" y="56"/>
                      </a:lnTo>
                      <a:lnTo>
                        <a:pt x="16" y="56"/>
                      </a:lnTo>
                      <a:lnTo>
                        <a:pt x="0" y="56"/>
                      </a:lnTo>
                      <a:lnTo>
                        <a:pt x="8" y="48"/>
                      </a:lnTo>
                      <a:lnTo>
                        <a:pt x="32" y="48"/>
                      </a:lnTo>
                      <a:lnTo>
                        <a:pt x="48" y="40"/>
                      </a:lnTo>
                      <a:lnTo>
                        <a:pt x="24" y="40"/>
                      </a:lnTo>
                      <a:lnTo>
                        <a:pt x="16" y="40"/>
                      </a:lnTo>
                      <a:lnTo>
                        <a:pt x="32" y="32"/>
                      </a:lnTo>
                      <a:lnTo>
                        <a:pt x="40" y="32"/>
                      </a:lnTo>
                      <a:lnTo>
                        <a:pt x="48" y="32"/>
                      </a:lnTo>
                      <a:lnTo>
                        <a:pt x="32" y="32"/>
                      </a:lnTo>
                      <a:lnTo>
                        <a:pt x="24" y="24"/>
                      </a:lnTo>
                      <a:lnTo>
                        <a:pt x="32" y="16"/>
                      </a:lnTo>
                      <a:lnTo>
                        <a:pt x="40" y="16"/>
                      </a:lnTo>
                      <a:lnTo>
                        <a:pt x="56" y="24"/>
                      </a:lnTo>
                      <a:lnTo>
                        <a:pt x="56" y="16"/>
                      </a:lnTo>
                      <a:lnTo>
                        <a:pt x="48" y="16"/>
                      </a:lnTo>
                      <a:lnTo>
                        <a:pt x="56" y="8"/>
                      </a:lnTo>
                      <a:lnTo>
                        <a:pt x="72" y="8"/>
                      </a:lnTo>
                      <a:lnTo>
                        <a:pt x="80" y="16"/>
                      </a:lnTo>
                      <a:lnTo>
                        <a:pt x="104" y="16"/>
                      </a:lnTo>
                      <a:lnTo>
                        <a:pt x="128" y="32"/>
                      </a:lnTo>
                      <a:lnTo>
                        <a:pt x="128" y="40"/>
                      </a:lnTo>
                      <a:lnTo>
                        <a:pt x="152" y="40"/>
                      </a:lnTo>
                      <a:lnTo>
                        <a:pt x="176" y="48"/>
                      </a:lnTo>
                      <a:lnTo>
                        <a:pt x="184" y="48"/>
                      </a:lnTo>
                      <a:lnTo>
                        <a:pt x="184" y="40"/>
                      </a:lnTo>
                      <a:lnTo>
                        <a:pt x="160" y="40"/>
                      </a:lnTo>
                      <a:lnTo>
                        <a:pt x="160" y="32"/>
                      </a:lnTo>
                      <a:lnTo>
                        <a:pt x="176" y="24"/>
                      </a:lnTo>
                      <a:lnTo>
                        <a:pt x="152" y="16"/>
                      </a:lnTo>
                      <a:lnTo>
                        <a:pt x="168" y="8"/>
                      </a:lnTo>
                      <a:lnTo>
                        <a:pt x="168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54" name="Freeform 50"/>
                <p:cNvSpPr>
                  <a:spLocks noChangeAspect="1"/>
                </p:cNvSpPr>
                <p:nvPr/>
              </p:nvSpPr>
              <p:spPr bwMode="auto">
                <a:xfrm>
                  <a:off x="1281" y="1333"/>
                  <a:ext cx="79" cy="45"/>
                </a:xfrm>
                <a:custGeom>
                  <a:avLst/>
                  <a:gdLst>
                    <a:gd name="T0" fmla="*/ 1 w 112"/>
                    <a:gd name="T1" fmla="*/ 1 h 64"/>
                    <a:gd name="T2" fmla="*/ 1 w 112"/>
                    <a:gd name="T3" fmla="*/ 1 h 64"/>
                    <a:gd name="T4" fmla="*/ 0 w 112"/>
                    <a:gd name="T5" fmla="*/ 1 h 64"/>
                    <a:gd name="T6" fmla="*/ 1 w 112"/>
                    <a:gd name="T7" fmla="*/ 1 h 64"/>
                    <a:gd name="T8" fmla="*/ 1 w 112"/>
                    <a:gd name="T9" fmla="*/ 1 h 64"/>
                    <a:gd name="T10" fmla="*/ 1 w 112"/>
                    <a:gd name="T11" fmla="*/ 1 h 64"/>
                    <a:gd name="T12" fmla="*/ 1 w 112"/>
                    <a:gd name="T13" fmla="*/ 1 h 64"/>
                    <a:gd name="T14" fmla="*/ 1 w 112"/>
                    <a:gd name="T15" fmla="*/ 1 h 64"/>
                    <a:gd name="T16" fmla="*/ 1 w 112"/>
                    <a:gd name="T17" fmla="*/ 1 h 64"/>
                    <a:gd name="T18" fmla="*/ 1 w 112"/>
                    <a:gd name="T19" fmla="*/ 1 h 64"/>
                    <a:gd name="T20" fmla="*/ 1 w 112"/>
                    <a:gd name="T21" fmla="*/ 1 h 64"/>
                    <a:gd name="T22" fmla="*/ 1 w 112"/>
                    <a:gd name="T23" fmla="*/ 1 h 64"/>
                    <a:gd name="T24" fmla="*/ 1 w 112"/>
                    <a:gd name="T25" fmla="*/ 1 h 64"/>
                    <a:gd name="T26" fmla="*/ 1 w 112"/>
                    <a:gd name="T27" fmla="*/ 1 h 64"/>
                    <a:gd name="T28" fmla="*/ 1 w 112"/>
                    <a:gd name="T29" fmla="*/ 1 h 64"/>
                    <a:gd name="T30" fmla="*/ 1 w 112"/>
                    <a:gd name="T31" fmla="*/ 1 h 64"/>
                    <a:gd name="T32" fmla="*/ 1 w 112"/>
                    <a:gd name="T33" fmla="*/ 1 h 64"/>
                    <a:gd name="T34" fmla="*/ 1 w 112"/>
                    <a:gd name="T35" fmla="*/ 1 h 64"/>
                    <a:gd name="T36" fmla="*/ 1 w 112"/>
                    <a:gd name="T37" fmla="*/ 0 h 64"/>
                    <a:gd name="T38" fmla="*/ 1 w 112"/>
                    <a:gd name="T39" fmla="*/ 0 h 64"/>
                    <a:gd name="T40" fmla="*/ 1 w 112"/>
                    <a:gd name="T41" fmla="*/ 1 h 64"/>
                    <a:gd name="T42" fmla="*/ 1 w 112"/>
                    <a:gd name="T43" fmla="*/ 1 h 64"/>
                    <a:gd name="T44" fmla="*/ 1 w 112"/>
                    <a:gd name="T45" fmla="*/ 0 h 64"/>
                    <a:gd name="T46" fmla="*/ 1 w 112"/>
                    <a:gd name="T47" fmla="*/ 1 h 64"/>
                    <a:gd name="T48" fmla="*/ 1 w 112"/>
                    <a:gd name="T49" fmla="*/ 1 h 64"/>
                    <a:gd name="T50" fmla="*/ 1 w 112"/>
                    <a:gd name="T51" fmla="*/ 1 h 64"/>
                    <a:gd name="T52" fmla="*/ 1 w 112"/>
                    <a:gd name="T53" fmla="*/ 1 h 64"/>
                    <a:gd name="T54" fmla="*/ 1 w 112"/>
                    <a:gd name="T55" fmla="*/ 1 h 64"/>
                    <a:gd name="T56" fmla="*/ 1 w 112"/>
                    <a:gd name="T57" fmla="*/ 1 h 64"/>
                    <a:gd name="T58" fmla="*/ 1 w 112"/>
                    <a:gd name="T59" fmla="*/ 1 h 64"/>
                    <a:gd name="T60" fmla="*/ 1 w 112"/>
                    <a:gd name="T61" fmla="*/ 1 h 64"/>
                    <a:gd name="T62" fmla="*/ 1 w 112"/>
                    <a:gd name="T63" fmla="*/ 1 h 64"/>
                    <a:gd name="T64" fmla="*/ 1 w 112"/>
                    <a:gd name="T65" fmla="*/ 1 h 64"/>
                    <a:gd name="T66" fmla="*/ 1 w 112"/>
                    <a:gd name="T67" fmla="*/ 1 h 64"/>
                    <a:gd name="T68" fmla="*/ 1 w 112"/>
                    <a:gd name="T69" fmla="*/ 1 h 64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112"/>
                    <a:gd name="T106" fmla="*/ 0 h 64"/>
                    <a:gd name="T107" fmla="*/ 112 w 112"/>
                    <a:gd name="T108" fmla="*/ 64 h 64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112" h="64">
                      <a:moveTo>
                        <a:pt x="24" y="32"/>
                      </a:moveTo>
                      <a:lnTo>
                        <a:pt x="24" y="40"/>
                      </a:lnTo>
                      <a:lnTo>
                        <a:pt x="0" y="40"/>
                      </a:lnTo>
                      <a:lnTo>
                        <a:pt x="16" y="40"/>
                      </a:lnTo>
                      <a:lnTo>
                        <a:pt x="48" y="40"/>
                      </a:lnTo>
                      <a:lnTo>
                        <a:pt x="56" y="40"/>
                      </a:lnTo>
                      <a:lnTo>
                        <a:pt x="64" y="40"/>
                      </a:lnTo>
                      <a:lnTo>
                        <a:pt x="48" y="48"/>
                      </a:lnTo>
                      <a:lnTo>
                        <a:pt x="40" y="48"/>
                      </a:lnTo>
                      <a:lnTo>
                        <a:pt x="48" y="56"/>
                      </a:lnTo>
                      <a:lnTo>
                        <a:pt x="48" y="64"/>
                      </a:lnTo>
                      <a:lnTo>
                        <a:pt x="96" y="56"/>
                      </a:lnTo>
                      <a:lnTo>
                        <a:pt x="96" y="48"/>
                      </a:lnTo>
                      <a:lnTo>
                        <a:pt x="96" y="40"/>
                      </a:lnTo>
                      <a:lnTo>
                        <a:pt x="112" y="48"/>
                      </a:lnTo>
                      <a:lnTo>
                        <a:pt x="104" y="40"/>
                      </a:lnTo>
                      <a:lnTo>
                        <a:pt x="104" y="32"/>
                      </a:lnTo>
                      <a:lnTo>
                        <a:pt x="96" y="8"/>
                      </a:lnTo>
                      <a:lnTo>
                        <a:pt x="96" y="0"/>
                      </a:lnTo>
                      <a:lnTo>
                        <a:pt x="80" y="0"/>
                      </a:lnTo>
                      <a:lnTo>
                        <a:pt x="88" y="8"/>
                      </a:lnTo>
                      <a:lnTo>
                        <a:pt x="80" y="8"/>
                      </a:lnTo>
                      <a:lnTo>
                        <a:pt x="64" y="0"/>
                      </a:lnTo>
                      <a:lnTo>
                        <a:pt x="32" y="8"/>
                      </a:lnTo>
                      <a:lnTo>
                        <a:pt x="48" y="16"/>
                      </a:lnTo>
                      <a:lnTo>
                        <a:pt x="56" y="16"/>
                      </a:lnTo>
                      <a:lnTo>
                        <a:pt x="56" y="24"/>
                      </a:lnTo>
                      <a:lnTo>
                        <a:pt x="64" y="32"/>
                      </a:lnTo>
                      <a:lnTo>
                        <a:pt x="48" y="24"/>
                      </a:lnTo>
                      <a:lnTo>
                        <a:pt x="32" y="16"/>
                      </a:lnTo>
                      <a:lnTo>
                        <a:pt x="24" y="16"/>
                      </a:lnTo>
                      <a:lnTo>
                        <a:pt x="16" y="16"/>
                      </a:lnTo>
                      <a:lnTo>
                        <a:pt x="16" y="24"/>
                      </a:lnTo>
                      <a:lnTo>
                        <a:pt x="16" y="32"/>
                      </a:lnTo>
                      <a:lnTo>
                        <a:pt x="24" y="32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55" name="Freeform 51"/>
                <p:cNvSpPr>
                  <a:spLocks noChangeAspect="1"/>
                </p:cNvSpPr>
                <p:nvPr/>
              </p:nvSpPr>
              <p:spPr bwMode="auto">
                <a:xfrm>
                  <a:off x="1371" y="1362"/>
                  <a:ext cx="45" cy="28"/>
                </a:xfrm>
                <a:custGeom>
                  <a:avLst/>
                  <a:gdLst>
                    <a:gd name="T0" fmla="*/ 1 w 64"/>
                    <a:gd name="T1" fmla="*/ 0 h 40"/>
                    <a:gd name="T2" fmla="*/ 1 w 64"/>
                    <a:gd name="T3" fmla="*/ 0 h 40"/>
                    <a:gd name="T4" fmla="*/ 1 w 64"/>
                    <a:gd name="T5" fmla="*/ 0 h 40"/>
                    <a:gd name="T6" fmla="*/ 1 w 64"/>
                    <a:gd name="T7" fmla="*/ 1 h 40"/>
                    <a:gd name="T8" fmla="*/ 1 w 64"/>
                    <a:gd name="T9" fmla="*/ 1 h 40"/>
                    <a:gd name="T10" fmla="*/ 0 w 64"/>
                    <a:gd name="T11" fmla="*/ 1 h 40"/>
                    <a:gd name="T12" fmla="*/ 1 w 64"/>
                    <a:gd name="T13" fmla="*/ 1 h 40"/>
                    <a:gd name="T14" fmla="*/ 1 w 64"/>
                    <a:gd name="T15" fmla="*/ 1 h 40"/>
                    <a:gd name="T16" fmla="*/ 1 w 64"/>
                    <a:gd name="T17" fmla="*/ 1 h 40"/>
                    <a:gd name="T18" fmla="*/ 1 w 64"/>
                    <a:gd name="T19" fmla="*/ 1 h 40"/>
                    <a:gd name="T20" fmla="*/ 1 w 64"/>
                    <a:gd name="T21" fmla="*/ 1 h 40"/>
                    <a:gd name="T22" fmla="*/ 1 w 64"/>
                    <a:gd name="T23" fmla="*/ 1 h 40"/>
                    <a:gd name="T24" fmla="*/ 1 w 64"/>
                    <a:gd name="T25" fmla="*/ 1 h 40"/>
                    <a:gd name="T26" fmla="*/ 1 w 64"/>
                    <a:gd name="T27" fmla="*/ 1 h 40"/>
                    <a:gd name="T28" fmla="*/ 1 w 64"/>
                    <a:gd name="T29" fmla="*/ 0 h 40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64"/>
                    <a:gd name="T46" fmla="*/ 0 h 40"/>
                    <a:gd name="T47" fmla="*/ 64 w 64"/>
                    <a:gd name="T48" fmla="*/ 40 h 40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64" h="40">
                      <a:moveTo>
                        <a:pt x="48" y="0"/>
                      </a:moveTo>
                      <a:lnTo>
                        <a:pt x="32" y="0"/>
                      </a:lnTo>
                      <a:lnTo>
                        <a:pt x="24" y="0"/>
                      </a:lnTo>
                      <a:lnTo>
                        <a:pt x="16" y="8"/>
                      </a:lnTo>
                      <a:lnTo>
                        <a:pt x="8" y="8"/>
                      </a:lnTo>
                      <a:lnTo>
                        <a:pt x="0" y="16"/>
                      </a:lnTo>
                      <a:lnTo>
                        <a:pt x="8" y="32"/>
                      </a:lnTo>
                      <a:lnTo>
                        <a:pt x="24" y="32"/>
                      </a:lnTo>
                      <a:lnTo>
                        <a:pt x="40" y="40"/>
                      </a:lnTo>
                      <a:lnTo>
                        <a:pt x="56" y="40"/>
                      </a:lnTo>
                      <a:lnTo>
                        <a:pt x="64" y="32"/>
                      </a:lnTo>
                      <a:lnTo>
                        <a:pt x="64" y="24"/>
                      </a:lnTo>
                      <a:lnTo>
                        <a:pt x="56" y="16"/>
                      </a:lnTo>
                      <a:lnTo>
                        <a:pt x="48" y="8"/>
                      </a:lnTo>
                      <a:lnTo>
                        <a:pt x="48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56" name="Freeform 52"/>
                <p:cNvSpPr>
                  <a:spLocks noChangeAspect="1"/>
                </p:cNvSpPr>
                <p:nvPr/>
              </p:nvSpPr>
              <p:spPr bwMode="auto">
                <a:xfrm>
                  <a:off x="1365" y="1322"/>
                  <a:ext cx="254" cy="73"/>
                </a:xfrm>
                <a:custGeom>
                  <a:avLst/>
                  <a:gdLst>
                    <a:gd name="T0" fmla="*/ 1 w 360"/>
                    <a:gd name="T1" fmla="*/ 1 h 104"/>
                    <a:gd name="T2" fmla="*/ 1 w 360"/>
                    <a:gd name="T3" fmla="*/ 1 h 104"/>
                    <a:gd name="T4" fmla="*/ 1 w 360"/>
                    <a:gd name="T5" fmla="*/ 1 h 104"/>
                    <a:gd name="T6" fmla="*/ 1 w 360"/>
                    <a:gd name="T7" fmla="*/ 1 h 104"/>
                    <a:gd name="T8" fmla="*/ 1 w 360"/>
                    <a:gd name="T9" fmla="*/ 1 h 104"/>
                    <a:gd name="T10" fmla="*/ 1 w 360"/>
                    <a:gd name="T11" fmla="*/ 1 h 104"/>
                    <a:gd name="T12" fmla="*/ 1 w 360"/>
                    <a:gd name="T13" fmla="*/ 1 h 104"/>
                    <a:gd name="T14" fmla="*/ 1 w 360"/>
                    <a:gd name="T15" fmla="*/ 1 h 104"/>
                    <a:gd name="T16" fmla="*/ 1 w 360"/>
                    <a:gd name="T17" fmla="*/ 1 h 104"/>
                    <a:gd name="T18" fmla="*/ 1 w 360"/>
                    <a:gd name="T19" fmla="*/ 1 h 104"/>
                    <a:gd name="T20" fmla="*/ 1 w 360"/>
                    <a:gd name="T21" fmla="*/ 1 h 104"/>
                    <a:gd name="T22" fmla="*/ 1 w 360"/>
                    <a:gd name="T23" fmla="*/ 1 h 104"/>
                    <a:gd name="T24" fmla="*/ 1 w 360"/>
                    <a:gd name="T25" fmla="*/ 1 h 104"/>
                    <a:gd name="T26" fmla="*/ 1 w 360"/>
                    <a:gd name="T27" fmla="*/ 1 h 104"/>
                    <a:gd name="T28" fmla="*/ 1 w 360"/>
                    <a:gd name="T29" fmla="*/ 1 h 104"/>
                    <a:gd name="T30" fmla="*/ 1 w 360"/>
                    <a:gd name="T31" fmla="*/ 1 h 104"/>
                    <a:gd name="T32" fmla="*/ 1 w 360"/>
                    <a:gd name="T33" fmla="*/ 1 h 104"/>
                    <a:gd name="T34" fmla="*/ 1 w 360"/>
                    <a:gd name="T35" fmla="*/ 1 h 104"/>
                    <a:gd name="T36" fmla="*/ 1 w 360"/>
                    <a:gd name="T37" fmla="*/ 1 h 104"/>
                    <a:gd name="T38" fmla="*/ 1 w 360"/>
                    <a:gd name="T39" fmla="*/ 1 h 104"/>
                    <a:gd name="T40" fmla="*/ 1 w 360"/>
                    <a:gd name="T41" fmla="*/ 1 h 104"/>
                    <a:gd name="T42" fmla="*/ 1 w 360"/>
                    <a:gd name="T43" fmla="*/ 1 h 104"/>
                    <a:gd name="T44" fmla="*/ 1 w 360"/>
                    <a:gd name="T45" fmla="*/ 1 h 104"/>
                    <a:gd name="T46" fmla="*/ 1 w 360"/>
                    <a:gd name="T47" fmla="*/ 1 h 104"/>
                    <a:gd name="T48" fmla="*/ 1 w 360"/>
                    <a:gd name="T49" fmla="*/ 1 h 104"/>
                    <a:gd name="T50" fmla="*/ 1 w 360"/>
                    <a:gd name="T51" fmla="*/ 0 h 104"/>
                    <a:gd name="T52" fmla="*/ 1 w 360"/>
                    <a:gd name="T53" fmla="*/ 1 h 104"/>
                    <a:gd name="T54" fmla="*/ 1 w 360"/>
                    <a:gd name="T55" fmla="*/ 1 h 104"/>
                    <a:gd name="T56" fmla="*/ 1 w 360"/>
                    <a:gd name="T57" fmla="*/ 1 h 104"/>
                    <a:gd name="T58" fmla="*/ 1 w 360"/>
                    <a:gd name="T59" fmla="*/ 1 h 104"/>
                    <a:gd name="T60" fmla="*/ 1 w 360"/>
                    <a:gd name="T61" fmla="*/ 1 h 104"/>
                    <a:gd name="T62" fmla="*/ 1 w 360"/>
                    <a:gd name="T63" fmla="*/ 1 h 104"/>
                    <a:gd name="T64" fmla="*/ 1 w 360"/>
                    <a:gd name="T65" fmla="*/ 1 h 104"/>
                    <a:gd name="T66" fmla="*/ 1 w 360"/>
                    <a:gd name="T67" fmla="*/ 1 h 104"/>
                    <a:gd name="T68" fmla="*/ 1 w 360"/>
                    <a:gd name="T69" fmla="*/ 1 h 104"/>
                    <a:gd name="T70" fmla="*/ 1 w 360"/>
                    <a:gd name="T71" fmla="*/ 1 h 104"/>
                    <a:gd name="T72" fmla="*/ 1 w 360"/>
                    <a:gd name="T73" fmla="*/ 1 h 104"/>
                    <a:gd name="T74" fmla="*/ 1 w 360"/>
                    <a:gd name="T75" fmla="*/ 1 h 104"/>
                    <a:gd name="T76" fmla="*/ 1 w 360"/>
                    <a:gd name="T77" fmla="*/ 1 h 104"/>
                    <a:gd name="T78" fmla="*/ 1 w 360"/>
                    <a:gd name="T79" fmla="*/ 1 h 104"/>
                    <a:gd name="T80" fmla="*/ 1 w 360"/>
                    <a:gd name="T81" fmla="*/ 1 h 104"/>
                    <a:gd name="T82" fmla="*/ 1 w 360"/>
                    <a:gd name="T83" fmla="*/ 1 h 104"/>
                    <a:gd name="T84" fmla="*/ 1 w 360"/>
                    <a:gd name="T85" fmla="*/ 1 h 104"/>
                    <a:gd name="T86" fmla="*/ 1 w 360"/>
                    <a:gd name="T87" fmla="*/ 1 h 104"/>
                    <a:gd name="T88" fmla="*/ 1 w 360"/>
                    <a:gd name="T89" fmla="*/ 1 h 104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360"/>
                    <a:gd name="T136" fmla="*/ 0 h 104"/>
                    <a:gd name="T137" fmla="*/ 360 w 360"/>
                    <a:gd name="T138" fmla="*/ 104 h 104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360" h="104">
                      <a:moveTo>
                        <a:pt x="240" y="56"/>
                      </a:moveTo>
                      <a:lnTo>
                        <a:pt x="248" y="56"/>
                      </a:lnTo>
                      <a:lnTo>
                        <a:pt x="272" y="48"/>
                      </a:lnTo>
                      <a:lnTo>
                        <a:pt x="280" y="48"/>
                      </a:lnTo>
                      <a:lnTo>
                        <a:pt x="296" y="48"/>
                      </a:lnTo>
                      <a:lnTo>
                        <a:pt x="312" y="48"/>
                      </a:lnTo>
                      <a:lnTo>
                        <a:pt x="328" y="48"/>
                      </a:lnTo>
                      <a:lnTo>
                        <a:pt x="328" y="56"/>
                      </a:lnTo>
                      <a:lnTo>
                        <a:pt x="344" y="56"/>
                      </a:lnTo>
                      <a:lnTo>
                        <a:pt x="352" y="64"/>
                      </a:lnTo>
                      <a:lnTo>
                        <a:pt x="352" y="72"/>
                      </a:lnTo>
                      <a:lnTo>
                        <a:pt x="344" y="72"/>
                      </a:lnTo>
                      <a:lnTo>
                        <a:pt x="344" y="80"/>
                      </a:lnTo>
                      <a:lnTo>
                        <a:pt x="352" y="80"/>
                      </a:lnTo>
                      <a:lnTo>
                        <a:pt x="360" y="88"/>
                      </a:lnTo>
                      <a:lnTo>
                        <a:pt x="344" y="88"/>
                      </a:lnTo>
                      <a:lnTo>
                        <a:pt x="344" y="80"/>
                      </a:lnTo>
                      <a:lnTo>
                        <a:pt x="336" y="88"/>
                      </a:lnTo>
                      <a:lnTo>
                        <a:pt x="344" y="96"/>
                      </a:lnTo>
                      <a:lnTo>
                        <a:pt x="336" y="104"/>
                      </a:lnTo>
                      <a:lnTo>
                        <a:pt x="320" y="104"/>
                      </a:lnTo>
                      <a:lnTo>
                        <a:pt x="312" y="104"/>
                      </a:lnTo>
                      <a:lnTo>
                        <a:pt x="288" y="104"/>
                      </a:lnTo>
                      <a:lnTo>
                        <a:pt x="288" y="88"/>
                      </a:lnTo>
                      <a:lnTo>
                        <a:pt x="272" y="88"/>
                      </a:lnTo>
                      <a:lnTo>
                        <a:pt x="272" y="104"/>
                      </a:lnTo>
                      <a:lnTo>
                        <a:pt x="248" y="104"/>
                      </a:lnTo>
                      <a:lnTo>
                        <a:pt x="248" y="96"/>
                      </a:lnTo>
                      <a:lnTo>
                        <a:pt x="240" y="88"/>
                      </a:lnTo>
                      <a:lnTo>
                        <a:pt x="232" y="104"/>
                      </a:lnTo>
                      <a:lnTo>
                        <a:pt x="216" y="104"/>
                      </a:lnTo>
                      <a:lnTo>
                        <a:pt x="176" y="104"/>
                      </a:lnTo>
                      <a:lnTo>
                        <a:pt x="176" y="96"/>
                      </a:lnTo>
                      <a:lnTo>
                        <a:pt x="168" y="88"/>
                      </a:lnTo>
                      <a:lnTo>
                        <a:pt x="144" y="96"/>
                      </a:lnTo>
                      <a:lnTo>
                        <a:pt x="128" y="96"/>
                      </a:lnTo>
                      <a:lnTo>
                        <a:pt x="112" y="96"/>
                      </a:lnTo>
                      <a:lnTo>
                        <a:pt x="104" y="88"/>
                      </a:lnTo>
                      <a:lnTo>
                        <a:pt x="96" y="80"/>
                      </a:lnTo>
                      <a:lnTo>
                        <a:pt x="104" y="72"/>
                      </a:lnTo>
                      <a:lnTo>
                        <a:pt x="96" y="64"/>
                      </a:lnTo>
                      <a:lnTo>
                        <a:pt x="104" y="56"/>
                      </a:lnTo>
                      <a:lnTo>
                        <a:pt x="88" y="48"/>
                      </a:lnTo>
                      <a:lnTo>
                        <a:pt x="80" y="32"/>
                      </a:lnTo>
                      <a:lnTo>
                        <a:pt x="64" y="32"/>
                      </a:lnTo>
                      <a:lnTo>
                        <a:pt x="56" y="32"/>
                      </a:lnTo>
                      <a:lnTo>
                        <a:pt x="40" y="32"/>
                      </a:lnTo>
                      <a:lnTo>
                        <a:pt x="32" y="24"/>
                      </a:lnTo>
                      <a:lnTo>
                        <a:pt x="24" y="24"/>
                      </a:lnTo>
                      <a:lnTo>
                        <a:pt x="16" y="16"/>
                      </a:lnTo>
                      <a:lnTo>
                        <a:pt x="0" y="16"/>
                      </a:lnTo>
                      <a:lnTo>
                        <a:pt x="8" y="0"/>
                      </a:lnTo>
                      <a:lnTo>
                        <a:pt x="24" y="0"/>
                      </a:lnTo>
                      <a:lnTo>
                        <a:pt x="56" y="8"/>
                      </a:lnTo>
                      <a:lnTo>
                        <a:pt x="72" y="8"/>
                      </a:lnTo>
                      <a:lnTo>
                        <a:pt x="64" y="24"/>
                      </a:lnTo>
                      <a:lnTo>
                        <a:pt x="72" y="24"/>
                      </a:lnTo>
                      <a:lnTo>
                        <a:pt x="88" y="16"/>
                      </a:lnTo>
                      <a:lnTo>
                        <a:pt x="104" y="24"/>
                      </a:lnTo>
                      <a:lnTo>
                        <a:pt x="120" y="16"/>
                      </a:lnTo>
                      <a:lnTo>
                        <a:pt x="128" y="16"/>
                      </a:lnTo>
                      <a:lnTo>
                        <a:pt x="128" y="24"/>
                      </a:lnTo>
                      <a:lnTo>
                        <a:pt x="120" y="24"/>
                      </a:lnTo>
                      <a:lnTo>
                        <a:pt x="112" y="24"/>
                      </a:lnTo>
                      <a:lnTo>
                        <a:pt x="120" y="24"/>
                      </a:lnTo>
                      <a:lnTo>
                        <a:pt x="128" y="24"/>
                      </a:lnTo>
                      <a:lnTo>
                        <a:pt x="136" y="32"/>
                      </a:lnTo>
                      <a:lnTo>
                        <a:pt x="160" y="32"/>
                      </a:lnTo>
                      <a:lnTo>
                        <a:pt x="160" y="40"/>
                      </a:lnTo>
                      <a:lnTo>
                        <a:pt x="136" y="40"/>
                      </a:lnTo>
                      <a:lnTo>
                        <a:pt x="128" y="32"/>
                      </a:lnTo>
                      <a:lnTo>
                        <a:pt x="112" y="32"/>
                      </a:lnTo>
                      <a:lnTo>
                        <a:pt x="120" y="40"/>
                      </a:lnTo>
                      <a:lnTo>
                        <a:pt x="112" y="48"/>
                      </a:lnTo>
                      <a:lnTo>
                        <a:pt x="120" y="48"/>
                      </a:lnTo>
                      <a:lnTo>
                        <a:pt x="136" y="48"/>
                      </a:lnTo>
                      <a:lnTo>
                        <a:pt x="144" y="48"/>
                      </a:lnTo>
                      <a:lnTo>
                        <a:pt x="152" y="56"/>
                      </a:lnTo>
                      <a:lnTo>
                        <a:pt x="160" y="64"/>
                      </a:lnTo>
                      <a:lnTo>
                        <a:pt x="168" y="64"/>
                      </a:lnTo>
                      <a:lnTo>
                        <a:pt x="160" y="56"/>
                      </a:lnTo>
                      <a:lnTo>
                        <a:pt x="176" y="56"/>
                      </a:lnTo>
                      <a:lnTo>
                        <a:pt x="176" y="64"/>
                      </a:lnTo>
                      <a:lnTo>
                        <a:pt x="192" y="64"/>
                      </a:lnTo>
                      <a:lnTo>
                        <a:pt x="192" y="56"/>
                      </a:lnTo>
                      <a:lnTo>
                        <a:pt x="200" y="56"/>
                      </a:lnTo>
                      <a:lnTo>
                        <a:pt x="208" y="64"/>
                      </a:lnTo>
                      <a:lnTo>
                        <a:pt x="216" y="64"/>
                      </a:lnTo>
                      <a:lnTo>
                        <a:pt x="224" y="64"/>
                      </a:lnTo>
                      <a:lnTo>
                        <a:pt x="216" y="56"/>
                      </a:lnTo>
                      <a:lnTo>
                        <a:pt x="240" y="5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57" name="Freeform 53"/>
                <p:cNvSpPr>
                  <a:spLocks noChangeAspect="1"/>
                </p:cNvSpPr>
                <p:nvPr/>
              </p:nvSpPr>
              <p:spPr bwMode="auto">
                <a:xfrm>
                  <a:off x="1349" y="1272"/>
                  <a:ext cx="50" cy="33"/>
                </a:xfrm>
                <a:custGeom>
                  <a:avLst/>
                  <a:gdLst>
                    <a:gd name="T0" fmla="*/ 1 w 72"/>
                    <a:gd name="T1" fmla="*/ 0 h 48"/>
                    <a:gd name="T2" fmla="*/ 1 w 72"/>
                    <a:gd name="T3" fmla="*/ 1 h 48"/>
                    <a:gd name="T4" fmla="*/ 1 w 72"/>
                    <a:gd name="T5" fmla="*/ 1 h 48"/>
                    <a:gd name="T6" fmla="*/ 1 w 72"/>
                    <a:gd name="T7" fmla="*/ 1 h 48"/>
                    <a:gd name="T8" fmla="*/ 1 w 72"/>
                    <a:gd name="T9" fmla="*/ 1 h 48"/>
                    <a:gd name="T10" fmla="*/ 1 w 72"/>
                    <a:gd name="T11" fmla="*/ 1 h 48"/>
                    <a:gd name="T12" fmla="*/ 1 w 72"/>
                    <a:gd name="T13" fmla="*/ 1 h 48"/>
                    <a:gd name="T14" fmla="*/ 1 w 72"/>
                    <a:gd name="T15" fmla="*/ 1 h 48"/>
                    <a:gd name="T16" fmla="*/ 1 w 72"/>
                    <a:gd name="T17" fmla="*/ 1 h 48"/>
                    <a:gd name="T18" fmla="*/ 1 w 72"/>
                    <a:gd name="T19" fmla="*/ 1 h 48"/>
                    <a:gd name="T20" fmla="*/ 1 w 72"/>
                    <a:gd name="T21" fmla="*/ 1 h 48"/>
                    <a:gd name="T22" fmla="*/ 1 w 72"/>
                    <a:gd name="T23" fmla="*/ 1 h 48"/>
                    <a:gd name="T24" fmla="*/ 1 w 72"/>
                    <a:gd name="T25" fmla="*/ 1 h 48"/>
                    <a:gd name="T26" fmla="*/ 1 w 72"/>
                    <a:gd name="T27" fmla="*/ 1 h 48"/>
                    <a:gd name="T28" fmla="*/ 1 w 72"/>
                    <a:gd name="T29" fmla="*/ 1 h 48"/>
                    <a:gd name="T30" fmla="*/ 1 w 72"/>
                    <a:gd name="T31" fmla="*/ 1 h 48"/>
                    <a:gd name="T32" fmla="*/ 1 w 72"/>
                    <a:gd name="T33" fmla="*/ 1 h 48"/>
                    <a:gd name="T34" fmla="*/ 0 w 72"/>
                    <a:gd name="T35" fmla="*/ 1 h 48"/>
                    <a:gd name="T36" fmla="*/ 0 w 72"/>
                    <a:gd name="T37" fmla="*/ 0 h 48"/>
                    <a:gd name="T38" fmla="*/ 1 w 72"/>
                    <a:gd name="T39" fmla="*/ 0 h 48"/>
                    <a:gd name="T40" fmla="*/ 1 w 72"/>
                    <a:gd name="T41" fmla="*/ 0 h 48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72"/>
                    <a:gd name="T64" fmla="*/ 0 h 48"/>
                    <a:gd name="T65" fmla="*/ 72 w 72"/>
                    <a:gd name="T66" fmla="*/ 48 h 48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72" h="48">
                      <a:moveTo>
                        <a:pt x="24" y="0"/>
                      </a:moveTo>
                      <a:lnTo>
                        <a:pt x="32" y="8"/>
                      </a:lnTo>
                      <a:lnTo>
                        <a:pt x="64" y="16"/>
                      </a:lnTo>
                      <a:lnTo>
                        <a:pt x="72" y="16"/>
                      </a:lnTo>
                      <a:lnTo>
                        <a:pt x="72" y="24"/>
                      </a:lnTo>
                      <a:lnTo>
                        <a:pt x="56" y="24"/>
                      </a:lnTo>
                      <a:lnTo>
                        <a:pt x="72" y="32"/>
                      </a:lnTo>
                      <a:lnTo>
                        <a:pt x="64" y="40"/>
                      </a:lnTo>
                      <a:lnTo>
                        <a:pt x="48" y="40"/>
                      </a:lnTo>
                      <a:lnTo>
                        <a:pt x="32" y="40"/>
                      </a:lnTo>
                      <a:lnTo>
                        <a:pt x="24" y="48"/>
                      </a:lnTo>
                      <a:lnTo>
                        <a:pt x="16" y="40"/>
                      </a:lnTo>
                      <a:lnTo>
                        <a:pt x="8" y="32"/>
                      </a:lnTo>
                      <a:lnTo>
                        <a:pt x="16" y="32"/>
                      </a:lnTo>
                      <a:lnTo>
                        <a:pt x="24" y="32"/>
                      </a:lnTo>
                      <a:lnTo>
                        <a:pt x="16" y="24"/>
                      </a:lnTo>
                      <a:lnTo>
                        <a:pt x="8" y="24"/>
                      </a:ln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8" y="0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58" name="Freeform 54"/>
                <p:cNvSpPr>
                  <a:spLocks noChangeAspect="1"/>
                </p:cNvSpPr>
                <p:nvPr/>
              </p:nvSpPr>
              <p:spPr bwMode="auto">
                <a:xfrm>
                  <a:off x="1439" y="1097"/>
                  <a:ext cx="444" cy="253"/>
                </a:xfrm>
                <a:custGeom>
                  <a:avLst/>
                  <a:gdLst>
                    <a:gd name="T0" fmla="*/ 1 w 632"/>
                    <a:gd name="T1" fmla="*/ 1 h 360"/>
                    <a:gd name="T2" fmla="*/ 1 w 632"/>
                    <a:gd name="T3" fmla="*/ 1 h 360"/>
                    <a:gd name="T4" fmla="*/ 1 w 632"/>
                    <a:gd name="T5" fmla="*/ 1 h 360"/>
                    <a:gd name="T6" fmla="*/ 1 w 632"/>
                    <a:gd name="T7" fmla="*/ 1 h 360"/>
                    <a:gd name="T8" fmla="*/ 1 w 632"/>
                    <a:gd name="T9" fmla="*/ 1 h 360"/>
                    <a:gd name="T10" fmla="*/ 1 w 632"/>
                    <a:gd name="T11" fmla="*/ 1 h 360"/>
                    <a:gd name="T12" fmla="*/ 1 w 632"/>
                    <a:gd name="T13" fmla="*/ 1 h 360"/>
                    <a:gd name="T14" fmla="*/ 1 w 632"/>
                    <a:gd name="T15" fmla="*/ 1 h 360"/>
                    <a:gd name="T16" fmla="*/ 1 w 632"/>
                    <a:gd name="T17" fmla="*/ 1 h 360"/>
                    <a:gd name="T18" fmla="*/ 1 w 632"/>
                    <a:gd name="T19" fmla="*/ 1 h 360"/>
                    <a:gd name="T20" fmla="*/ 1 w 632"/>
                    <a:gd name="T21" fmla="*/ 1 h 360"/>
                    <a:gd name="T22" fmla="*/ 1 w 632"/>
                    <a:gd name="T23" fmla="*/ 1 h 360"/>
                    <a:gd name="T24" fmla="*/ 1 w 632"/>
                    <a:gd name="T25" fmla="*/ 1 h 360"/>
                    <a:gd name="T26" fmla="*/ 1 w 632"/>
                    <a:gd name="T27" fmla="*/ 1 h 360"/>
                    <a:gd name="T28" fmla="*/ 1 w 632"/>
                    <a:gd name="T29" fmla="*/ 1 h 360"/>
                    <a:gd name="T30" fmla="*/ 1 w 632"/>
                    <a:gd name="T31" fmla="*/ 1 h 360"/>
                    <a:gd name="T32" fmla="*/ 1 w 632"/>
                    <a:gd name="T33" fmla="*/ 1 h 360"/>
                    <a:gd name="T34" fmla="*/ 1 w 632"/>
                    <a:gd name="T35" fmla="*/ 1 h 360"/>
                    <a:gd name="T36" fmla="*/ 1 w 632"/>
                    <a:gd name="T37" fmla="*/ 1 h 360"/>
                    <a:gd name="T38" fmla="*/ 1 w 632"/>
                    <a:gd name="T39" fmla="*/ 1 h 360"/>
                    <a:gd name="T40" fmla="*/ 1 w 632"/>
                    <a:gd name="T41" fmla="*/ 1 h 360"/>
                    <a:gd name="T42" fmla="*/ 1 w 632"/>
                    <a:gd name="T43" fmla="*/ 1 h 360"/>
                    <a:gd name="T44" fmla="*/ 1 w 632"/>
                    <a:gd name="T45" fmla="*/ 1 h 360"/>
                    <a:gd name="T46" fmla="*/ 1 w 632"/>
                    <a:gd name="T47" fmla="*/ 1 h 360"/>
                    <a:gd name="T48" fmla="*/ 1 w 632"/>
                    <a:gd name="T49" fmla="*/ 1 h 360"/>
                    <a:gd name="T50" fmla="*/ 1 w 632"/>
                    <a:gd name="T51" fmla="*/ 1 h 360"/>
                    <a:gd name="T52" fmla="*/ 1 w 632"/>
                    <a:gd name="T53" fmla="*/ 1 h 360"/>
                    <a:gd name="T54" fmla="*/ 1 w 632"/>
                    <a:gd name="T55" fmla="*/ 1 h 360"/>
                    <a:gd name="T56" fmla="*/ 1 w 632"/>
                    <a:gd name="T57" fmla="*/ 1 h 360"/>
                    <a:gd name="T58" fmla="*/ 1 w 632"/>
                    <a:gd name="T59" fmla="*/ 1 h 360"/>
                    <a:gd name="T60" fmla="*/ 1 w 632"/>
                    <a:gd name="T61" fmla="*/ 1 h 360"/>
                    <a:gd name="T62" fmla="*/ 1 w 632"/>
                    <a:gd name="T63" fmla="*/ 1 h 360"/>
                    <a:gd name="T64" fmla="*/ 1 w 632"/>
                    <a:gd name="T65" fmla="*/ 1 h 360"/>
                    <a:gd name="T66" fmla="*/ 1 w 632"/>
                    <a:gd name="T67" fmla="*/ 1 h 360"/>
                    <a:gd name="T68" fmla="*/ 1 w 632"/>
                    <a:gd name="T69" fmla="*/ 1 h 360"/>
                    <a:gd name="T70" fmla="*/ 1 w 632"/>
                    <a:gd name="T71" fmla="*/ 1 h 360"/>
                    <a:gd name="T72" fmla="*/ 1 w 632"/>
                    <a:gd name="T73" fmla="*/ 1 h 360"/>
                    <a:gd name="T74" fmla="*/ 0 w 632"/>
                    <a:gd name="T75" fmla="*/ 1 h 360"/>
                    <a:gd name="T76" fmla="*/ 1 w 632"/>
                    <a:gd name="T77" fmla="*/ 1 h 360"/>
                    <a:gd name="T78" fmla="*/ 1 w 632"/>
                    <a:gd name="T79" fmla="*/ 1 h 360"/>
                    <a:gd name="T80" fmla="*/ 1 w 632"/>
                    <a:gd name="T81" fmla="*/ 1 h 360"/>
                    <a:gd name="T82" fmla="*/ 1 w 632"/>
                    <a:gd name="T83" fmla="*/ 1 h 360"/>
                    <a:gd name="T84" fmla="*/ 1 w 632"/>
                    <a:gd name="T85" fmla="*/ 1 h 360"/>
                    <a:gd name="T86" fmla="*/ 1 w 632"/>
                    <a:gd name="T87" fmla="*/ 1 h 360"/>
                    <a:gd name="T88" fmla="*/ 1 w 632"/>
                    <a:gd name="T89" fmla="*/ 1 h 360"/>
                    <a:gd name="T90" fmla="*/ 1 w 632"/>
                    <a:gd name="T91" fmla="*/ 1 h 360"/>
                    <a:gd name="T92" fmla="*/ 1 w 632"/>
                    <a:gd name="T93" fmla="*/ 1 h 360"/>
                    <a:gd name="T94" fmla="*/ 1 w 632"/>
                    <a:gd name="T95" fmla="*/ 1 h 360"/>
                    <a:gd name="T96" fmla="*/ 1 w 632"/>
                    <a:gd name="T97" fmla="*/ 1 h 360"/>
                    <a:gd name="T98" fmla="*/ 1 w 632"/>
                    <a:gd name="T99" fmla="*/ 1 h 360"/>
                    <a:gd name="T100" fmla="*/ 1 w 632"/>
                    <a:gd name="T101" fmla="*/ 1 h 360"/>
                    <a:gd name="T102" fmla="*/ 1 w 632"/>
                    <a:gd name="T103" fmla="*/ 1 h 360"/>
                    <a:gd name="T104" fmla="*/ 1 w 632"/>
                    <a:gd name="T105" fmla="*/ 1 h 360"/>
                    <a:gd name="T106" fmla="*/ 1 w 632"/>
                    <a:gd name="T107" fmla="*/ 1 h 360"/>
                    <a:gd name="T108" fmla="*/ 1 w 632"/>
                    <a:gd name="T109" fmla="*/ 1 h 360"/>
                    <a:gd name="T110" fmla="*/ 1 w 632"/>
                    <a:gd name="T111" fmla="*/ 1 h 360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632"/>
                    <a:gd name="T169" fmla="*/ 0 h 360"/>
                    <a:gd name="T170" fmla="*/ 632 w 632"/>
                    <a:gd name="T171" fmla="*/ 360 h 360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632" h="360">
                      <a:moveTo>
                        <a:pt x="104" y="312"/>
                      </a:moveTo>
                      <a:lnTo>
                        <a:pt x="104" y="320"/>
                      </a:lnTo>
                      <a:lnTo>
                        <a:pt x="96" y="320"/>
                      </a:lnTo>
                      <a:lnTo>
                        <a:pt x="80" y="320"/>
                      </a:lnTo>
                      <a:lnTo>
                        <a:pt x="72" y="320"/>
                      </a:lnTo>
                      <a:lnTo>
                        <a:pt x="56" y="328"/>
                      </a:lnTo>
                      <a:lnTo>
                        <a:pt x="48" y="328"/>
                      </a:lnTo>
                      <a:lnTo>
                        <a:pt x="48" y="344"/>
                      </a:lnTo>
                      <a:lnTo>
                        <a:pt x="64" y="344"/>
                      </a:lnTo>
                      <a:lnTo>
                        <a:pt x="72" y="344"/>
                      </a:lnTo>
                      <a:lnTo>
                        <a:pt x="80" y="352"/>
                      </a:lnTo>
                      <a:lnTo>
                        <a:pt x="88" y="344"/>
                      </a:lnTo>
                      <a:lnTo>
                        <a:pt x="96" y="344"/>
                      </a:lnTo>
                      <a:lnTo>
                        <a:pt x="104" y="344"/>
                      </a:lnTo>
                      <a:lnTo>
                        <a:pt x="112" y="344"/>
                      </a:lnTo>
                      <a:lnTo>
                        <a:pt x="112" y="352"/>
                      </a:lnTo>
                      <a:lnTo>
                        <a:pt x="128" y="352"/>
                      </a:lnTo>
                      <a:lnTo>
                        <a:pt x="144" y="352"/>
                      </a:lnTo>
                      <a:lnTo>
                        <a:pt x="136" y="344"/>
                      </a:lnTo>
                      <a:lnTo>
                        <a:pt x="144" y="344"/>
                      </a:lnTo>
                      <a:lnTo>
                        <a:pt x="152" y="344"/>
                      </a:lnTo>
                      <a:lnTo>
                        <a:pt x="160" y="344"/>
                      </a:lnTo>
                      <a:lnTo>
                        <a:pt x="152" y="344"/>
                      </a:lnTo>
                      <a:lnTo>
                        <a:pt x="168" y="344"/>
                      </a:lnTo>
                      <a:lnTo>
                        <a:pt x="176" y="344"/>
                      </a:lnTo>
                      <a:lnTo>
                        <a:pt x="184" y="344"/>
                      </a:lnTo>
                      <a:lnTo>
                        <a:pt x="192" y="352"/>
                      </a:lnTo>
                      <a:lnTo>
                        <a:pt x="200" y="344"/>
                      </a:lnTo>
                      <a:lnTo>
                        <a:pt x="200" y="336"/>
                      </a:lnTo>
                      <a:lnTo>
                        <a:pt x="216" y="336"/>
                      </a:lnTo>
                      <a:lnTo>
                        <a:pt x="216" y="344"/>
                      </a:lnTo>
                      <a:lnTo>
                        <a:pt x="232" y="344"/>
                      </a:lnTo>
                      <a:lnTo>
                        <a:pt x="232" y="352"/>
                      </a:lnTo>
                      <a:lnTo>
                        <a:pt x="224" y="352"/>
                      </a:lnTo>
                      <a:lnTo>
                        <a:pt x="232" y="360"/>
                      </a:lnTo>
                      <a:lnTo>
                        <a:pt x="264" y="352"/>
                      </a:lnTo>
                      <a:lnTo>
                        <a:pt x="264" y="344"/>
                      </a:lnTo>
                      <a:lnTo>
                        <a:pt x="280" y="344"/>
                      </a:lnTo>
                      <a:lnTo>
                        <a:pt x="288" y="336"/>
                      </a:lnTo>
                      <a:lnTo>
                        <a:pt x="280" y="328"/>
                      </a:lnTo>
                      <a:lnTo>
                        <a:pt x="272" y="328"/>
                      </a:lnTo>
                      <a:lnTo>
                        <a:pt x="264" y="328"/>
                      </a:lnTo>
                      <a:lnTo>
                        <a:pt x="256" y="328"/>
                      </a:lnTo>
                      <a:lnTo>
                        <a:pt x="256" y="320"/>
                      </a:lnTo>
                      <a:lnTo>
                        <a:pt x="264" y="320"/>
                      </a:lnTo>
                      <a:lnTo>
                        <a:pt x="256" y="312"/>
                      </a:lnTo>
                      <a:lnTo>
                        <a:pt x="248" y="312"/>
                      </a:lnTo>
                      <a:lnTo>
                        <a:pt x="240" y="320"/>
                      </a:lnTo>
                      <a:lnTo>
                        <a:pt x="208" y="320"/>
                      </a:lnTo>
                      <a:lnTo>
                        <a:pt x="208" y="312"/>
                      </a:lnTo>
                      <a:lnTo>
                        <a:pt x="216" y="312"/>
                      </a:lnTo>
                      <a:lnTo>
                        <a:pt x="208" y="304"/>
                      </a:lnTo>
                      <a:lnTo>
                        <a:pt x="216" y="304"/>
                      </a:lnTo>
                      <a:lnTo>
                        <a:pt x="232" y="312"/>
                      </a:lnTo>
                      <a:lnTo>
                        <a:pt x="264" y="312"/>
                      </a:lnTo>
                      <a:lnTo>
                        <a:pt x="288" y="304"/>
                      </a:lnTo>
                      <a:lnTo>
                        <a:pt x="280" y="296"/>
                      </a:lnTo>
                      <a:lnTo>
                        <a:pt x="272" y="288"/>
                      </a:lnTo>
                      <a:lnTo>
                        <a:pt x="280" y="288"/>
                      </a:lnTo>
                      <a:lnTo>
                        <a:pt x="304" y="288"/>
                      </a:lnTo>
                      <a:lnTo>
                        <a:pt x="328" y="280"/>
                      </a:lnTo>
                      <a:lnTo>
                        <a:pt x="320" y="280"/>
                      </a:lnTo>
                      <a:lnTo>
                        <a:pt x="304" y="280"/>
                      </a:lnTo>
                      <a:lnTo>
                        <a:pt x="312" y="272"/>
                      </a:lnTo>
                      <a:lnTo>
                        <a:pt x="336" y="272"/>
                      </a:lnTo>
                      <a:lnTo>
                        <a:pt x="344" y="272"/>
                      </a:lnTo>
                      <a:lnTo>
                        <a:pt x="336" y="264"/>
                      </a:lnTo>
                      <a:lnTo>
                        <a:pt x="320" y="264"/>
                      </a:lnTo>
                      <a:lnTo>
                        <a:pt x="320" y="256"/>
                      </a:lnTo>
                      <a:lnTo>
                        <a:pt x="336" y="264"/>
                      </a:lnTo>
                      <a:lnTo>
                        <a:pt x="352" y="256"/>
                      </a:lnTo>
                      <a:lnTo>
                        <a:pt x="336" y="248"/>
                      </a:lnTo>
                      <a:lnTo>
                        <a:pt x="320" y="248"/>
                      </a:lnTo>
                      <a:lnTo>
                        <a:pt x="312" y="240"/>
                      </a:lnTo>
                      <a:lnTo>
                        <a:pt x="288" y="240"/>
                      </a:lnTo>
                      <a:lnTo>
                        <a:pt x="296" y="240"/>
                      </a:lnTo>
                      <a:lnTo>
                        <a:pt x="312" y="240"/>
                      </a:lnTo>
                      <a:lnTo>
                        <a:pt x="288" y="232"/>
                      </a:lnTo>
                      <a:lnTo>
                        <a:pt x="304" y="232"/>
                      </a:lnTo>
                      <a:lnTo>
                        <a:pt x="320" y="232"/>
                      </a:lnTo>
                      <a:lnTo>
                        <a:pt x="336" y="240"/>
                      </a:lnTo>
                      <a:lnTo>
                        <a:pt x="352" y="240"/>
                      </a:lnTo>
                      <a:lnTo>
                        <a:pt x="352" y="232"/>
                      </a:lnTo>
                      <a:lnTo>
                        <a:pt x="320" y="232"/>
                      </a:lnTo>
                      <a:lnTo>
                        <a:pt x="288" y="232"/>
                      </a:lnTo>
                      <a:lnTo>
                        <a:pt x="288" y="224"/>
                      </a:lnTo>
                      <a:lnTo>
                        <a:pt x="304" y="224"/>
                      </a:lnTo>
                      <a:lnTo>
                        <a:pt x="296" y="224"/>
                      </a:lnTo>
                      <a:lnTo>
                        <a:pt x="320" y="224"/>
                      </a:lnTo>
                      <a:lnTo>
                        <a:pt x="304" y="224"/>
                      </a:lnTo>
                      <a:lnTo>
                        <a:pt x="320" y="216"/>
                      </a:lnTo>
                      <a:lnTo>
                        <a:pt x="328" y="216"/>
                      </a:lnTo>
                      <a:lnTo>
                        <a:pt x="328" y="224"/>
                      </a:lnTo>
                      <a:lnTo>
                        <a:pt x="344" y="224"/>
                      </a:lnTo>
                      <a:lnTo>
                        <a:pt x="344" y="216"/>
                      </a:lnTo>
                      <a:lnTo>
                        <a:pt x="360" y="216"/>
                      </a:lnTo>
                      <a:lnTo>
                        <a:pt x="376" y="216"/>
                      </a:lnTo>
                      <a:lnTo>
                        <a:pt x="376" y="208"/>
                      </a:lnTo>
                      <a:lnTo>
                        <a:pt x="352" y="208"/>
                      </a:lnTo>
                      <a:lnTo>
                        <a:pt x="352" y="200"/>
                      </a:lnTo>
                      <a:lnTo>
                        <a:pt x="360" y="200"/>
                      </a:lnTo>
                      <a:lnTo>
                        <a:pt x="384" y="208"/>
                      </a:lnTo>
                      <a:lnTo>
                        <a:pt x="408" y="208"/>
                      </a:lnTo>
                      <a:lnTo>
                        <a:pt x="416" y="200"/>
                      </a:lnTo>
                      <a:lnTo>
                        <a:pt x="416" y="192"/>
                      </a:lnTo>
                      <a:lnTo>
                        <a:pt x="424" y="192"/>
                      </a:lnTo>
                      <a:lnTo>
                        <a:pt x="416" y="192"/>
                      </a:lnTo>
                      <a:lnTo>
                        <a:pt x="400" y="192"/>
                      </a:lnTo>
                      <a:lnTo>
                        <a:pt x="392" y="192"/>
                      </a:lnTo>
                      <a:lnTo>
                        <a:pt x="392" y="184"/>
                      </a:lnTo>
                      <a:lnTo>
                        <a:pt x="400" y="184"/>
                      </a:lnTo>
                      <a:lnTo>
                        <a:pt x="416" y="184"/>
                      </a:lnTo>
                      <a:lnTo>
                        <a:pt x="424" y="184"/>
                      </a:lnTo>
                      <a:lnTo>
                        <a:pt x="440" y="184"/>
                      </a:lnTo>
                      <a:lnTo>
                        <a:pt x="440" y="176"/>
                      </a:lnTo>
                      <a:lnTo>
                        <a:pt x="424" y="168"/>
                      </a:lnTo>
                      <a:lnTo>
                        <a:pt x="440" y="168"/>
                      </a:lnTo>
                      <a:lnTo>
                        <a:pt x="448" y="176"/>
                      </a:lnTo>
                      <a:lnTo>
                        <a:pt x="464" y="168"/>
                      </a:lnTo>
                      <a:lnTo>
                        <a:pt x="464" y="160"/>
                      </a:lnTo>
                      <a:lnTo>
                        <a:pt x="488" y="144"/>
                      </a:lnTo>
                      <a:lnTo>
                        <a:pt x="496" y="144"/>
                      </a:lnTo>
                      <a:lnTo>
                        <a:pt x="512" y="136"/>
                      </a:lnTo>
                      <a:lnTo>
                        <a:pt x="520" y="136"/>
                      </a:lnTo>
                      <a:lnTo>
                        <a:pt x="536" y="120"/>
                      </a:lnTo>
                      <a:lnTo>
                        <a:pt x="544" y="120"/>
                      </a:lnTo>
                      <a:lnTo>
                        <a:pt x="552" y="112"/>
                      </a:lnTo>
                      <a:lnTo>
                        <a:pt x="560" y="104"/>
                      </a:lnTo>
                      <a:lnTo>
                        <a:pt x="544" y="104"/>
                      </a:lnTo>
                      <a:lnTo>
                        <a:pt x="536" y="112"/>
                      </a:lnTo>
                      <a:lnTo>
                        <a:pt x="520" y="112"/>
                      </a:lnTo>
                      <a:lnTo>
                        <a:pt x="512" y="112"/>
                      </a:lnTo>
                      <a:lnTo>
                        <a:pt x="480" y="120"/>
                      </a:lnTo>
                      <a:lnTo>
                        <a:pt x="464" y="128"/>
                      </a:lnTo>
                      <a:lnTo>
                        <a:pt x="456" y="128"/>
                      </a:lnTo>
                      <a:lnTo>
                        <a:pt x="448" y="128"/>
                      </a:lnTo>
                      <a:lnTo>
                        <a:pt x="432" y="128"/>
                      </a:lnTo>
                      <a:lnTo>
                        <a:pt x="440" y="128"/>
                      </a:lnTo>
                      <a:lnTo>
                        <a:pt x="456" y="128"/>
                      </a:lnTo>
                      <a:lnTo>
                        <a:pt x="472" y="120"/>
                      </a:lnTo>
                      <a:lnTo>
                        <a:pt x="496" y="112"/>
                      </a:lnTo>
                      <a:lnTo>
                        <a:pt x="520" y="112"/>
                      </a:lnTo>
                      <a:lnTo>
                        <a:pt x="512" y="104"/>
                      </a:lnTo>
                      <a:lnTo>
                        <a:pt x="496" y="104"/>
                      </a:lnTo>
                      <a:lnTo>
                        <a:pt x="488" y="104"/>
                      </a:lnTo>
                      <a:lnTo>
                        <a:pt x="464" y="104"/>
                      </a:lnTo>
                      <a:lnTo>
                        <a:pt x="464" y="96"/>
                      </a:lnTo>
                      <a:lnTo>
                        <a:pt x="472" y="96"/>
                      </a:lnTo>
                      <a:lnTo>
                        <a:pt x="480" y="104"/>
                      </a:lnTo>
                      <a:lnTo>
                        <a:pt x="496" y="96"/>
                      </a:lnTo>
                      <a:lnTo>
                        <a:pt x="504" y="104"/>
                      </a:lnTo>
                      <a:lnTo>
                        <a:pt x="536" y="96"/>
                      </a:lnTo>
                      <a:lnTo>
                        <a:pt x="544" y="96"/>
                      </a:lnTo>
                      <a:lnTo>
                        <a:pt x="560" y="96"/>
                      </a:lnTo>
                      <a:lnTo>
                        <a:pt x="576" y="88"/>
                      </a:lnTo>
                      <a:lnTo>
                        <a:pt x="584" y="88"/>
                      </a:lnTo>
                      <a:lnTo>
                        <a:pt x="600" y="80"/>
                      </a:lnTo>
                      <a:lnTo>
                        <a:pt x="608" y="72"/>
                      </a:lnTo>
                      <a:lnTo>
                        <a:pt x="616" y="72"/>
                      </a:lnTo>
                      <a:lnTo>
                        <a:pt x="608" y="72"/>
                      </a:lnTo>
                      <a:lnTo>
                        <a:pt x="632" y="64"/>
                      </a:lnTo>
                      <a:lnTo>
                        <a:pt x="632" y="48"/>
                      </a:lnTo>
                      <a:lnTo>
                        <a:pt x="616" y="40"/>
                      </a:lnTo>
                      <a:lnTo>
                        <a:pt x="584" y="40"/>
                      </a:lnTo>
                      <a:lnTo>
                        <a:pt x="576" y="32"/>
                      </a:lnTo>
                      <a:lnTo>
                        <a:pt x="568" y="24"/>
                      </a:lnTo>
                      <a:lnTo>
                        <a:pt x="576" y="24"/>
                      </a:lnTo>
                      <a:lnTo>
                        <a:pt x="576" y="16"/>
                      </a:lnTo>
                      <a:lnTo>
                        <a:pt x="560" y="16"/>
                      </a:lnTo>
                      <a:lnTo>
                        <a:pt x="552" y="24"/>
                      </a:lnTo>
                      <a:lnTo>
                        <a:pt x="544" y="16"/>
                      </a:lnTo>
                      <a:lnTo>
                        <a:pt x="536" y="24"/>
                      </a:lnTo>
                      <a:lnTo>
                        <a:pt x="528" y="24"/>
                      </a:lnTo>
                      <a:lnTo>
                        <a:pt x="520" y="16"/>
                      </a:lnTo>
                      <a:lnTo>
                        <a:pt x="512" y="16"/>
                      </a:lnTo>
                      <a:lnTo>
                        <a:pt x="488" y="32"/>
                      </a:lnTo>
                      <a:lnTo>
                        <a:pt x="464" y="32"/>
                      </a:lnTo>
                      <a:lnTo>
                        <a:pt x="504" y="16"/>
                      </a:lnTo>
                      <a:lnTo>
                        <a:pt x="496" y="8"/>
                      </a:lnTo>
                      <a:lnTo>
                        <a:pt x="472" y="8"/>
                      </a:lnTo>
                      <a:lnTo>
                        <a:pt x="464" y="8"/>
                      </a:lnTo>
                      <a:lnTo>
                        <a:pt x="448" y="8"/>
                      </a:lnTo>
                      <a:lnTo>
                        <a:pt x="440" y="8"/>
                      </a:lnTo>
                      <a:lnTo>
                        <a:pt x="424" y="8"/>
                      </a:lnTo>
                      <a:lnTo>
                        <a:pt x="424" y="0"/>
                      </a:lnTo>
                      <a:lnTo>
                        <a:pt x="400" y="0"/>
                      </a:lnTo>
                      <a:lnTo>
                        <a:pt x="400" y="8"/>
                      </a:lnTo>
                      <a:lnTo>
                        <a:pt x="416" y="8"/>
                      </a:lnTo>
                      <a:lnTo>
                        <a:pt x="408" y="16"/>
                      </a:lnTo>
                      <a:lnTo>
                        <a:pt x="392" y="8"/>
                      </a:lnTo>
                      <a:lnTo>
                        <a:pt x="392" y="0"/>
                      </a:lnTo>
                      <a:lnTo>
                        <a:pt x="368" y="0"/>
                      </a:lnTo>
                      <a:lnTo>
                        <a:pt x="360" y="0"/>
                      </a:lnTo>
                      <a:lnTo>
                        <a:pt x="360" y="8"/>
                      </a:lnTo>
                      <a:lnTo>
                        <a:pt x="360" y="16"/>
                      </a:lnTo>
                      <a:lnTo>
                        <a:pt x="384" y="24"/>
                      </a:lnTo>
                      <a:lnTo>
                        <a:pt x="384" y="32"/>
                      </a:lnTo>
                      <a:lnTo>
                        <a:pt x="376" y="32"/>
                      </a:lnTo>
                      <a:lnTo>
                        <a:pt x="360" y="24"/>
                      </a:lnTo>
                      <a:lnTo>
                        <a:pt x="352" y="24"/>
                      </a:lnTo>
                      <a:lnTo>
                        <a:pt x="336" y="8"/>
                      </a:lnTo>
                      <a:lnTo>
                        <a:pt x="296" y="8"/>
                      </a:lnTo>
                      <a:lnTo>
                        <a:pt x="288" y="8"/>
                      </a:lnTo>
                      <a:lnTo>
                        <a:pt x="288" y="16"/>
                      </a:lnTo>
                      <a:lnTo>
                        <a:pt x="312" y="24"/>
                      </a:lnTo>
                      <a:lnTo>
                        <a:pt x="320" y="32"/>
                      </a:lnTo>
                      <a:lnTo>
                        <a:pt x="328" y="32"/>
                      </a:lnTo>
                      <a:lnTo>
                        <a:pt x="320" y="40"/>
                      </a:lnTo>
                      <a:lnTo>
                        <a:pt x="304" y="48"/>
                      </a:lnTo>
                      <a:lnTo>
                        <a:pt x="304" y="32"/>
                      </a:lnTo>
                      <a:lnTo>
                        <a:pt x="288" y="24"/>
                      </a:lnTo>
                      <a:lnTo>
                        <a:pt x="272" y="16"/>
                      </a:lnTo>
                      <a:lnTo>
                        <a:pt x="264" y="16"/>
                      </a:lnTo>
                      <a:lnTo>
                        <a:pt x="256" y="16"/>
                      </a:lnTo>
                      <a:lnTo>
                        <a:pt x="232" y="16"/>
                      </a:lnTo>
                      <a:lnTo>
                        <a:pt x="224" y="16"/>
                      </a:lnTo>
                      <a:lnTo>
                        <a:pt x="232" y="24"/>
                      </a:lnTo>
                      <a:lnTo>
                        <a:pt x="256" y="32"/>
                      </a:lnTo>
                      <a:lnTo>
                        <a:pt x="248" y="32"/>
                      </a:lnTo>
                      <a:lnTo>
                        <a:pt x="232" y="32"/>
                      </a:lnTo>
                      <a:lnTo>
                        <a:pt x="208" y="24"/>
                      </a:lnTo>
                      <a:lnTo>
                        <a:pt x="200" y="24"/>
                      </a:lnTo>
                      <a:lnTo>
                        <a:pt x="192" y="24"/>
                      </a:lnTo>
                      <a:lnTo>
                        <a:pt x="224" y="32"/>
                      </a:lnTo>
                      <a:lnTo>
                        <a:pt x="224" y="40"/>
                      </a:lnTo>
                      <a:lnTo>
                        <a:pt x="216" y="40"/>
                      </a:lnTo>
                      <a:lnTo>
                        <a:pt x="200" y="32"/>
                      </a:lnTo>
                      <a:lnTo>
                        <a:pt x="176" y="32"/>
                      </a:lnTo>
                      <a:lnTo>
                        <a:pt x="184" y="40"/>
                      </a:lnTo>
                      <a:lnTo>
                        <a:pt x="192" y="40"/>
                      </a:lnTo>
                      <a:lnTo>
                        <a:pt x="200" y="40"/>
                      </a:lnTo>
                      <a:lnTo>
                        <a:pt x="200" y="48"/>
                      </a:lnTo>
                      <a:lnTo>
                        <a:pt x="184" y="48"/>
                      </a:lnTo>
                      <a:lnTo>
                        <a:pt x="176" y="48"/>
                      </a:lnTo>
                      <a:lnTo>
                        <a:pt x="184" y="56"/>
                      </a:lnTo>
                      <a:lnTo>
                        <a:pt x="216" y="64"/>
                      </a:lnTo>
                      <a:lnTo>
                        <a:pt x="224" y="72"/>
                      </a:lnTo>
                      <a:lnTo>
                        <a:pt x="224" y="80"/>
                      </a:lnTo>
                      <a:lnTo>
                        <a:pt x="216" y="80"/>
                      </a:lnTo>
                      <a:lnTo>
                        <a:pt x="192" y="64"/>
                      </a:lnTo>
                      <a:lnTo>
                        <a:pt x="176" y="64"/>
                      </a:lnTo>
                      <a:lnTo>
                        <a:pt x="168" y="64"/>
                      </a:lnTo>
                      <a:lnTo>
                        <a:pt x="184" y="72"/>
                      </a:lnTo>
                      <a:lnTo>
                        <a:pt x="168" y="72"/>
                      </a:lnTo>
                      <a:lnTo>
                        <a:pt x="144" y="56"/>
                      </a:lnTo>
                      <a:lnTo>
                        <a:pt x="128" y="48"/>
                      </a:lnTo>
                      <a:lnTo>
                        <a:pt x="112" y="48"/>
                      </a:lnTo>
                      <a:lnTo>
                        <a:pt x="120" y="56"/>
                      </a:lnTo>
                      <a:lnTo>
                        <a:pt x="104" y="56"/>
                      </a:lnTo>
                      <a:lnTo>
                        <a:pt x="104" y="64"/>
                      </a:lnTo>
                      <a:lnTo>
                        <a:pt x="112" y="72"/>
                      </a:lnTo>
                      <a:lnTo>
                        <a:pt x="136" y="72"/>
                      </a:lnTo>
                      <a:lnTo>
                        <a:pt x="144" y="80"/>
                      </a:lnTo>
                      <a:lnTo>
                        <a:pt x="128" y="80"/>
                      </a:lnTo>
                      <a:lnTo>
                        <a:pt x="112" y="80"/>
                      </a:lnTo>
                      <a:lnTo>
                        <a:pt x="104" y="72"/>
                      </a:lnTo>
                      <a:lnTo>
                        <a:pt x="96" y="80"/>
                      </a:lnTo>
                      <a:lnTo>
                        <a:pt x="104" y="80"/>
                      </a:lnTo>
                      <a:lnTo>
                        <a:pt x="88" y="80"/>
                      </a:lnTo>
                      <a:lnTo>
                        <a:pt x="80" y="72"/>
                      </a:lnTo>
                      <a:lnTo>
                        <a:pt x="64" y="72"/>
                      </a:lnTo>
                      <a:lnTo>
                        <a:pt x="48" y="80"/>
                      </a:lnTo>
                      <a:lnTo>
                        <a:pt x="48" y="88"/>
                      </a:lnTo>
                      <a:lnTo>
                        <a:pt x="24" y="80"/>
                      </a:lnTo>
                      <a:lnTo>
                        <a:pt x="16" y="88"/>
                      </a:lnTo>
                      <a:lnTo>
                        <a:pt x="0" y="96"/>
                      </a:lnTo>
                      <a:lnTo>
                        <a:pt x="8" y="104"/>
                      </a:lnTo>
                      <a:lnTo>
                        <a:pt x="24" y="104"/>
                      </a:lnTo>
                      <a:lnTo>
                        <a:pt x="40" y="104"/>
                      </a:lnTo>
                      <a:lnTo>
                        <a:pt x="32" y="104"/>
                      </a:lnTo>
                      <a:lnTo>
                        <a:pt x="32" y="112"/>
                      </a:lnTo>
                      <a:lnTo>
                        <a:pt x="56" y="112"/>
                      </a:lnTo>
                      <a:lnTo>
                        <a:pt x="72" y="104"/>
                      </a:lnTo>
                      <a:lnTo>
                        <a:pt x="96" y="104"/>
                      </a:lnTo>
                      <a:lnTo>
                        <a:pt x="88" y="112"/>
                      </a:lnTo>
                      <a:lnTo>
                        <a:pt x="64" y="112"/>
                      </a:lnTo>
                      <a:lnTo>
                        <a:pt x="48" y="120"/>
                      </a:lnTo>
                      <a:lnTo>
                        <a:pt x="40" y="128"/>
                      </a:lnTo>
                      <a:lnTo>
                        <a:pt x="48" y="136"/>
                      </a:lnTo>
                      <a:lnTo>
                        <a:pt x="80" y="136"/>
                      </a:lnTo>
                      <a:lnTo>
                        <a:pt x="104" y="136"/>
                      </a:lnTo>
                      <a:lnTo>
                        <a:pt x="136" y="120"/>
                      </a:lnTo>
                      <a:lnTo>
                        <a:pt x="144" y="120"/>
                      </a:lnTo>
                      <a:lnTo>
                        <a:pt x="128" y="136"/>
                      </a:lnTo>
                      <a:lnTo>
                        <a:pt x="104" y="136"/>
                      </a:lnTo>
                      <a:lnTo>
                        <a:pt x="80" y="136"/>
                      </a:lnTo>
                      <a:lnTo>
                        <a:pt x="56" y="144"/>
                      </a:lnTo>
                      <a:lnTo>
                        <a:pt x="56" y="152"/>
                      </a:lnTo>
                      <a:lnTo>
                        <a:pt x="80" y="152"/>
                      </a:lnTo>
                      <a:lnTo>
                        <a:pt x="96" y="160"/>
                      </a:lnTo>
                      <a:lnTo>
                        <a:pt x="104" y="160"/>
                      </a:lnTo>
                      <a:lnTo>
                        <a:pt x="112" y="144"/>
                      </a:lnTo>
                      <a:lnTo>
                        <a:pt x="128" y="136"/>
                      </a:lnTo>
                      <a:lnTo>
                        <a:pt x="152" y="136"/>
                      </a:lnTo>
                      <a:lnTo>
                        <a:pt x="184" y="128"/>
                      </a:lnTo>
                      <a:lnTo>
                        <a:pt x="184" y="136"/>
                      </a:lnTo>
                      <a:lnTo>
                        <a:pt x="136" y="144"/>
                      </a:lnTo>
                      <a:lnTo>
                        <a:pt x="120" y="152"/>
                      </a:lnTo>
                      <a:lnTo>
                        <a:pt x="120" y="160"/>
                      </a:lnTo>
                      <a:lnTo>
                        <a:pt x="144" y="168"/>
                      </a:lnTo>
                      <a:lnTo>
                        <a:pt x="152" y="160"/>
                      </a:lnTo>
                      <a:lnTo>
                        <a:pt x="152" y="152"/>
                      </a:lnTo>
                      <a:lnTo>
                        <a:pt x="168" y="152"/>
                      </a:lnTo>
                      <a:lnTo>
                        <a:pt x="184" y="152"/>
                      </a:lnTo>
                      <a:lnTo>
                        <a:pt x="200" y="152"/>
                      </a:lnTo>
                      <a:lnTo>
                        <a:pt x="192" y="152"/>
                      </a:lnTo>
                      <a:lnTo>
                        <a:pt x="176" y="160"/>
                      </a:lnTo>
                      <a:lnTo>
                        <a:pt x="184" y="160"/>
                      </a:lnTo>
                      <a:lnTo>
                        <a:pt x="208" y="160"/>
                      </a:lnTo>
                      <a:lnTo>
                        <a:pt x="224" y="152"/>
                      </a:lnTo>
                      <a:lnTo>
                        <a:pt x="248" y="144"/>
                      </a:lnTo>
                      <a:lnTo>
                        <a:pt x="240" y="128"/>
                      </a:lnTo>
                      <a:lnTo>
                        <a:pt x="256" y="128"/>
                      </a:lnTo>
                      <a:lnTo>
                        <a:pt x="264" y="120"/>
                      </a:lnTo>
                      <a:lnTo>
                        <a:pt x="272" y="112"/>
                      </a:lnTo>
                      <a:lnTo>
                        <a:pt x="288" y="112"/>
                      </a:lnTo>
                      <a:lnTo>
                        <a:pt x="288" y="120"/>
                      </a:lnTo>
                      <a:lnTo>
                        <a:pt x="272" y="128"/>
                      </a:lnTo>
                      <a:lnTo>
                        <a:pt x="264" y="144"/>
                      </a:lnTo>
                      <a:lnTo>
                        <a:pt x="288" y="144"/>
                      </a:lnTo>
                      <a:lnTo>
                        <a:pt x="312" y="144"/>
                      </a:lnTo>
                      <a:lnTo>
                        <a:pt x="296" y="152"/>
                      </a:lnTo>
                      <a:lnTo>
                        <a:pt x="264" y="152"/>
                      </a:lnTo>
                      <a:lnTo>
                        <a:pt x="240" y="152"/>
                      </a:lnTo>
                      <a:lnTo>
                        <a:pt x="248" y="160"/>
                      </a:lnTo>
                      <a:lnTo>
                        <a:pt x="264" y="160"/>
                      </a:lnTo>
                      <a:lnTo>
                        <a:pt x="240" y="168"/>
                      </a:lnTo>
                      <a:lnTo>
                        <a:pt x="224" y="168"/>
                      </a:lnTo>
                      <a:lnTo>
                        <a:pt x="208" y="168"/>
                      </a:lnTo>
                      <a:lnTo>
                        <a:pt x="184" y="168"/>
                      </a:lnTo>
                      <a:lnTo>
                        <a:pt x="184" y="176"/>
                      </a:lnTo>
                      <a:lnTo>
                        <a:pt x="200" y="184"/>
                      </a:lnTo>
                      <a:lnTo>
                        <a:pt x="208" y="192"/>
                      </a:lnTo>
                      <a:lnTo>
                        <a:pt x="216" y="208"/>
                      </a:lnTo>
                      <a:lnTo>
                        <a:pt x="224" y="208"/>
                      </a:lnTo>
                      <a:lnTo>
                        <a:pt x="240" y="208"/>
                      </a:lnTo>
                      <a:lnTo>
                        <a:pt x="248" y="208"/>
                      </a:lnTo>
                      <a:lnTo>
                        <a:pt x="232" y="216"/>
                      </a:lnTo>
                      <a:lnTo>
                        <a:pt x="208" y="216"/>
                      </a:lnTo>
                      <a:lnTo>
                        <a:pt x="200" y="200"/>
                      </a:lnTo>
                      <a:lnTo>
                        <a:pt x="168" y="176"/>
                      </a:lnTo>
                      <a:lnTo>
                        <a:pt x="144" y="176"/>
                      </a:lnTo>
                      <a:lnTo>
                        <a:pt x="112" y="176"/>
                      </a:lnTo>
                      <a:lnTo>
                        <a:pt x="112" y="184"/>
                      </a:lnTo>
                      <a:lnTo>
                        <a:pt x="128" y="192"/>
                      </a:lnTo>
                      <a:lnTo>
                        <a:pt x="112" y="192"/>
                      </a:lnTo>
                      <a:lnTo>
                        <a:pt x="112" y="200"/>
                      </a:lnTo>
                      <a:lnTo>
                        <a:pt x="136" y="208"/>
                      </a:lnTo>
                      <a:lnTo>
                        <a:pt x="152" y="216"/>
                      </a:lnTo>
                      <a:lnTo>
                        <a:pt x="152" y="224"/>
                      </a:lnTo>
                      <a:lnTo>
                        <a:pt x="168" y="232"/>
                      </a:lnTo>
                      <a:lnTo>
                        <a:pt x="168" y="240"/>
                      </a:lnTo>
                      <a:lnTo>
                        <a:pt x="152" y="232"/>
                      </a:lnTo>
                      <a:lnTo>
                        <a:pt x="144" y="240"/>
                      </a:lnTo>
                      <a:lnTo>
                        <a:pt x="168" y="248"/>
                      </a:lnTo>
                      <a:lnTo>
                        <a:pt x="192" y="248"/>
                      </a:lnTo>
                      <a:lnTo>
                        <a:pt x="216" y="240"/>
                      </a:lnTo>
                      <a:lnTo>
                        <a:pt x="216" y="248"/>
                      </a:lnTo>
                      <a:lnTo>
                        <a:pt x="200" y="248"/>
                      </a:lnTo>
                      <a:lnTo>
                        <a:pt x="192" y="256"/>
                      </a:lnTo>
                      <a:lnTo>
                        <a:pt x="176" y="248"/>
                      </a:lnTo>
                      <a:lnTo>
                        <a:pt x="152" y="248"/>
                      </a:lnTo>
                      <a:lnTo>
                        <a:pt x="136" y="248"/>
                      </a:lnTo>
                      <a:lnTo>
                        <a:pt x="120" y="248"/>
                      </a:lnTo>
                      <a:lnTo>
                        <a:pt x="112" y="248"/>
                      </a:lnTo>
                      <a:lnTo>
                        <a:pt x="104" y="248"/>
                      </a:lnTo>
                      <a:lnTo>
                        <a:pt x="96" y="264"/>
                      </a:lnTo>
                      <a:lnTo>
                        <a:pt x="96" y="280"/>
                      </a:lnTo>
                      <a:lnTo>
                        <a:pt x="112" y="280"/>
                      </a:lnTo>
                      <a:lnTo>
                        <a:pt x="120" y="272"/>
                      </a:lnTo>
                      <a:lnTo>
                        <a:pt x="120" y="280"/>
                      </a:lnTo>
                      <a:lnTo>
                        <a:pt x="136" y="280"/>
                      </a:lnTo>
                      <a:lnTo>
                        <a:pt x="144" y="272"/>
                      </a:lnTo>
                      <a:lnTo>
                        <a:pt x="144" y="264"/>
                      </a:lnTo>
                      <a:lnTo>
                        <a:pt x="152" y="264"/>
                      </a:lnTo>
                      <a:lnTo>
                        <a:pt x="152" y="272"/>
                      </a:lnTo>
                      <a:lnTo>
                        <a:pt x="144" y="280"/>
                      </a:lnTo>
                      <a:lnTo>
                        <a:pt x="144" y="288"/>
                      </a:lnTo>
                      <a:lnTo>
                        <a:pt x="136" y="288"/>
                      </a:lnTo>
                      <a:lnTo>
                        <a:pt x="136" y="296"/>
                      </a:lnTo>
                      <a:lnTo>
                        <a:pt x="152" y="304"/>
                      </a:lnTo>
                      <a:lnTo>
                        <a:pt x="176" y="296"/>
                      </a:lnTo>
                      <a:lnTo>
                        <a:pt x="184" y="280"/>
                      </a:lnTo>
                      <a:lnTo>
                        <a:pt x="200" y="280"/>
                      </a:lnTo>
                      <a:lnTo>
                        <a:pt x="200" y="288"/>
                      </a:lnTo>
                      <a:lnTo>
                        <a:pt x="192" y="288"/>
                      </a:lnTo>
                      <a:lnTo>
                        <a:pt x="168" y="312"/>
                      </a:lnTo>
                      <a:lnTo>
                        <a:pt x="160" y="312"/>
                      </a:lnTo>
                      <a:lnTo>
                        <a:pt x="144" y="312"/>
                      </a:lnTo>
                      <a:lnTo>
                        <a:pt x="120" y="304"/>
                      </a:lnTo>
                      <a:lnTo>
                        <a:pt x="112" y="296"/>
                      </a:lnTo>
                      <a:lnTo>
                        <a:pt x="96" y="288"/>
                      </a:lnTo>
                      <a:lnTo>
                        <a:pt x="88" y="288"/>
                      </a:lnTo>
                      <a:lnTo>
                        <a:pt x="72" y="296"/>
                      </a:lnTo>
                      <a:lnTo>
                        <a:pt x="80" y="304"/>
                      </a:lnTo>
                      <a:lnTo>
                        <a:pt x="104" y="312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59" name="Freeform 55"/>
                <p:cNvSpPr>
                  <a:spLocks noChangeAspect="1"/>
                </p:cNvSpPr>
                <p:nvPr/>
              </p:nvSpPr>
              <p:spPr bwMode="auto">
                <a:xfrm>
                  <a:off x="1377" y="1182"/>
                  <a:ext cx="163" cy="112"/>
                </a:xfrm>
                <a:custGeom>
                  <a:avLst/>
                  <a:gdLst>
                    <a:gd name="T0" fmla="*/ 1 w 232"/>
                    <a:gd name="T1" fmla="*/ 0 h 160"/>
                    <a:gd name="T2" fmla="*/ 1 w 232"/>
                    <a:gd name="T3" fmla="*/ 1 h 160"/>
                    <a:gd name="T4" fmla="*/ 1 w 232"/>
                    <a:gd name="T5" fmla="*/ 1 h 160"/>
                    <a:gd name="T6" fmla="*/ 1 w 232"/>
                    <a:gd name="T7" fmla="*/ 1 h 160"/>
                    <a:gd name="T8" fmla="*/ 1 w 232"/>
                    <a:gd name="T9" fmla="*/ 1 h 160"/>
                    <a:gd name="T10" fmla="*/ 1 w 232"/>
                    <a:gd name="T11" fmla="*/ 1 h 160"/>
                    <a:gd name="T12" fmla="*/ 1 w 232"/>
                    <a:gd name="T13" fmla="*/ 1 h 160"/>
                    <a:gd name="T14" fmla="*/ 1 w 232"/>
                    <a:gd name="T15" fmla="*/ 1 h 160"/>
                    <a:gd name="T16" fmla="*/ 1 w 232"/>
                    <a:gd name="T17" fmla="*/ 1 h 160"/>
                    <a:gd name="T18" fmla="*/ 1 w 232"/>
                    <a:gd name="T19" fmla="*/ 1 h 160"/>
                    <a:gd name="T20" fmla="*/ 1 w 232"/>
                    <a:gd name="T21" fmla="*/ 1 h 160"/>
                    <a:gd name="T22" fmla="*/ 1 w 232"/>
                    <a:gd name="T23" fmla="*/ 1 h 160"/>
                    <a:gd name="T24" fmla="*/ 1 w 232"/>
                    <a:gd name="T25" fmla="*/ 1 h 160"/>
                    <a:gd name="T26" fmla="*/ 1 w 232"/>
                    <a:gd name="T27" fmla="*/ 1 h 160"/>
                    <a:gd name="T28" fmla="*/ 1 w 232"/>
                    <a:gd name="T29" fmla="*/ 1 h 160"/>
                    <a:gd name="T30" fmla="*/ 1 w 232"/>
                    <a:gd name="T31" fmla="*/ 1 h 160"/>
                    <a:gd name="T32" fmla="*/ 1 w 232"/>
                    <a:gd name="T33" fmla="*/ 1 h 160"/>
                    <a:gd name="T34" fmla="*/ 1 w 232"/>
                    <a:gd name="T35" fmla="*/ 1 h 160"/>
                    <a:gd name="T36" fmla="*/ 1 w 232"/>
                    <a:gd name="T37" fmla="*/ 1 h 160"/>
                    <a:gd name="T38" fmla="*/ 1 w 232"/>
                    <a:gd name="T39" fmla="*/ 1 h 160"/>
                    <a:gd name="T40" fmla="*/ 1 w 232"/>
                    <a:gd name="T41" fmla="*/ 1 h 160"/>
                    <a:gd name="T42" fmla="*/ 1 w 232"/>
                    <a:gd name="T43" fmla="*/ 1 h 160"/>
                    <a:gd name="T44" fmla="*/ 1 w 232"/>
                    <a:gd name="T45" fmla="*/ 1 h 160"/>
                    <a:gd name="T46" fmla="*/ 1 w 232"/>
                    <a:gd name="T47" fmla="*/ 1 h 160"/>
                    <a:gd name="T48" fmla="*/ 1 w 232"/>
                    <a:gd name="T49" fmla="*/ 1 h 160"/>
                    <a:gd name="T50" fmla="*/ 1 w 232"/>
                    <a:gd name="T51" fmla="*/ 1 h 160"/>
                    <a:gd name="T52" fmla="*/ 1 w 232"/>
                    <a:gd name="T53" fmla="*/ 1 h 160"/>
                    <a:gd name="T54" fmla="*/ 1 w 232"/>
                    <a:gd name="T55" fmla="*/ 1 h 160"/>
                    <a:gd name="T56" fmla="*/ 1 w 232"/>
                    <a:gd name="T57" fmla="*/ 1 h 160"/>
                    <a:gd name="T58" fmla="*/ 1 w 232"/>
                    <a:gd name="T59" fmla="*/ 1 h 160"/>
                    <a:gd name="T60" fmla="*/ 1 w 232"/>
                    <a:gd name="T61" fmla="*/ 1 h 160"/>
                    <a:gd name="T62" fmla="*/ 0 w 232"/>
                    <a:gd name="T63" fmla="*/ 1 h 160"/>
                    <a:gd name="T64" fmla="*/ 1 w 232"/>
                    <a:gd name="T65" fmla="*/ 1 h 160"/>
                    <a:gd name="T66" fmla="*/ 1 w 232"/>
                    <a:gd name="T67" fmla="*/ 1 h 160"/>
                    <a:gd name="T68" fmla="*/ 0 w 232"/>
                    <a:gd name="T69" fmla="*/ 1 h 160"/>
                    <a:gd name="T70" fmla="*/ 1 w 232"/>
                    <a:gd name="T71" fmla="*/ 1 h 160"/>
                    <a:gd name="T72" fmla="*/ 1 w 232"/>
                    <a:gd name="T73" fmla="*/ 1 h 160"/>
                    <a:gd name="T74" fmla="*/ 1 w 232"/>
                    <a:gd name="T75" fmla="*/ 1 h 160"/>
                    <a:gd name="T76" fmla="*/ 1 w 232"/>
                    <a:gd name="T77" fmla="*/ 1 h 160"/>
                    <a:gd name="T78" fmla="*/ 1 w 232"/>
                    <a:gd name="T79" fmla="*/ 1 h 160"/>
                    <a:gd name="T80" fmla="*/ 1 w 232"/>
                    <a:gd name="T81" fmla="*/ 1 h 160"/>
                    <a:gd name="T82" fmla="*/ 1 w 232"/>
                    <a:gd name="T83" fmla="*/ 1 h 160"/>
                    <a:gd name="T84" fmla="*/ 1 w 232"/>
                    <a:gd name="T85" fmla="*/ 0 h 160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32"/>
                    <a:gd name="T130" fmla="*/ 0 h 160"/>
                    <a:gd name="T131" fmla="*/ 232 w 232"/>
                    <a:gd name="T132" fmla="*/ 160 h 160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32" h="160">
                      <a:moveTo>
                        <a:pt x="64" y="0"/>
                      </a:moveTo>
                      <a:lnTo>
                        <a:pt x="80" y="0"/>
                      </a:lnTo>
                      <a:lnTo>
                        <a:pt x="96" y="8"/>
                      </a:lnTo>
                      <a:lnTo>
                        <a:pt x="104" y="16"/>
                      </a:lnTo>
                      <a:lnTo>
                        <a:pt x="112" y="24"/>
                      </a:lnTo>
                      <a:lnTo>
                        <a:pt x="120" y="40"/>
                      </a:lnTo>
                      <a:lnTo>
                        <a:pt x="144" y="48"/>
                      </a:lnTo>
                      <a:lnTo>
                        <a:pt x="144" y="56"/>
                      </a:lnTo>
                      <a:lnTo>
                        <a:pt x="152" y="64"/>
                      </a:lnTo>
                      <a:lnTo>
                        <a:pt x="168" y="72"/>
                      </a:lnTo>
                      <a:lnTo>
                        <a:pt x="168" y="64"/>
                      </a:lnTo>
                      <a:lnTo>
                        <a:pt x="160" y="56"/>
                      </a:lnTo>
                      <a:lnTo>
                        <a:pt x="160" y="48"/>
                      </a:lnTo>
                      <a:lnTo>
                        <a:pt x="176" y="48"/>
                      </a:lnTo>
                      <a:lnTo>
                        <a:pt x="184" y="64"/>
                      </a:lnTo>
                      <a:lnTo>
                        <a:pt x="176" y="64"/>
                      </a:lnTo>
                      <a:lnTo>
                        <a:pt x="192" y="72"/>
                      </a:lnTo>
                      <a:lnTo>
                        <a:pt x="192" y="88"/>
                      </a:lnTo>
                      <a:lnTo>
                        <a:pt x="216" y="88"/>
                      </a:lnTo>
                      <a:lnTo>
                        <a:pt x="232" y="96"/>
                      </a:lnTo>
                      <a:lnTo>
                        <a:pt x="232" y="104"/>
                      </a:lnTo>
                      <a:lnTo>
                        <a:pt x="216" y="112"/>
                      </a:lnTo>
                      <a:lnTo>
                        <a:pt x="192" y="120"/>
                      </a:lnTo>
                      <a:lnTo>
                        <a:pt x="184" y="128"/>
                      </a:lnTo>
                      <a:lnTo>
                        <a:pt x="176" y="128"/>
                      </a:lnTo>
                      <a:lnTo>
                        <a:pt x="168" y="120"/>
                      </a:lnTo>
                      <a:lnTo>
                        <a:pt x="160" y="128"/>
                      </a:lnTo>
                      <a:lnTo>
                        <a:pt x="176" y="136"/>
                      </a:lnTo>
                      <a:lnTo>
                        <a:pt x="168" y="144"/>
                      </a:lnTo>
                      <a:lnTo>
                        <a:pt x="160" y="136"/>
                      </a:lnTo>
                      <a:lnTo>
                        <a:pt x="152" y="144"/>
                      </a:lnTo>
                      <a:lnTo>
                        <a:pt x="160" y="144"/>
                      </a:lnTo>
                      <a:lnTo>
                        <a:pt x="152" y="160"/>
                      </a:lnTo>
                      <a:lnTo>
                        <a:pt x="136" y="144"/>
                      </a:lnTo>
                      <a:lnTo>
                        <a:pt x="136" y="136"/>
                      </a:lnTo>
                      <a:lnTo>
                        <a:pt x="128" y="136"/>
                      </a:lnTo>
                      <a:lnTo>
                        <a:pt x="120" y="144"/>
                      </a:lnTo>
                      <a:lnTo>
                        <a:pt x="136" y="152"/>
                      </a:lnTo>
                      <a:lnTo>
                        <a:pt x="120" y="152"/>
                      </a:lnTo>
                      <a:lnTo>
                        <a:pt x="112" y="160"/>
                      </a:lnTo>
                      <a:lnTo>
                        <a:pt x="72" y="152"/>
                      </a:lnTo>
                      <a:lnTo>
                        <a:pt x="72" y="144"/>
                      </a:lnTo>
                      <a:lnTo>
                        <a:pt x="64" y="136"/>
                      </a:lnTo>
                      <a:lnTo>
                        <a:pt x="48" y="128"/>
                      </a:lnTo>
                      <a:lnTo>
                        <a:pt x="64" y="128"/>
                      </a:lnTo>
                      <a:lnTo>
                        <a:pt x="56" y="120"/>
                      </a:lnTo>
                      <a:lnTo>
                        <a:pt x="40" y="120"/>
                      </a:lnTo>
                      <a:lnTo>
                        <a:pt x="64" y="104"/>
                      </a:lnTo>
                      <a:lnTo>
                        <a:pt x="88" y="112"/>
                      </a:lnTo>
                      <a:lnTo>
                        <a:pt x="112" y="112"/>
                      </a:lnTo>
                      <a:lnTo>
                        <a:pt x="80" y="104"/>
                      </a:lnTo>
                      <a:lnTo>
                        <a:pt x="104" y="104"/>
                      </a:lnTo>
                      <a:lnTo>
                        <a:pt x="104" y="96"/>
                      </a:lnTo>
                      <a:lnTo>
                        <a:pt x="88" y="96"/>
                      </a:lnTo>
                      <a:lnTo>
                        <a:pt x="80" y="96"/>
                      </a:lnTo>
                      <a:lnTo>
                        <a:pt x="40" y="96"/>
                      </a:lnTo>
                      <a:lnTo>
                        <a:pt x="24" y="96"/>
                      </a:lnTo>
                      <a:lnTo>
                        <a:pt x="16" y="88"/>
                      </a:lnTo>
                      <a:lnTo>
                        <a:pt x="40" y="88"/>
                      </a:lnTo>
                      <a:lnTo>
                        <a:pt x="48" y="80"/>
                      </a:lnTo>
                      <a:lnTo>
                        <a:pt x="32" y="88"/>
                      </a:lnTo>
                      <a:lnTo>
                        <a:pt x="16" y="88"/>
                      </a:lnTo>
                      <a:lnTo>
                        <a:pt x="8" y="80"/>
                      </a:lnTo>
                      <a:lnTo>
                        <a:pt x="0" y="64"/>
                      </a:lnTo>
                      <a:lnTo>
                        <a:pt x="8" y="64"/>
                      </a:lnTo>
                      <a:lnTo>
                        <a:pt x="24" y="64"/>
                      </a:lnTo>
                      <a:lnTo>
                        <a:pt x="48" y="72"/>
                      </a:lnTo>
                      <a:lnTo>
                        <a:pt x="48" y="64"/>
                      </a:lnTo>
                      <a:lnTo>
                        <a:pt x="24" y="64"/>
                      </a:lnTo>
                      <a:lnTo>
                        <a:pt x="0" y="48"/>
                      </a:lnTo>
                      <a:lnTo>
                        <a:pt x="24" y="48"/>
                      </a:lnTo>
                      <a:lnTo>
                        <a:pt x="16" y="40"/>
                      </a:lnTo>
                      <a:lnTo>
                        <a:pt x="32" y="40"/>
                      </a:lnTo>
                      <a:lnTo>
                        <a:pt x="48" y="40"/>
                      </a:lnTo>
                      <a:lnTo>
                        <a:pt x="56" y="40"/>
                      </a:lnTo>
                      <a:lnTo>
                        <a:pt x="32" y="24"/>
                      </a:lnTo>
                      <a:lnTo>
                        <a:pt x="32" y="16"/>
                      </a:lnTo>
                      <a:lnTo>
                        <a:pt x="40" y="16"/>
                      </a:lnTo>
                      <a:lnTo>
                        <a:pt x="48" y="24"/>
                      </a:lnTo>
                      <a:lnTo>
                        <a:pt x="56" y="16"/>
                      </a:lnTo>
                      <a:lnTo>
                        <a:pt x="48" y="16"/>
                      </a:lnTo>
                      <a:lnTo>
                        <a:pt x="72" y="8"/>
                      </a:lnTo>
                      <a:lnTo>
                        <a:pt x="64" y="8"/>
                      </a:lnTo>
                      <a:lnTo>
                        <a:pt x="40" y="8"/>
                      </a:lnTo>
                      <a:lnTo>
                        <a:pt x="40" y="0"/>
                      </a:lnTo>
                      <a:lnTo>
                        <a:pt x="56" y="0"/>
                      </a:lnTo>
                      <a:lnTo>
                        <a:pt x="64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60" name="Freeform 56"/>
                <p:cNvSpPr>
                  <a:spLocks noChangeAspect="1"/>
                </p:cNvSpPr>
                <p:nvPr/>
              </p:nvSpPr>
              <p:spPr bwMode="auto">
                <a:xfrm>
                  <a:off x="1517" y="1260"/>
                  <a:ext cx="23" cy="6"/>
                </a:xfrm>
                <a:custGeom>
                  <a:avLst/>
                  <a:gdLst>
                    <a:gd name="T0" fmla="*/ 0 w 32"/>
                    <a:gd name="T1" fmla="*/ 2 h 8"/>
                    <a:gd name="T2" fmla="*/ 1 w 32"/>
                    <a:gd name="T3" fmla="*/ 2 h 8"/>
                    <a:gd name="T4" fmla="*/ 1 w 32"/>
                    <a:gd name="T5" fmla="*/ 0 h 8"/>
                    <a:gd name="T6" fmla="*/ 1 w 32"/>
                    <a:gd name="T7" fmla="*/ 2 h 8"/>
                    <a:gd name="T8" fmla="*/ 1 w 32"/>
                    <a:gd name="T9" fmla="*/ 2 h 8"/>
                    <a:gd name="T10" fmla="*/ 0 w 32"/>
                    <a:gd name="T11" fmla="*/ 2 h 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2"/>
                    <a:gd name="T19" fmla="*/ 0 h 8"/>
                    <a:gd name="T20" fmla="*/ 32 w 32"/>
                    <a:gd name="T21" fmla="*/ 8 h 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2" h="8">
                      <a:moveTo>
                        <a:pt x="0" y="8"/>
                      </a:moveTo>
                      <a:lnTo>
                        <a:pt x="8" y="8"/>
                      </a:lnTo>
                      <a:lnTo>
                        <a:pt x="24" y="0"/>
                      </a:lnTo>
                      <a:lnTo>
                        <a:pt x="32" y="8"/>
                      </a:lnTo>
                      <a:lnTo>
                        <a:pt x="16" y="8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61" name="Freeform 57"/>
                <p:cNvSpPr>
                  <a:spLocks noChangeAspect="1"/>
                </p:cNvSpPr>
                <p:nvPr/>
              </p:nvSpPr>
              <p:spPr bwMode="auto">
                <a:xfrm>
                  <a:off x="1630" y="2627"/>
                  <a:ext cx="28" cy="12"/>
                </a:xfrm>
                <a:custGeom>
                  <a:avLst/>
                  <a:gdLst>
                    <a:gd name="T0" fmla="*/ 0 w 40"/>
                    <a:gd name="T1" fmla="*/ 0 h 16"/>
                    <a:gd name="T2" fmla="*/ 1 w 40"/>
                    <a:gd name="T3" fmla="*/ 0 h 16"/>
                    <a:gd name="T4" fmla="*/ 1 w 40"/>
                    <a:gd name="T5" fmla="*/ 2 h 16"/>
                    <a:gd name="T6" fmla="*/ 1 w 40"/>
                    <a:gd name="T7" fmla="*/ 2 h 16"/>
                    <a:gd name="T8" fmla="*/ 1 w 40"/>
                    <a:gd name="T9" fmla="*/ 2 h 16"/>
                    <a:gd name="T10" fmla="*/ 1 w 40"/>
                    <a:gd name="T11" fmla="*/ 2 h 16"/>
                    <a:gd name="T12" fmla="*/ 0 w 40"/>
                    <a:gd name="T13" fmla="*/ 0 h 1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0"/>
                    <a:gd name="T22" fmla="*/ 0 h 16"/>
                    <a:gd name="T23" fmla="*/ 40 w 40"/>
                    <a:gd name="T24" fmla="*/ 16 h 1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0" h="16">
                      <a:moveTo>
                        <a:pt x="0" y="0"/>
                      </a:moveTo>
                      <a:lnTo>
                        <a:pt x="16" y="0"/>
                      </a:lnTo>
                      <a:lnTo>
                        <a:pt x="40" y="8"/>
                      </a:lnTo>
                      <a:lnTo>
                        <a:pt x="40" y="16"/>
                      </a:lnTo>
                      <a:lnTo>
                        <a:pt x="16" y="16"/>
                      </a:lnTo>
                      <a:lnTo>
                        <a:pt x="8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62" name="Freeform 58"/>
                <p:cNvSpPr>
                  <a:spLocks noChangeAspect="1"/>
                </p:cNvSpPr>
                <p:nvPr/>
              </p:nvSpPr>
              <p:spPr bwMode="auto">
                <a:xfrm>
                  <a:off x="1652" y="2521"/>
                  <a:ext cx="12" cy="16"/>
                </a:xfrm>
                <a:custGeom>
                  <a:avLst/>
                  <a:gdLst>
                    <a:gd name="T0" fmla="*/ 0 w 16"/>
                    <a:gd name="T1" fmla="*/ 0 h 24"/>
                    <a:gd name="T2" fmla="*/ 2 w 16"/>
                    <a:gd name="T3" fmla="*/ 1 h 24"/>
                    <a:gd name="T4" fmla="*/ 2 w 16"/>
                    <a:gd name="T5" fmla="*/ 1 h 24"/>
                    <a:gd name="T6" fmla="*/ 2 w 16"/>
                    <a:gd name="T7" fmla="*/ 1 h 24"/>
                    <a:gd name="T8" fmla="*/ 2 w 16"/>
                    <a:gd name="T9" fmla="*/ 1 h 24"/>
                    <a:gd name="T10" fmla="*/ 2 w 16"/>
                    <a:gd name="T11" fmla="*/ 0 h 24"/>
                    <a:gd name="T12" fmla="*/ 0 w 16"/>
                    <a:gd name="T13" fmla="*/ 0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6"/>
                    <a:gd name="T22" fmla="*/ 0 h 24"/>
                    <a:gd name="T23" fmla="*/ 16 w 16"/>
                    <a:gd name="T24" fmla="*/ 24 h 2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6" h="24">
                      <a:moveTo>
                        <a:pt x="0" y="0"/>
                      </a:moveTo>
                      <a:lnTo>
                        <a:pt x="8" y="8"/>
                      </a:lnTo>
                      <a:lnTo>
                        <a:pt x="8" y="24"/>
                      </a:lnTo>
                      <a:lnTo>
                        <a:pt x="16" y="24"/>
                      </a:lnTo>
                      <a:lnTo>
                        <a:pt x="16" y="8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63" name="Freeform 59"/>
                <p:cNvSpPr>
                  <a:spLocks noChangeAspect="1"/>
                </p:cNvSpPr>
                <p:nvPr/>
              </p:nvSpPr>
              <p:spPr bwMode="auto">
                <a:xfrm>
                  <a:off x="1664" y="2532"/>
                  <a:ext cx="11" cy="11"/>
                </a:xfrm>
                <a:custGeom>
                  <a:avLst/>
                  <a:gdLst>
                    <a:gd name="T0" fmla="*/ 0 w 16"/>
                    <a:gd name="T1" fmla="*/ 0 h 16"/>
                    <a:gd name="T2" fmla="*/ 1 w 16"/>
                    <a:gd name="T3" fmla="*/ 1 h 16"/>
                    <a:gd name="T4" fmla="*/ 1 w 16"/>
                    <a:gd name="T5" fmla="*/ 1 h 16"/>
                    <a:gd name="T6" fmla="*/ 1 w 16"/>
                    <a:gd name="T7" fmla="*/ 1 h 16"/>
                    <a:gd name="T8" fmla="*/ 0 w 16"/>
                    <a:gd name="T9" fmla="*/ 0 h 1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6"/>
                    <a:gd name="T16" fmla="*/ 0 h 16"/>
                    <a:gd name="T17" fmla="*/ 16 w 16"/>
                    <a:gd name="T18" fmla="*/ 16 h 1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6" h="16">
                      <a:moveTo>
                        <a:pt x="0" y="0"/>
                      </a:moveTo>
                      <a:lnTo>
                        <a:pt x="8" y="16"/>
                      </a:lnTo>
                      <a:lnTo>
                        <a:pt x="16" y="16"/>
                      </a:lnTo>
                      <a:lnTo>
                        <a:pt x="8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64" name="Freeform 60"/>
                <p:cNvSpPr>
                  <a:spLocks noChangeAspect="1"/>
                </p:cNvSpPr>
                <p:nvPr/>
              </p:nvSpPr>
              <p:spPr bwMode="auto">
                <a:xfrm>
                  <a:off x="1675" y="2549"/>
                  <a:ext cx="6" cy="17"/>
                </a:xfrm>
                <a:custGeom>
                  <a:avLst/>
                  <a:gdLst>
                    <a:gd name="T0" fmla="*/ 0 w 8"/>
                    <a:gd name="T1" fmla="*/ 0 h 24"/>
                    <a:gd name="T2" fmla="*/ 0 w 8"/>
                    <a:gd name="T3" fmla="*/ 1 h 24"/>
                    <a:gd name="T4" fmla="*/ 2 w 8"/>
                    <a:gd name="T5" fmla="*/ 1 h 24"/>
                    <a:gd name="T6" fmla="*/ 0 w 8"/>
                    <a:gd name="T7" fmla="*/ 1 h 24"/>
                    <a:gd name="T8" fmla="*/ 0 w 8"/>
                    <a:gd name="T9" fmla="*/ 1 h 24"/>
                    <a:gd name="T10" fmla="*/ 0 w 8"/>
                    <a:gd name="T11" fmla="*/ 0 h 2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8"/>
                    <a:gd name="T19" fmla="*/ 0 h 24"/>
                    <a:gd name="T20" fmla="*/ 8 w 8"/>
                    <a:gd name="T21" fmla="*/ 24 h 2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8" h="24">
                      <a:moveTo>
                        <a:pt x="0" y="0"/>
                      </a:moveTo>
                      <a:lnTo>
                        <a:pt x="0" y="24"/>
                      </a:lnTo>
                      <a:lnTo>
                        <a:pt x="8" y="24"/>
                      </a:lnTo>
                      <a:lnTo>
                        <a:pt x="0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65" name="Freeform 61"/>
                <p:cNvSpPr>
                  <a:spLocks noChangeAspect="1"/>
                </p:cNvSpPr>
                <p:nvPr/>
              </p:nvSpPr>
              <p:spPr bwMode="auto">
                <a:xfrm>
                  <a:off x="1686" y="2560"/>
                  <a:ext cx="6" cy="17"/>
                </a:xfrm>
                <a:custGeom>
                  <a:avLst/>
                  <a:gdLst>
                    <a:gd name="T0" fmla="*/ 0 w 8"/>
                    <a:gd name="T1" fmla="*/ 1 h 24"/>
                    <a:gd name="T2" fmla="*/ 2 w 8"/>
                    <a:gd name="T3" fmla="*/ 1 h 24"/>
                    <a:gd name="T4" fmla="*/ 2 w 8"/>
                    <a:gd name="T5" fmla="*/ 1 h 24"/>
                    <a:gd name="T6" fmla="*/ 0 w 8"/>
                    <a:gd name="T7" fmla="*/ 1 h 24"/>
                    <a:gd name="T8" fmla="*/ 0 w 8"/>
                    <a:gd name="T9" fmla="*/ 1 h 24"/>
                    <a:gd name="T10" fmla="*/ 2 w 8"/>
                    <a:gd name="T11" fmla="*/ 1 h 24"/>
                    <a:gd name="T12" fmla="*/ 2 w 8"/>
                    <a:gd name="T13" fmla="*/ 1 h 24"/>
                    <a:gd name="T14" fmla="*/ 0 w 8"/>
                    <a:gd name="T15" fmla="*/ 0 h 24"/>
                    <a:gd name="T16" fmla="*/ 0 w 8"/>
                    <a:gd name="T17" fmla="*/ 1 h 2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8"/>
                    <a:gd name="T28" fmla="*/ 0 h 24"/>
                    <a:gd name="T29" fmla="*/ 8 w 8"/>
                    <a:gd name="T30" fmla="*/ 24 h 24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8" h="24">
                      <a:moveTo>
                        <a:pt x="0" y="8"/>
                      </a:moveTo>
                      <a:lnTo>
                        <a:pt x="8" y="8"/>
                      </a:lnTo>
                      <a:lnTo>
                        <a:pt x="8" y="16"/>
                      </a:lnTo>
                      <a:lnTo>
                        <a:pt x="0" y="16"/>
                      </a:lnTo>
                      <a:lnTo>
                        <a:pt x="0" y="24"/>
                      </a:lnTo>
                      <a:lnTo>
                        <a:pt x="8" y="16"/>
                      </a:lnTo>
                      <a:lnTo>
                        <a:pt x="8" y="8"/>
                      </a:lnTo>
                      <a:lnTo>
                        <a:pt x="0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66" name="Freeform 62"/>
                <p:cNvSpPr>
                  <a:spLocks noChangeAspect="1"/>
                </p:cNvSpPr>
                <p:nvPr/>
              </p:nvSpPr>
              <p:spPr bwMode="auto">
                <a:xfrm>
                  <a:off x="1686" y="2605"/>
                  <a:ext cx="40" cy="28"/>
                </a:xfrm>
                <a:custGeom>
                  <a:avLst/>
                  <a:gdLst>
                    <a:gd name="T0" fmla="*/ 1 w 56"/>
                    <a:gd name="T1" fmla="*/ 1 h 40"/>
                    <a:gd name="T2" fmla="*/ 1 w 56"/>
                    <a:gd name="T3" fmla="*/ 0 h 40"/>
                    <a:gd name="T4" fmla="*/ 1 w 56"/>
                    <a:gd name="T5" fmla="*/ 0 h 40"/>
                    <a:gd name="T6" fmla="*/ 1 w 56"/>
                    <a:gd name="T7" fmla="*/ 0 h 40"/>
                    <a:gd name="T8" fmla="*/ 1 w 56"/>
                    <a:gd name="T9" fmla="*/ 0 h 40"/>
                    <a:gd name="T10" fmla="*/ 1 w 56"/>
                    <a:gd name="T11" fmla="*/ 1 h 40"/>
                    <a:gd name="T12" fmla="*/ 1 w 56"/>
                    <a:gd name="T13" fmla="*/ 1 h 40"/>
                    <a:gd name="T14" fmla="*/ 1 w 56"/>
                    <a:gd name="T15" fmla="*/ 1 h 40"/>
                    <a:gd name="T16" fmla="*/ 1 w 56"/>
                    <a:gd name="T17" fmla="*/ 1 h 40"/>
                    <a:gd name="T18" fmla="*/ 1 w 56"/>
                    <a:gd name="T19" fmla="*/ 1 h 40"/>
                    <a:gd name="T20" fmla="*/ 1 w 56"/>
                    <a:gd name="T21" fmla="*/ 1 h 40"/>
                    <a:gd name="T22" fmla="*/ 0 w 56"/>
                    <a:gd name="T23" fmla="*/ 1 h 40"/>
                    <a:gd name="T24" fmla="*/ 0 w 56"/>
                    <a:gd name="T25" fmla="*/ 1 h 40"/>
                    <a:gd name="T26" fmla="*/ 1 w 56"/>
                    <a:gd name="T27" fmla="*/ 1 h 40"/>
                    <a:gd name="T28" fmla="*/ 1 w 56"/>
                    <a:gd name="T29" fmla="*/ 1 h 40"/>
                    <a:gd name="T30" fmla="*/ 1 w 56"/>
                    <a:gd name="T31" fmla="*/ 1 h 40"/>
                    <a:gd name="T32" fmla="*/ 1 w 56"/>
                    <a:gd name="T33" fmla="*/ 1 h 40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56"/>
                    <a:gd name="T52" fmla="*/ 0 h 40"/>
                    <a:gd name="T53" fmla="*/ 56 w 56"/>
                    <a:gd name="T54" fmla="*/ 40 h 40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56" h="40">
                      <a:moveTo>
                        <a:pt x="56" y="24"/>
                      </a:moveTo>
                      <a:lnTo>
                        <a:pt x="56" y="0"/>
                      </a:lnTo>
                      <a:lnTo>
                        <a:pt x="40" y="0"/>
                      </a:lnTo>
                      <a:lnTo>
                        <a:pt x="32" y="0"/>
                      </a:lnTo>
                      <a:lnTo>
                        <a:pt x="16" y="0"/>
                      </a:lnTo>
                      <a:lnTo>
                        <a:pt x="16" y="8"/>
                      </a:lnTo>
                      <a:lnTo>
                        <a:pt x="32" y="8"/>
                      </a:lnTo>
                      <a:lnTo>
                        <a:pt x="32" y="16"/>
                      </a:lnTo>
                      <a:lnTo>
                        <a:pt x="40" y="24"/>
                      </a:lnTo>
                      <a:lnTo>
                        <a:pt x="32" y="24"/>
                      </a:lnTo>
                      <a:lnTo>
                        <a:pt x="16" y="24"/>
                      </a:lnTo>
                      <a:lnTo>
                        <a:pt x="0" y="24"/>
                      </a:lnTo>
                      <a:lnTo>
                        <a:pt x="0" y="32"/>
                      </a:lnTo>
                      <a:lnTo>
                        <a:pt x="16" y="40"/>
                      </a:lnTo>
                      <a:lnTo>
                        <a:pt x="24" y="40"/>
                      </a:lnTo>
                      <a:lnTo>
                        <a:pt x="48" y="40"/>
                      </a:lnTo>
                      <a:lnTo>
                        <a:pt x="56" y="24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67" name="Freeform 63"/>
                <p:cNvSpPr>
                  <a:spLocks noChangeAspect="1"/>
                </p:cNvSpPr>
                <p:nvPr/>
              </p:nvSpPr>
              <p:spPr bwMode="auto">
                <a:xfrm>
                  <a:off x="1720" y="2605"/>
                  <a:ext cx="51" cy="34"/>
                </a:xfrm>
                <a:custGeom>
                  <a:avLst/>
                  <a:gdLst>
                    <a:gd name="T0" fmla="*/ 1 w 72"/>
                    <a:gd name="T1" fmla="*/ 1 h 48"/>
                    <a:gd name="T2" fmla="*/ 0 w 72"/>
                    <a:gd name="T3" fmla="*/ 1 h 48"/>
                    <a:gd name="T4" fmla="*/ 1 w 72"/>
                    <a:gd name="T5" fmla="*/ 1 h 48"/>
                    <a:gd name="T6" fmla="*/ 1 w 72"/>
                    <a:gd name="T7" fmla="*/ 1 h 48"/>
                    <a:gd name="T8" fmla="*/ 1 w 72"/>
                    <a:gd name="T9" fmla="*/ 1 h 48"/>
                    <a:gd name="T10" fmla="*/ 1 w 72"/>
                    <a:gd name="T11" fmla="*/ 1 h 48"/>
                    <a:gd name="T12" fmla="*/ 1 w 72"/>
                    <a:gd name="T13" fmla="*/ 1 h 48"/>
                    <a:gd name="T14" fmla="*/ 1 w 72"/>
                    <a:gd name="T15" fmla="*/ 1 h 48"/>
                    <a:gd name="T16" fmla="*/ 1 w 72"/>
                    <a:gd name="T17" fmla="*/ 1 h 48"/>
                    <a:gd name="T18" fmla="*/ 1 w 72"/>
                    <a:gd name="T19" fmla="*/ 1 h 48"/>
                    <a:gd name="T20" fmla="*/ 1 w 72"/>
                    <a:gd name="T21" fmla="*/ 1 h 48"/>
                    <a:gd name="T22" fmla="*/ 1 w 72"/>
                    <a:gd name="T23" fmla="*/ 1 h 48"/>
                    <a:gd name="T24" fmla="*/ 1 w 72"/>
                    <a:gd name="T25" fmla="*/ 0 h 48"/>
                    <a:gd name="T26" fmla="*/ 1 w 72"/>
                    <a:gd name="T27" fmla="*/ 0 h 48"/>
                    <a:gd name="T28" fmla="*/ 1 w 72"/>
                    <a:gd name="T29" fmla="*/ 1 h 48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72"/>
                    <a:gd name="T46" fmla="*/ 0 h 48"/>
                    <a:gd name="T47" fmla="*/ 72 w 72"/>
                    <a:gd name="T48" fmla="*/ 48 h 48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72" h="48">
                      <a:moveTo>
                        <a:pt x="8" y="24"/>
                      </a:moveTo>
                      <a:lnTo>
                        <a:pt x="0" y="40"/>
                      </a:lnTo>
                      <a:lnTo>
                        <a:pt x="8" y="48"/>
                      </a:lnTo>
                      <a:lnTo>
                        <a:pt x="24" y="40"/>
                      </a:lnTo>
                      <a:lnTo>
                        <a:pt x="24" y="32"/>
                      </a:lnTo>
                      <a:lnTo>
                        <a:pt x="40" y="32"/>
                      </a:lnTo>
                      <a:lnTo>
                        <a:pt x="56" y="32"/>
                      </a:lnTo>
                      <a:lnTo>
                        <a:pt x="64" y="40"/>
                      </a:lnTo>
                      <a:lnTo>
                        <a:pt x="72" y="32"/>
                      </a:lnTo>
                      <a:lnTo>
                        <a:pt x="72" y="24"/>
                      </a:lnTo>
                      <a:lnTo>
                        <a:pt x="56" y="16"/>
                      </a:lnTo>
                      <a:lnTo>
                        <a:pt x="48" y="16"/>
                      </a:lnTo>
                      <a:lnTo>
                        <a:pt x="24" y="0"/>
                      </a:lnTo>
                      <a:lnTo>
                        <a:pt x="8" y="0"/>
                      </a:lnTo>
                      <a:lnTo>
                        <a:pt x="8" y="24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68" name="Freeform 64"/>
                <p:cNvSpPr>
                  <a:spLocks noChangeAspect="1"/>
                </p:cNvSpPr>
                <p:nvPr/>
              </p:nvSpPr>
              <p:spPr bwMode="auto">
                <a:xfrm>
                  <a:off x="1787" y="2627"/>
                  <a:ext cx="23" cy="6"/>
                </a:xfrm>
                <a:custGeom>
                  <a:avLst/>
                  <a:gdLst>
                    <a:gd name="T0" fmla="*/ 0 w 32"/>
                    <a:gd name="T1" fmla="*/ 0 h 8"/>
                    <a:gd name="T2" fmla="*/ 1 w 32"/>
                    <a:gd name="T3" fmla="*/ 0 h 8"/>
                    <a:gd name="T4" fmla="*/ 1 w 32"/>
                    <a:gd name="T5" fmla="*/ 0 h 8"/>
                    <a:gd name="T6" fmla="*/ 1 w 32"/>
                    <a:gd name="T7" fmla="*/ 0 h 8"/>
                    <a:gd name="T8" fmla="*/ 1 w 32"/>
                    <a:gd name="T9" fmla="*/ 2 h 8"/>
                    <a:gd name="T10" fmla="*/ 0 w 32"/>
                    <a:gd name="T11" fmla="*/ 2 h 8"/>
                    <a:gd name="T12" fmla="*/ 0 w 32"/>
                    <a:gd name="T13" fmla="*/ 0 h 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2"/>
                    <a:gd name="T22" fmla="*/ 0 h 8"/>
                    <a:gd name="T23" fmla="*/ 32 w 32"/>
                    <a:gd name="T24" fmla="*/ 8 h 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2" h="8">
                      <a:moveTo>
                        <a:pt x="0" y="0"/>
                      </a:moveTo>
                      <a:lnTo>
                        <a:pt x="8" y="0"/>
                      </a:lnTo>
                      <a:lnTo>
                        <a:pt x="24" y="0"/>
                      </a:lnTo>
                      <a:lnTo>
                        <a:pt x="32" y="0"/>
                      </a:lnTo>
                      <a:lnTo>
                        <a:pt x="24" y="8"/>
                      </a:lnTo>
                      <a:lnTo>
                        <a:pt x="0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69" name="Freeform 65"/>
                <p:cNvSpPr>
                  <a:spLocks noChangeAspect="1"/>
                </p:cNvSpPr>
                <p:nvPr/>
              </p:nvSpPr>
              <p:spPr bwMode="auto">
                <a:xfrm>
                  <a:off x="336" y="1491"/>
                  <a:ext cx="551" cy="478"/>
                </a:xfrm>
                <a:custGeom>
                  <a:avLst/>
                  <a:gdLst>
                    <a:gd name="T0" fmla="*/ 1 w 784"/>
                    <a:gd name="T1" fmla="*/ 1 h 680"/>
                    <a:gd name="T2" fmla="*/ 1 w 784"/>
                    <a:gd name="T3" fmla="*/ 1 h 680"/>
                    <a:gd name="T4" fmla="*/ 1 w 784"/>
                    <a:gd name="T5" fmla="*/ 1 h 680"/>
                    <a:gd name="T6" fmla="*/ 1 w 784"/>
                    <a:gd name="T7" fmla="*/ 1 h 680"/>
                    <a:gd name="T8" fmla="*/ 1 w 784"/>
                    <a:gd name="T9" fmla="*/ 1 h 680"/>
                    <a:gd name="T10" fmla="*/ 1 w 784"/>
                    <a:gd name="T11" fmla="*/ 1 h 680"/>
                    <a:gd name="T12" fmla="*/ 1 w 784"/>
                    <a:gd name="T13" fmla="*/ 0 h 680"/>
                    <a:gd name="T14" fmla="*/ 1 w 784"/>
                    <a:gd name="T15" fmla="*/ 1 h 680"/>
                    <a:gd name="T16" fmla="*/ 1 w 784"/>
                    <a:gd name="T17" fmla="*/ 1 h 680"/>
                    <a:gd name="T18" fmla="*/ 1 w 784"/>
                    <a:gd name="T19" fmla="*/ 1 h 680"/>
                    <a:gd name="T20" fmla="*/ 1 w 784"/>
                    <a:gd name="T21" fmla="*/ 1 h 680"/>
                    <a:gd name="T22" fmla="*/ 1 w 784"/>
                    <a:gd name="T23" fmla="*/ 1 h 680"/>
                    <a:gd name="T24" fmla="*/ 1 w 784"/>
                    <a:gd name="T25" fmla="*/ 1 h 680"/>
                    <a:gd name="T26" fmla="*/ 1 w 784"/>
                    <a:gd name="T27" fmla="*/ 1 h 680"/>
                    <a:gd name="T28" fmla="*/ 1 w 784"/>
                    <a:gd name="T29" fmla="*/ 1 h 680"/>
                    <a:gd name="T30" fmla="*/ 1 w 784"/>
                    <a:gd name="T31" fmla="*/ 1 h 680"/>
                    <a:gd name="T32" fmla="*/ 1 w 784"/>
                    <a:gd name="T33" fmla="*/ 1 h 680"/>
                    <a:gd name="T34" fmla="*/ 1 w 784"/>
                    <a:gd name="T35" fmla="*/ 1 h 680"/>
                    <a:gd name="T36" fmla="*/ 1 w 784"/>
                    <a:gd name="T37" fmla="*/ 1 h 680"/>
                    <a:gd name="T38" fmla="*/ 1 w 784"/>
                    <a:gd name="T39" fmla="*/ 1 h 680"/>
                    <a:gd name="T40" fmla="*/ 1 w 784"/>
                    <a:gd name="T41" fmla="*/ 1 h 680"/>
                    <a:gd name="T42" fmla="*/ 1 w 784"/>
                    <a:gd name="T43" fmla="*/ 1 h 680"/>
                    <a:gd name="T44" fmla="*/ 1 w 784"/>
                    <a:gd name="T45" fmla="*/ 1 h 680"/>
                    <a:gd name="T46" fmla="*/ 1 w 784"/>
                    <a:gd name="T47" fmla="*/ 1 h 680"/>
                    <a:gd name="T48" fmla="*/ 1 w 784"/>
                    <a:gd name="T49" fmla="*/ 1 h 680"/>
                    <a:gd name="T50" fmla="*/ 1 w 784"/>
                    <a:gd name="T51" fmla="*/ 1 h 680"/>
                    <a:gd name="T52" fmla="*/ 1 w 784"/>
                    <a:gd name="T53" fmla="*/ 1 h 680"/>
                    <a:gd name="T54" fmla="*/ 1 w 784"/>
                    <a:gd name="T55" fmla="*/ 1 h 680"/>
                    <a:gd name="T56" fmla="*/ 1 w 784"/>
                    <a:gd name="T57" fmla="*/ 1 h 680"/>
                    <a:gd name="T58" fmla="*/ 1 w 784"/>
                    <a:gd name="T59" fmla="*/ 1 h 680"/>
                    <a:gd name="T60" fmla="*/ 1 w 784"/>
                    <a:gd name="T61" fmla="*/ 1 h 680"/>
                    <a:gd name="T62" fmla="*/ 1 w 784"/>
                    <a:gd name="T63" fmla="*/ 1 h 680"/>
                    <a:gd name="T64" fmla="*/ 1 w 784"/>
                    <a:gd name="T65" fmla="*/ 1 h 680"/>
                    <a:gd name="T66" fmla="*/ 1 w 784"/>
                    <a:gd name="T67" fmla="*/ 1 h 680"/>
                    <a:gd name="T68" fmla="*/ 1 w 784"/>
                    <a:gd name="T69" fmla="*/ 1 h 680"/>
                    <a:gd name="T70" fmla="*/ 1 w 784"/>
                    <a:gd name="T71" fmla="*/ 1 h 680"/>
                    <a:gd name="T72" fmla="*/ 1 w 784"/>
                    <a:gd name="T73" fmla="*/ 1 h 680"/>
                    <a:gd name="T74" fmla="*/ 1 w 784"/>
                    <a:gd name="T75" fmla="*/ 1 h 680"/>
                    <a:gd name="T76" fmla="*/ 1 w 784"/>
                    <a:gd name="T77" fmla="*/ 1 h 680"/>
                    <a:gd name="T78" fmla="*/ 1 w 784"/>
                    <a:gd name="T79" fmla="*/ 1 h 680"/>
                    <a:gd name="T80" fmla="*/ 1 w 784"/>
                    <a:gd name="T81" fmla="*/ 1 h 680"/>
                    <a:gd name="T82" fmla="*/ 1 w 784"/>
                    <a:gd name="T83" fmla="*/ 1 h 680"/>
                    <a:gd name="T84" fmla="*/ 1 w 784"/>
                    <a:gd name="T85" fmla="*/ 1 h 680"/>
                    <a:gd name="T86" fmla="*/ 1 w 784"/>
                    <a:gd name="T87" fmla="*/ 1 h 680"/>
                    <a:gd name="T88" fmla="*/ 1 w 784"/>
                    <a:gd name="T89" fmla="*/ 1 h 680"/>
                    <a:gd name="T90" fmla="*/ 1 w 784"/>
                    <a:gd name="T91" fmla="*/ 1 h 680"/>
                    <a:gd name="T92" fmla="*/ 1 w 784"/>
                    <a:gd name="T93" fmla="*/ 1 h 680"/>
                    <a:gd name="T94" fmla="*/ 1 w 784"/>
                    <a:gd name="T95" fmla="*/ 1 h 680"/>
                    <a:gd name="T96" fmla="*/ 1 w 784"/>
                    <a:gd name="T97" fmla="*/ 1 h 680"/>
                    <a:gd name="T98" fmla="*/ 1 w 784"/>
                    <a:gd name="T99" fmla="*/ 1 h 680"/>
                    <a:gd name="T100" fmla="*/ 1 w 784"/>
                    <a:gd name="T101" fmla="*/ 1 h 680"/>
                    <a:gd name="T102" fmla="*/ 1 w 784"/>
                    <a:gd name="T103" fmla="*/ 1 h 680"/>
                    <a:gd name="T104" fmla="*/ 1 w 784"/>
                    <a:gd name="T105" fmla="*/ 1 h 680"/>
                    <a:gd name="T106" fmla="*/ 1 w 784"/>
                    <a:gd name="T107" fmla="*/ 1 h 680"/>
                    <a:gd name="T108" fmla="*/ 1 w 784"/>
                    <a:gd name="T109" fmla="*/ 1 h 680"/>
                    <a:gd name="T110" fmla="*/ 1 w 784"/>
                    <a:gd name="T111" fmla="*/ 1 h 680"/>
                    <a:gd name="T112" fmla="*/ 1 w 784"/>
                    <a:gd name="T113" fmla="*/ 1 h 680"/>
                    <a:gd name="T114" fmla="*/ 1 w 784"/>
                    <a:gd name="T115" fmla="*/ 1 h 680"/>
                    <a:gd name="T116" fmla="*/ 1 w 784"/>
                    <a:gd name="T117" fmla="*/ 1 h 680"/>
                    <a:gd name="T118" fmla="*/ 1 w 784"/>
                    <a:gd name="T119" fmla="*/ 1 h 680"/>
                    <a:gd name="T120" fmla="*/ 1 w 784"/>
                    <a:gd name="T121" fmla="*/ 1 h 680"/>
                    <a:gd name="T122" fmla="*/ 1 w 784"/>
                    <a:gd name="T123" fmla="*/ 1 h 680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784"/>
                    <a:gd name="T187" fmla="*/ 0 h 680"/>
                    <a:gd name="T188" fmla="*/ 784 w 784"/>
                    <a:gd name="T189" fmla="*/ 680 h 680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784" h="680">
                      <a:moveTo>
                        <a:pt x="560" y="64"/>
                      </a:moveTo>
                      <a:lnTo>
                        <a:pt x="536" y="56"/>
                      </a:lnTo>
                      <a:lnTo>
                        <a:pt x="528" y="56"/>
                      </a:lnTo>
                      <a:lnTo>
                        <a:pt x="520" y="48"/>
                      </a:lnTo>
                      <a:lnTo>
                        <a:pt x="504" y="48"/>
                      </a:lnTo>
                      <a:lnTo>
                        <a:pt x="472" y="56"/>
                      </a:lnTo>
                      <a:lnTo>
                        <a:pt x="456" y="48"/>
                      </a:lnTo>
                      <a:lnTo>
                        <a:pt x="440" y="48"/>
                      </a:lnTo>
                      <a:lnTo>
                        <a:pt x="432" y="48"/>
                      </a:lnTo>
                      <a:lnTo>
                        <a:pt x="408" y="40"/>
                      </a:lnTo>
                      <a:lnTo>
                        <a:pt x="392" y="32"/>
                      </a:lnTo>
                      <a:lnTo>
                        <a:pt x="376" y="32"/>
                      </a:lnTo>
                      <a:lnTo>
                        <a:pt x="352" y="32"/>
                      </a:lnTo>
                      <a:lnTo>
                        <a:pt x="336" y="40"/>
                      </a:lnTo>
                      <a:lnTo>
                        <a:pt x="328" y="32"/>
                      </a:lnTo>
                      <a:lnTo>
                        <a:pt x="336" y="32"/>
                      </a:lnTo>
                      <a:lnTo>
                        <a:pt x="312" y="24"/>
                      </a:lnTo>
                      <a:lnTo>
                        <a:pt x="320" y="16"/>
                      </a:lnTo>
                      <a:lnTo>
                        <a:pt x="304" y="16"/>
                      </a:lnTo>
                      <a:lnTo>
                        <a:pt x="288" y="24"/>
                      </a:lnTo>
                      <a:lnTo>
                        <a:pt x="272" y="16"/>
                      </a:lnTo>
                      <a:lnTo>
                        <a:pt x="264" y="16"/>
                      </a:lnTo>
                      <a:lnTo>
                        <a:pt x="256" y="24"/>
                      </a:lnTo>
                      <a:lnTo>
                        <a:pt x="248" y="24"/>
                      </a:lnTo>
                      <a:lnTo>
                        <a:pt x="240" y="16"/>
                      </a:lnTo>
                      <a:lnTo>
                        <a:pt x="256" y="8"/>
                      </a:lnTo>
                      <a:lnTo>
                        <a:pt x="248" y="8"/>
                      </a:lnTo>
                      <a:lnTo>
                        <a:pt x="232" y="0"/>
                      </a:lnTo>
                      <a:lnTo>
                        <a:pt x="208" y="24"/>
                      </a:lnTo>
                      <a:lnTo>
                        <a:pt x="184" y="24"/>
                      </a:lnTo>
                      <a:lnTo>
                        <a:pt x="184" y="16"/>
                      </a:lnTo>
                      <a:lnTo>
                        <a:pt x="160" y="32"/>
                      </a:lnTo>
                      <a:lnTo>
                        <a:pt x="144" y="40"/>
                      </a:lnTo>
                      <a:lnTo>
                        <a:pt x="136" y="40"/>
                      </a:lnTo>
                      <a:lnTo>
                        <a:pt x="112" y="48"/>
                      </a:lnTo>
                      <a:lnTo>
                        <a:pt x="104" y="56"/>
                      </a:lnTo>
                      <a:lnTo>
                        <a:pt x="96" y="80"/>
                      </a:lnTo>
                      <a:lnTo>
                        <a:pt x="80" y="96"/>
                      </a:lnTo>
                      <a:lnTo>
                        <a:pt x="32" y="96"/>
                      </a:lnTo>
                      <a:lnTo>
                        <a:pt x="32" y="104"/>
                      </a:lnTo>
                      <a:lnTo>
                        <a:pt x="24" y="104"/>
                      </a:lnTo>
                      <a:lnTo>
                        <a:pt x="32" y="112"/>
                      </a:lnTo>
                      <a:lnTo>
                        <a:pt x="48" y="120"/>
                      </a:lnTo>
                      <a:lnTo>
                        <a:pt x="64" y="128"/>
                      </a:lnTo>
                      <a:lnTo>
                        <a:pt x="80" y="136"/>
                      </a:lnTo>
                      <a:lnTo>
                        <a:pt x="88" y="152"/>
                      </a:lnTo>
                      <a:lnTo>
                        <a:pt x="96" y="152"/>
                      </a:lnTo>
                      <a:lnTo>
                        <a:pt x="104" y="152"/>
                      </a:lnTo>
                      <a:lnTo>
                        <a:pt x="120" y="152"/>
                      </a:lnTo>
                      <a:lnTo>
                        <a:pt x="128" y="152"/>
                      </a:lnTo>
                      <a:lnTo>
                        <a:pt x="136" y="152"/>
                      </a:lnTo>
                      <a:lnTo>
                        <a:pt x="128" y="160"/>
                      </a:lnTo>
                      <a:lnTo>
                        <a:pt x="128" y="168"/>
                      </a:lnTo>
                      <a:lnTo>
                        <a:pt x="136" y="176"/>
                      </a:lnTo>
                      <a:lnTo>
                        <a:pt x="152" y="168"/>
                      </a:lnTo>
                      <a:lnTo>
                        <a:pt x="168" y="168"/>
                      </a:lnTo>
                      <a:lnTo>
                        <a:pt x="176" y="176"/>
                      </a:lnTo>
                      <a:lnTo>
                        <a:pt x="168" y="176"/>
                      </a:lnTo>
                      <a:lnTo>
                        <a:pt x="144" y="184"/>
                      </a:lnTo>
                      <a:lnTo>
                        <a:pt x="144" y="192"/>
                      </a:lnTo>
                      <a:lnTo>
                        <a:pt x="136" y="192"/>
                      </a:lnTo>
                      <a:lnTo>
                        <a:pt x="128" y="200"/>
                      </a:lnTo>
                      <a:lnTo>
                        <a:pt x="104" y="192"/>
                      </a:lnTo>
                      <a:lnTo>
                        <a:pt x="80" y="200"/>
                      </a:lnTo>
                      <a:lnTo>
                        <a:pt x="80" y="192"/>
                      </a:lnTo>
                      <a:lnTo>
                        <a:pt x="88" y="176"/>
                      </a:lnTo>
                      <a:lnTo>
                        <a:pt x="64" y="176"/>
                      </a:lnTo>
                      <a:lnTo>
                        <a:pt x="48" y="184"/>
                      </a:lnTo>
                      <a:lnTo>
                        <a:pt x="40" y="192"/>
                      </a:lnTo>
                      <a:lnTo>
                        <a:pt x="24" y="192"/>
                      </a:lnTo>
                      <a:lnTo>
                        <a:pt x="24" y="208"/>
                      </a:lnTo>
                      <a:lnTo>
                        <a:pt x="16" y="208"/>
                      </a:lnTo>
                      <a:lnTo>
                        <a:pt x="0" y="224"/>
                      </a:lnTo>
                      <a:lnTo>
                        <a:pt x="16" y="232"/>
                      </a:lnTo>
                      <a:lnTo>
                        <a:pt x="24" y="232"/>
                      </a:lnTo>
                      <a:lnTo>
                        <a:pt x="32" y="232"/>
                      </a:lnTo>
                      <a:lnTo>
                        <a:pt x="40" y="240"/>
                      </a:lnTo>
                      <a:lnTo>
                        <a:pt x="32" y="240"/>
                      </a:lnTo>
                      <a:lnTo>
                        <a:pt x="24" y="240"/>
                      </a:lnTo>
                      <a:lnTo>
                        <a:pt x="40" y="272"/>
                      </a:lnTo>
                      <a:lnTo>
                        <a:pt x="64" y="272"/>
                      </a:lnTo>
                      <a:lnTo>
                        <a:pt x="72" y="264"/>
                      </a:lnTo>
                      <a:lnTo>
                        <a:pt x="88" y="272"/>
                      </a:lnTo>
                      <a:lnTo>
                        <a:pt x="104" y="272"/>
                      </a:lnTo>
                      <a:lnTo>
                        <a:pt x="112" y="264"/>
                      </a:lnTo>
                      <a:lnTo>
                        <a:pt x="128" y="256"/>
                      </a:lnTo>
                      <a:lnTo>
                        <a:pt x="136" y="256"/>
                      </a:lnTo>
                      <a:lnTo>
                        <a:pt x="152" y="256"/>
                      </a:lnTo>
                      <a:lnTo>
                        <a:pt x="152" y="272"/>
                      </a:lnTo>
                      <a:lnTo>
                        <a:pt x="136" y="272"/>
                      </a:lnTo>
                      <a:lnTo>
                        <a:pt x="152" y="288"/>
                      </a:lnTo>
                      <a:lnTo>
                        <a:pt x="152" y="304"/>
                      </a:lnTo>
                      <a:lnTo>
                        <a:pt x="136" y="328"/>
                      </a:lnTo>
                      <a:lnTo>
                        <a:pt x="120" y="328"/>
                      </a:lnTo>
                      <a:lnTo>
                        <a:pt x="104" y="328"/>
                      </a:lnTo>
                      <a:lnTo>
                        <a:pt x="88" y="336"/>
                      </a:lnTo>
                      <a:lnTo>
                        <a:pt x="80" y="328"/>
                      </a:lnTo>
                      <a:lnTo>
                        <a:pt x="64" y="352"/>
                      </a:lnTo>
                      <a:lnTo>
                        <a:pt x="64" y="368"/>
                      </a:lnTo>
                      <a:lnTo>
                        <a:pt x="56" y="368"/>
                      </a:lnTo>
                      <a:lnTo>
                        <a:pt x="48" y="392"/>
                      </a:lnTo>
                      <a:lnTo>
                        <a:pt x="40" y="400"/>
                      </a:lnTo>
                      <a:lnTo>
                        <a:pt x="40" y="408"/>
                      </a:lnTo>
                      <a:lnTo>
                        <a:pt x="56" y="424"/>
                      </a:lnTo>
                      <a:lnTo>
                        <a:pt x="64" y="432"/>
                      </a:lnTo>
                      <a:lnTo>
                        <a:pt x="56" y="448"/>
                      </a:lnTo>
                      <a:lnTo>
                        <a:pt x="48" y="448"/>
                      </a:lnTo>
                      <a:lnTo>
                        <a:pt x="80" y="472"/>
                      </a:lnTo>
                      <a:lnTo>
                        <a:pt x="96" y="472"/>
                      </a:lnTo>
                      <a:lnTo>
                        <a:pt x="112" y="472"/>
                      </a:lnTo>
                      <a:lnTo>
                        <a:pt x="112" y="464"/>
                      </a:lnTo>
                      <a:lnTo>
                        <a:pt x="120" y="456"/>
                      </a:lnTo>
                      <a:lnTo>
                        <a:pt x="120" y="472"/>
                      </a:lnTo>
                      <a:lnTo>
                        <a:pt x="120" y="488"/>
                      </a:lnTo>
                      <a:lnTo>
                        <a:pt x="128" y="504"/>
                      </a:lnTo>
                      <a:lnTo>
                        <a:pt x="120" y="520"/>
                      </a:lnTo>
                      <a:lnTo>
                        <a:pt x="136" y="520"/>
                      </a:lnTo>
                      <a:lnTo>
                        <a:pt x="160" y="504"/>
                      </a:lnTo>
                      <a:lnTo>
                        <a:pt x="160" y="512"/>
                      </a:lnTo>
                      <a:lnTo>
                        <a:pt x="168" y="512"/>
                      </a:lnTo>
                      <a:lnTo>
                        <a:pt x="176" y="528"/>
                      </a:lnTo>
                      <a:lnTo>
                        <a:pt x="184" y="528"/>
                      </a:lnTo>
                      <a:lnTo>
                        <a:pt x="192" y="512"/>
                      </a:lnTo>
                      <a:lnTo>
                        <a:pt x="200" y="520"/>
                      </a:lnTo>
                      <a:lnTo>
                        <a:pt x="208" y="520"/>
                      </a:lnTo>
                      <a:lnTo>
                        <a:pt x="216" y="520"/>
                      </a:lnTo>
                      <a:lnTo>
                        <a:pt x="224" y="512"/>
                      </a:lnTo>
                      <a:lnTo>
                        <a:pt x="224" y="520"/>
                      </a:lnTo>
                      <a:lnTo>
                        <a:pt x="216" y="544"/>
                      </a:lnTo>
                      <a:lnTo>
                        <a:pt x="216" y="568"/>
                      </a:lnTo>
                      <a:lnTo>
                        <a:pt x="200" y="568"/>
                      </a:lnTo>
                      <a:lnTo>
                        <a:pt x="184" y="592"/>
                      </a:lnTo>
                      <a:lnTo>
                        <a:pt x="168" y="600"/>
                      </a:lnTo>
                      <a:lnTo>
                        <a:pt x="160" y="616"/>
                      </a:lnTo>
                      <a:lnTo>
                        <a:pt x="160" y="624"/>
                      </a:lnTo>
                      <a:lnTo>
                        <a:pt x="152" y="624"/>
                      </a:lnTo>
                      <a:lnTo>
                        <a:pt x="144" y="624"/>
                      </a:lnTo>
                      <a:lnTo>
                        <a:pt x="128" y="624"/>
                      </a:lnTo>
                      <a:lnTo>
                        <a:pt x="112" y="640"/>
                      </a:lnTo>
                      <a:lnTo>
                        <a:pt x="104" y="648"/>
                      </a:lnTo>
                      <a:lnTo>
                        <a:pt x="96" y="656"/>
                      </a:lnTo>
                      <a:lnTo>
                        <a:pt x="88" y="656"/>
                      </a:lnTo>
                      <a:lnTo>
                        <a:pt x="72" y="664"/>
                      </a:lnTo>
                      <a:lnTo>
                        <a:pt x="64" y="680"/>
                      </a:lnTo>
                      <a:lnTo>
                        <a:pt x="72" y="680"/>
                      </a:lnTo>
                      <a:lnTo>
                        <a:pt x="80" y="680"/>
                      </a:lnTo>
                      <a:lnTo>
                        <a:pt x="96" y="664"/>
                      </a:lnTo>
                      <a:lnTo>
                        <a:pt x="104" y="664"/>
                      </a:lnTo>
                      <a:lnTo>
                        <a:pt x="120" y="648"/>
                      </a:lnTo>
                      <a:lnTo>
                        <a:pt x="128" y="640"/>
                      </a:lnTo>
                      <a:lnTo>
                        <a:pt x="136" y="640"/>
                      </a:lnTo>
                      <a:lnTo>
                        <a:pt x="152" y="640"/>
                      </a:lnTo>
                      <a:lnTo>
                        <a:pt x="168" y="632"/>
                      </a:lnTo>
                      <a:lnTo>
                        <a:pt x="184" y="624"/>
                      </a:lnTo>
                      <a:lnTo>
                        <a:pt x="192" y="616"/>
                      </a:lnTo>
                      <a:lnTo>
                        <a:pt x="224" y="592"/>
                      </a:lnTo>
                      <a:lnTo>
                        <a:pt x="240" y="584"/>
                      </a:lnTo>
                      <a:lnTo>
                        <a:pt x="240" y="568"/>
                      </a:lnTo>
                      <a:lnTo>
                        <a:pt x="256" y="560"/>
                      </a:lnTo>
                      <a:lnTo>
                        <a:pt x="272" y="552"/>
                      </a:lnTo>
                      <a:lnTo>
                        <a:pt x="288" y="536"/>
                      </a:lnTo>
                      <a:lnTo>
                        <a:pt x="288" y="520"/>
                      </a:lnTo>
                      <a:lnTo>
                        <a:pt x="296" y="520"/>
                      </a:lnTo>
                      <a:lnTo>
                        <a:pt x="296" y="504"/>
                      </a:lnTo>
                      <a:lnTo>
                        <a:pt x="288" y="504"/>
                      </a:lnTo>
                      <a:lnTo>
                        <a:pt x="288" y="496"/>
                      </a:lnTo>
                      <a:lnTo>
                        <a:pt x="296" y="480"/>
                      </a:lnTo>
                      <a:lnTo>
                        <a:pt x="304" y="480"/>
                      </a:lnTo>
                      <a:lnTo>
                        <a:pt x="320" y="472"/>
                      </a:lnTo>
                      <a:lnTo>
                        <a:pt x="312" y="456"/>
                      </a:lnTo>
                      <a:lnTo>
                        <a:pt x="352" y="408"/>
                      </a:lnTo>
                      <a:lnTo>
                        <a:pt x="368" y="408"/>
                      </a:lnTo>
                      <a:lnTo>
                        <a:pt x="376" y="400"/>
                      </a:lnTo>
                      <a:lnTo>
                        <a:pt x="384" y="400"/>
                      </a:lnTo>
                      <a:lnTo>
                        <a:pt x="376" y="424"/>
                      </a:lnTo>
                      <a:lnTo>
                        <a:pt x="368" y="424"/>
                      </a:lnTo>
                      <a:lnTo>
                        <a:pt x="344" y="440"/>
                      </a:lnTo>
                      <a:lnTo>
                        <a:pt x="344" y="448"/>
                      </a:lnTo>
                      <a:lnTo>
                        <a:pt x="336" y="472"/>
                      </a:lnTo>
                      <a:lnTo>
                        <a:pt x="336" y="480"/>
                      </a:lnTo>
                      <a:lnTo>
                        <a:pt x="344" y="480"/>
                      </a:lnTo>
                      <a:lnTo>
                        <a:pt x="336" y="488"/>
                      </a:lnTo>
                      <a:lnTo>
                        <a:pt x="328" y="496"/>
                      </a:lnTo>
                      <a:lnTo>
                        <a:pt x="352" y="496"/>
                      </a:lnTo>
                      <a:lnTo>
                        <a:pt x="368" y="480"/>
                      </a:lnTo>
                      <a:lnTo>
                        <a:pt x="384" y="464"/>
                      </a:lnTo>
                      <a:lnTo>
                        <a:pt x="400" y="464"/>
                      </a:lnTo>
                      <a:lnTo>
                        <a:pt x="408" y="448"/>
                      </a:lnTo>
                      <a:lnTo>
                        <a:pt x="408" y="440"/>
                      </a:lnTo>
                      <a:lnTo>
                        <a:pt x="400" y="432"/>
                      </a:lnTo>
                      <a:lnTo>
                        <a:pt x="416" y="416"/>
                      </a:lnTo>
                      <a:lnTo>
                        <a:pt x="424" y="416"/>
                      </a:lnTo>
                      <a:lnTo>
                        <a:pt x="416" y="424"/>
                      </a:lnTo>
                      <a:lnTo>
                        <a:pt x="424" y="424"/>
                      </a:lnTo>
                      <a:lnTo>
                        <a:pt x="440" y="424"/>
                      </a:lnTo>
                      <a:lnTo>
                        <a:pt x="448" y="432"/>
                      </a:lnTo>
                      <a:lnTo>
                        <a:pt x="464" y="448"/>
                      </a:lnTo>
                      <a:lnTo>
                        <a:pt x="480" y="440"/>
                      </a:lnTo>
                      <a:lnTo>
                        <a:pt x="480" y="448"/>
                      </a:lnTo>
                      <a:lnTo>
                        <a:pt x="488" y="464"/>
                      </a:lnTo>
                      <a:lnTo>
                        <a:pt x="512" y="464"/>
                      </a:lnTo>
                      <a:lnTo>
                        <a:pt x="520" y="464"/>
                      </a:lnTo>
                      <a:lnTo>
                        <a:pt x="528" y="472"/>
                      </a:lnTo>
                      <a:lnTo>
                        <a:pt x="552" y="472"/>
                      </a:lnTo>
                      <a:lnTo>
                        <a:pt x="576" y="480"/>
                      </a:lnTo>
                      <a:lnTo>
                        <a:pt x="584" y="472"/>
                      </a:lnTo>
                      <a:lnTo>
                        <a:pt x="584" y="488"/>
                      </a:lnTo>
                      <a:lnTo>
                        <a:pt x="616" y="496"/>
                      </a:lnTo>
                      <a:lnTo>
                        <a:pt x="616" y="512"/>
                      </a:lnTo>
                      <a:lnTo>
                        <a:pt x="632" y="528"/>
                      </a:lnTo>
                      <a:lnTo>
                        <a:pt x="656" y="528"/>
                      </a:lnTo>
                      <a:lnTo>
                        <a:pt x="648" y="520"/>
                      </a:lnTo>
                      <a:lnTo>
                        <a:pt x="648" y="512"/>
                      </a:lnTo>
                      <a:lnTo>
                        <a:pt x="656" y="512"/>
                      </a:lnTo>
                      <a:lnTo>
                        <a:pt x="664" y="528"/>
                      </a:lnTo>
                      <a:lnTo>
                        <a:pt x="672" y="528"/>
                      </a:lnTo>
                      <a:lnTo>
                        <a:pt x="680" y="504"/>
                      </a:lnTo>
                      <a:lnTo>
                        <a:pt x="680" y="520"/>
                      </a:lnTo>
                      <a:lnTo>
                        <a:pt x="688" y="528"/>
                      </a:lnTo>
                      <a:lnTo>
                        <a:pt x="696" y="528"/>
                      </a:lnTo>
                      <a:lnTo>
                        <a:pt x="712" y="560"/>
                      </a:lnTo>
                      <a:lnTo>
                        <a:pt x="712" y="576"/>
                      </a:lnTo>
                      <a:lnTo>
                        <a:pt x="728" y="584"/>
                      </a:lnTo>
                      <a:lnTo>
                        <a:pt x="736" y="592"/>
                      </a:lnTo>
                      <a:lnTo>
                        <a:pt x="736" y="608"/>
                      </a:lnTo>
                      <a:lnTo>
                        <a:pt x="744" y="624"/>
                      </a:lnTo>
                      <a:lnTo>
                        <a:pt x="744" y="632"/>
                      </a:lnTo>
                      <a:lnTo>
                        <a:pt x="752" y="640"/>
                      </a:lnTo>
                      <a:lnTo>
                        <a:pt x="760" y="640"/>
                      </a:lnTo>
                      <a:lnTo>
                        <a:pt x="768" y="656"/>
                      </a:lnTo>
                      <a:lnTo>
                        <a:pt x="776" y="664"/>
                      </a:lnTo>
                      <a:lnTo>
                        <a:pt x="784" y="656"/>
                      </a:lnTo>
                      <a:lnTo>
                        <a:pt x="784" y="640"/>
                      </a:lnTo>
                      <a:lnTo>
                        <a:pt x="784" y="616"/>
                      </a:lnTo>
                      <a:lnTo>
                        <a:pt x="760" y="600"/>
                      </a:lnTo>
                      <a:lnTo>
                        <a:pt x="744" y="584"/>
                      </a:lnTo>
                      <a:lnTo>
                        <a:pt x="720" y="528"/>
                      </a:lnTo>
                      <a:lnTo>
                        <a:pt x="704" y="520"/>
                      </a:lnTo>
                      <a:lnTo>
                        <a:pt x="688" y="488"/>
                      </a:lnTo>
                      <a:lnTo>
                        <a:pt x="672" y="480"/>
                      </a:lnTo>
                      <a:lnTo>
                        <a:pt x="656" y="480"/>
                      </a:lnTo>
                      <a:lnTo>
                        <a:pt x="640" y="496"/>
                      </a:lnTo>
                      <a:lnTo>
                        <a:pt x="632" y="496"/>
                      </a:lnTo>
                      <a:lnTo>
                        <a:pt x="600" y="456"/>
                      </a:lnTo>
                      <a:lnTo>
                        <a:pt x="592" y="440"/>
                      </a:lnTo>
                      <a:lnTo>
                        <a:pt x="584" y="448"/>
                      </a:lnTo>
                      <a:lnTo>
                        <a:pt x="576" y="464"/>
                      </a:lnTo>
                      <a:lnTo>
                        <a:pt x="560" y="448"/>
                      </a:lnTo>
                      <a:lnTo>
                        <a:pt x="560" y="64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70" name="Freeform 66"/>
                <p:cNvSpPr>
                  <a:spLocks noChangeAspect="1"/>
                </p:cNvSpPr>
                <p:nvPr/>
              </p:nvSpPr>
              <p:spPr bwMode="auto">
                <a:xfrm>
                  <a:off x="730" y="1474"/>
                  <a:ext cx="1226" cy="765"/>
                </a:xfrm>
                <a:custGeom>
                  <a:avLst/>
                  <a:gdLst>
                    <a:gd name="T0" fmla="*/ 1 w 1744"/>
                    <a:gd name="T1" fmla="*/ 1 h 1088"/>
                    <a:gd name="T2" fmla="*/ 2 w 1744"/>
                    <a:gd name="T3" fmla="*/ 1 h 1088"/>
                    <a:gd name="T4" fmla="*/ 2 w 1744"/>
                    <a:gd name="T5" fmla="*/ 1 h 1088"/>
                    <a:gd name="T6" fmla="*/ 2 w 1744"/>
                    <a:gd name="T7" fmla="*/ 1 h 1088"/>
                    <a:gd name="T8" fmla="*/ 2 w 1744"/>
                    <a:gd name="T9" fmla="*/ 1 h 1088"/>
                    <a:gd name="T10" fmla="*/ 2 w 1744"/>
                    <a:gd name="T11" fmla="*/ 1 h 1088"/>
                    <a:gd name="T12" fmla="*/ 2 w 1744"/>
                    <a:gd name="T13" fmla="*/ 1 h 1088"/>
                    <a:gd name="T14" fmla="*/ 2 w 1744"/>
                    <a:gd name="T15" fmla="*/ 1 h 1088"/>
                    <a:gd name="T16" fmla="*/ 2 w 1744"/>
                    <a:gd name="T17" fmla="*/ 1 h 1088"/>
                    <a:gd name="T18" fmla="*/ 2 w 1744"/>
                    <a:gd name="T19" fmla="*/ 1 h 1088"/>
                    <a:gd name="T20" fmla="*/ 2 w 1744"/>
                    <a:gd name="T21" fmla="*/ 1 h 1088"/>
                    <a:gd name="T22" fmla="*/ 2 w 1744"/>
                    <a:gd name="T23" fmla="*/ 1 h 1088"/>
                    <a:gd name="T24" fmla="*/ 2 w 1744"/>
                    <a:gd name="T25" fmla="*/ 1 h 1088"/>
                    <a:gd name="T26" fmla="*/ 2 w 1744"/>
                    <a:gd name="T27" fmla="*/ 1 h 1088"/>
                    <a:gd name="T28" fmla="*/ 2 w 1744"/>
                    <a:gd name="T29" fmla="*/ 1 h 1088"/>
                    <a:gd name="T30" fmla="*/ 2 w 1744"/>
                    <a:gd name="T31" fmla="*/ 1 h 1088"/>
                    <a:gd name="T32" fmla="*/ 2 w 1744"/>
                    <a:gd name="T33" fmla="*/ 1 h 1088"/>
                    <a:gd name="T34" fmla="*/ 2 w 1744"/>
                    <a:gd name="T35" fmla="*/ 1 h 1088"/>
                    <a:gd name="T36" fmla="*/ 2 w 1744"/>
                    <a:gd name="T37" fmla="*/ 1 h 1088"/>
                    <a:gd name="T38" fmla="*/ 2 w 1744"/>
                    <a:gd name="T39" fmla="*/ 1 h 1088"/>
                    <a:gd name="T40" fmla="*/ 1 w 1744"/>
                    <a:gd name="T41" fmla="*/ 1 h 1088"/>
                    <a:gd name="T42" fmla="*/ 1 w 1744"/>
                    <a:gd name="T43" fmla="*/ 1 h 1088"/>
                    <a:gd name="T44" fmla="*/ 1 w 1744"/>
                    <a:gd name="T45" fmla="*/ 1 h 1088"/>
                    <a:gd name="T46" fmla="*/ 1 w 1744"/>
                    <a:gd name="T47" fmla="*/ 1 h 1088"/>
                    <a:gd name="T48" fmla="*/ 1 w 1744"/>
                    <a:gd name="T49" fmla="*/ 1 h 1088"/>
                    <a:gd name="T50" fmla="*/ 1 w 1744"/>
                    <a:gd name="T51" fmla="*/ 1 h 1088"/>
                    <a:gd name="T52" fmla="*/ 1 w 1744"/>
                    <a:gd name="T53" fmla="*/ 1 h 1088"/>
                    <a:gd name="T54" fmla="*/ 1 w 1744"/>
                    <a:gd name="T55" fmla="*/ 1 h 1088"/>
                    <a:gd name="T56" fmla="*/ 1 w 1744"/>
                    <a:gd name="T57" fmla="*/ 1 h 1088"/>
                    <a:gd name="T58" fmla="*/ 1 w 1744"/>
                    <a:gd name="T59" fmla="*/ 1 h 1088"/>
                    <a:gd name="T60" fmla="*/ 1 w 1744"/>
                    <a:gd name="T61" fmla="*/ 1 h 1088"/>
                    <a:gd name="T62" fmla="*/ 1 w 1744"/>
                    <a:gd name="T63" fmla="*/ 1 h 1088"/>
                    <a:gd name="T64" fmla="*/ 1 w 1744"/>
                    <a:gd name="T65" fmla="*/ 1 h 1088"/>
                    <a:gd name="T66" fmla="*/ 1 w 1744"/>
                    <a:gd name="T67" fmla="*/ 1 h 1088"/>
                    <a:gd name="T68" fmla="*/ 1 w 1744"/>
                    <a:gd name="T69" fmla="*/ 1 h 1088"/>
                    <a:gd name="T70" fmla="*/ 1 w 1744"/>
                    <a:gd name="T71" fmla="*/ 1 h 1088"/>
                    <a:gd name="T72" fmla="*/ 1 w 1744"/>
                    <a:gd name="T73" fmla="*/ 1 h 1088"/>
                    <a:gd name="T74" fmla="*/ 1 w 1744"/>
                    <a:gd name="T75" fmla="*/ 1 h 1088"/>
                    <a:gd name="T76" fmla="*/ 1 w 1744"/>
                    <a:gd name="T77" fmla="*/ 1 h 1088"/>
                    <a:gd name="T78" fmla="*/ 1 w 1744"/>
                    <a:gd name="T79" fmla="*/ 1 h 1088"/>
                    <a:gd name="T80" fmla="*/ 1 w 1744"/>
                    <a:gd name="T81" fmla="*/ 1 h 1088"/>
                    <a:gd name="T82" fmla="*/ 1 w 1744"/>
                    <a:gd name="T83" fmla="*/ 0 h 1088"/>
                    <a:gd name="T84" fmla="*/ 1 w 1744"/>
                    <a:gd name="T85" fmla="*/ 1 h 1088"/>
                    <a:gd name="T86" fmla="*/ 1 w 1744"/>
                    <a:gd name="T87" fmla="*/ 1 h 1088"/>
                    <a:gd name="T88" fmla="*/ 1 w 1744"/>
                    <a:gd name="T89" fmla="*/ 1 h 1088"/>
                    <a:gd name="T90" fmla="*/ 1 w 1744"/>
                    <a:gd name="T91" fmla="*/ 1 h 1088"/>
                    <a:gd name="T92" fmla="*/ 1 w 1744"/>
                    <a:gd name="T93" fmla="*/ 1 h 1088"/>
                    <a:gd name="T94" fmla="*/ 1 w 1744"/>
                    <a:gd name="T95" fmla="*/ 1 h 1088"/>
                    <a:gd name="T96" fmla="*/ 1 w 1744"/>
                    <a:gd name="T97" fmla="*/ 1 h 1088"/>
                    <a:gd name="T98" fmla="*/ 1 w 1744"/>
                    <a:gd name="T99" fmla="*/ 1 h 1088"/>
                    <a:gd name="T100" fmla="*/ 1 w 1744"/>
                    <a:gd name="T101" fmla="*/ 1 h 1088"/>
                    <a:gd name="T102" fmla="*/ 1 w 1744"/>
                    <a:gd name="T103" fmla="*/ 1 h 1088"/>
                    <a:gd name="T104" fmla="*/ 1 w 1744"/>
                    <a:gd name="T105" fmla="*/ 1 h 1088"/>
                    <a:gd name="T106" fmla="*/ 1 w 1744"/>
                    <a:gd name="T107" fmla="*/ 1 h 1088"/>
                    <a:gd name="T108" fmla="*/ 1 w 1744"/>
                    <a:gd name="T109" fmla="*/ 1 h 1088"/>
                    <a:gd name="T110" fmla="*/ 1 w 1744"/>
                    <a:gd name="T111" fmla="*/ 1 h 1088"/>
                    <a:gd name="T112" fmla="*/ 1 w 1744"/>
                    <a:gd name="T113" fmla="*/ 1 h 1088"/>
                    <a:gd name="T114" fmla="*/ 1 w 1744"/>
                    <a:gd name="T115" fmla="*/ 1 h 1088"/>
                    <a:gd name="T116" fmla="*/ 1 w 1744"/>
                    <a:gd name="T117" fmla="*/ 1 h 1088"/>
                    <a:gd name="T118" fmla="*/ 1 w 1744"/>
                    <a:gd name="T119" fmla="*/ 1 h 1088"/>
                    <a:gd name="T120" fmla="*/ 1 w 1744"/>
                    <a:gd name="T121" fmla="*/ 1 h 1088"/>
                    <a:gd name="T122" fmla="*/ 1 w 1744"/>
                    <a:gd name="T123" fmla="*/ 1 h 1088"/>
                    <a:gd name="T124" fmla="*/ 1 w 1744"/>
                    <a:gd name="T125" fmla="*/ 1 h 1088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1744"/>
                    <a:gd name="T190" fmla="*/ 0 h 1088"/>
                    <a:gd name="T191" fmla="*/ 1744 w 1744"/>
                    <a:gd name="T192" fmla="*/ 1088 h 1088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1744" h="1088">
                      <a:moveTo>
                        <a:pt x="384" y="880"/>
                      </a:moveTo>
                      <a:lnTo>
                        <a:pt x="952" y="880"/>
                      </a:lnTo>
                      <a:lnTo>
                        <a:pt x="968" y="896"/>
                      </a:lnTo>
                      <a:lnTo>
                        <a:pt x="992" y="896"/>
                      </a:lnTo>
                      <a:lnTo>
                        <a:pt x="1008" y="904"/>
                      </a:lnTo>
                      <a:lnTo>
                        <a:pt x="1032" y="904"/>
                      </a:lnTo>
                      <a:lnTo>
                        <a:pt x="1048" y="912"/>
                      </a:lnTo>
                      <a:lnTo>
                        <a:pt x="1088" y="904"/>
                      </a:lnTo>
                      <a:lnTo>
                        <a:pt x="1152" y="936"/>
                      </a:lnTo>
                      <a:lnTo>
                        <a:pt x="1168" y="968"/>
                      </a:lnTo>
                      <a:lnTo>
                        <a:pt x="1208" y="1008"/>
                      </a:lnTo>
                      <a:lnTo>
                        <a:pt x="1208" y="1032"/>
                      </a:lnTo>
                      <a:lnTo>
                        <a:pt x="1200" y="1072"/>
                      </a:lnTo>
                      <a:lnTo>
                        <a:pt x="1200" y="1088"/>
                      </a:lnTo>
                      <a:lnTo>
                        <a:pt x="1264" y="1056"/>
                      </a:lnTo>
                      <a:lnTo>
                        <a:pt x="1272" y="1040"/>
                      </a:lnTo>
                      <a:lnTo>
                        <a:pt x="1320" y="1024"/>
                      </a:lnTo>
                      <a:lnTo>
                        <a:pt x="1352" y="1000"/>
                      </a:lnTo>
                      <a:lnTo>
                        <a:pt x="1360" y="992"/>
                      </a:lnTo>
                      <a:lnTo>
                        <a:pt x="1376" y="992"/>
                      </a:lnTo>
                      <a:lnTo>
                        <a:pt x="1392" y="992"/>
                      </a:lnTo>
                      <a:lnTo>
                        <a:pt x="1424" y="984"/>
                      </a:lnTo>
                      <a:lnTo>
                        <a:pt x="1456" y="936"/>
                      </a:lnTo>
                      <a:lnTo>
                        <a:pt x="1464" y="928"/>
                      </a:lnTo>
                      <a:lnTo>
                        <a:pt x="1488" y="936"/>
                      </a:lnTo>
                      <a:lnTo>
                        <a:pt x="1488" y="968"/>
                      </a:lnTo>
                      <a:lnTo>
                        <a:pt x="1504" y="984"/>
                      </a:lnTo>
                      <a:lnTo>
                        <a:pt x="1504" y="1008"/>
                      </a:lnTo>
                      <a:lnTo>
                        <a:pt x="1512" y="1000"/>
                      </a:lnTo>
                      <a:lnTo>
                        <a:pt x="1520" y="992"/>
                      </a:lnTo>
                      <a:lnTo>
                        <a:pt x="1536" y="992"/>
                      </a:lnTo>
                      <a:lnTo>
                        <a:pt x="1544" y="984"/>
                      </a:lnTo>
                      <a:lnTo>
                        <a:pt x="1560" y="976"/>
                      </a:lnTo>
                      <a:lnTo>
                        <a:pt x="1560" y="984"/>
                      </a:lnTo>
                      <a:lnTo>
                        <a:pt x="1568" y="984"/>
                      </a:lnTo>
                      <a:lnTo>
                        <a:pt x="1560" y="992"/>
                      </a:lnTo>
                      <a:lnTo>
                        <a:pt x="1552" y="992"/>
                      </a:lnTo>
                      <a:lnTo>
                        <a:pt x="1536" y="1008"/>
                      </a:lnTo>
                      <a:lnTo>
                        <a:pt x="1536" y="1016"/>
                      </a:lnTo>
                      <a:lnTo>
                        <a:pt x="1528" y="1032"/>
                      </a:lnTo>
                      <a:lnTo>
                        <a:pt x="1536" y="1040"/>
                      </a:lnTo>
                      <a:lnTo>
                        <a:pt x="1552" y="1040"/>
                      </a:lnTo>
                      <a:lnTo>
                        <a:pt x="1560" y="1032"/>
                      </a:lnTo>
                      <a:lnTo>
                        <a:pt x="1560" y="1024"/>
                      </a:lnTo>
                      <a:lnTo>
                        <a:pt x="1576" y="1000"/>
                      </a:lnTo>
                      <a:lnTo>
                        <a:pt x="1584" y="1008"/>
                      </a:lnTo>
                      <a:lnTo>
                        <a:pt x="1592" y="1008"/>
                      </a:lnTo>
                      <a:lnTo>
                        <a:pt x="1608" y="1000"/>
                      </a:lnTo>
                      <a:lnTo>
                        <a:pt x="1616" y="1000"/>
                      </a:lnTo>
                      <a:lnTo>
                        <a:pt x="1624" y="992"/>
                      </a:lnTo>
                      <a:lnTo>
                        <a:pt x="1624" y="984"/>
                      </a:lnTo>
                      <a:lnTo>
                        <a:pt x="1616" y="984"/>
                      </a:lnTo>
                      <a:lnTo>
                        <a:pt x="1616" y="976"/>
                      </a:lnTo>
                      <a:lnTo>
                        <a:pt x="1608" y="976"/>
                      </a:lnTo>
                      <a:lnTo>
                        <a:pt x="1592" y="976"/>
                      </a:lnTo>
                      <a:lnTo>
                        <a:pt x="1584" y="968"/>
                      </a:lnTo>
                      <a:lnTo>
                        <a:pt x="1576" y="968"/>
                      </a:lnTo>
                      <a:lnTo>
                        <a:pt x="1552" y="952"/>
                      </a:lnTo>
                      <a:lnTo>
                        <a:pt x="1552" y="928"/>
                      </a:lnTo>
                      <a:lnTo>
                        <a:pt x="1552" y="912"/>
                      </a:lnTo>
                      <a:lnTo>
                        <a:pt x="1544" y="920"/>
                      </a:lnTo>
                      <a:lnTo>
                        <a:pt x="1536" y="912"/>
                      </a:lnTo>
                      <a:lnTo>
                        <a:pt x="1520" y="904"/>
                      </a:lnTo>
                      <a:lnTo>
                        <a:pt x="1528" y="896"/>
                      </a:lnTo>
                      <a:lnTo>
                        <a:pt x="1544" y="896"/>
                      </a:lnTo>
                      <a:lnTo>
                        <a:pt x="1552" y="904"/>
                      </a:lnTo>
                      <a:lnTo>
                        <a:pt x="1568" y="888"/>
                      </a:lnTo>
                      <a:lnTo>
                        <a:pt x="1568" y="880"/>
                      </a:lnTo>
                      <a:lnTo>
                        <a:pt x="1560" y="880"/>
                      </a:lnTo>
                      <a:lnTo>
                        <a:pt x="1544" y="864"/>
                      </a:lnTo>
                      <a:lnTo>
                        <a:pt x="1520" y="864"/>
                      </a:lnTo>
                      <a:lnTo>
                        <a:pt x="1512" y="880"/>
                      </a:lnTo>
                      <a:lnTo>
                        <a:pt x="1496" y="888"/>
                      </a:lnTo>
                      <a:lnTo>
                        <a:pt x="1480" y="896"/>
                      </a:lnTo>
                      <a:lnTo>
                        <a:pt x="1472" y="896"/>
                      </a:lnTo>
                      <a:lnTo>
                        <a:pt x="1456" y="920"/>
                      </a:lnTo>
                      <a:lnTo>
                        <a:pt x="1456" y="928"/>
                      </a:lnTo>
                      <a:lnTo>
                        <a:pt x="1440" y="936"/>
                      </a:lnTo>
                      <a:lnTo>
                        <a:pt x="1432" y="944"/>
                      </a:lnTo>
                      <a:lnTo>
                        <a:pt x="1424" y="944"/>
                      </a:lnTo>
                      <a:lnTo>
                        <a:pt x="1432" y="928"/>
                      </a:lnTo>
                      <a:lnTo>
                        <a:pt x="1448" y="912"/>
                      </a:lnTo>
                      <a:lnTo>
                        <a:pt x="1448" y="904"/>
                      </a:lnTo>
                      <a:lnTo>
                        <a:pt x="1464" y="896"/>
                      </a:lnTo>
                      <a:lnTo>
                        <a:pt x="1480" y="872"/>
                      </a:lnTo>
                      <a:lnTo>
                        <a:pt x="1504" y="864"/>
                      </a:lnTo>
                      <a:lnTo>
                        <a:pt x="1504" y="856"/>
                      </a:lnTo>
                      <a:lnTo>
                        <a:pt x="1512" y="856"/>
                      </a:lnTo>
                      <a:lnTo>
                        <a:pt x="1528" y="840"/>
                      </a:lnTo>
                      <a:lnTo>
                        <a:pt x="1544" y="840"/>
                      </a:lnTo>
                      <a:lnTo>
                        <a:pt x="1576" y="840"/>
                      </a:lnTo>
                      <a:lnTo>
                        <a:pt x="1592" y="832"/>
                      </a:lnTo>
                      <a:lnTo>
                        <a:pt x="1600" y="840"/>
                      </a:lnTo>
                      <a:lnTo>
                        <a:pt x="1624" y="840"/>
                      </a:lnTo>
                      <a:lnTo>
                        <a:pt x="1632" y="840"/>
                      </a:lnTo>
                      <a:lnTo>
                        <a:pt x="1656" y="840"/>
                      </a:lnTo>
                      <a:lnTo>
                        <a:pt x="1672" y="832"/>
                      </a:lnTo>
                      <a:lnTo>
                        <a:pt x="1680" y="808"/>
                      </a:lnTo>
                      <a:lnTo>
                        <a:pt x="1696" y="800"/>
                      </a:lnTo>
                      <a:lnTo>
                        <a:pt x="1720" y="792"/>
                      </a:lnTo>
                      <a:lnTo>
                        <a:pt x="1736" y="784"/>
                      </a:lnTo>
                      <a:lnTo>
                        <a:pt x="1744" y="784"/>
                      </a:lnTo>
                      <a:lnTo>
                        <a:pt x="1744" y="768"/>
                      </a:lnTo>
                      <a:lnTo>
                        <a:pt x="1736" y="760"/>
                      </a:lnTo>
                      <a:lnTo>
                        <a:pt x="1744" y="744"/>
                      </a:lnTo>
                      <a:lnTo>
                        <a:pt x="1736" y="728"/>
                      </a:lnTo>
                      <a:lnTo>
                        <a:pt x="1720" y="720"/>
                      </a:lnTo>
                      <a:lnTo>
                        <a:pt x="1712" y="728"/>
                      </a:lnTo>
                      <a:lnTo>
                        <a:pt x="1704" y="720"/>
                      </a:lnTo>
                      <a:lnTo>
                        <a:pt x="1712" y="704"/>
                      </a:lnTo>
                      <a:lnTo>
                        <a:pt x="1696" y="704"/>
                      </a:lnTo>
                      <a:lnTo>
                        <a:pt x="1680" y="720"/>
                      </a:lnTo>
                      <a:lnTo>
                        <a:pt x="1672" y="720"/>
                      </a:lnTo>
                      <a:lnTo>
                        <a:pt x="1656" y="736"/>
                      </a:lnTo>
                      <a:lnTo>
                        <a:pt x="1648" y="736"/>
                      </a:lnTo>
                      <a:lnTo>
                        <a:pt x="1648" y="720"/>
                      </a:lnTo>
                      <a:lnTo>
                        <a:pt x="1656" y="728"/>
                      </a:lnTo>
                      <a:lnTo>
                        <a:pt x="1664" y="720"/>
                      </a:lnTo>
                      <a:lnTo>
                        <a:pt x="1688" y="704"/>
                      </a:lnTo>
                      <a:lnTo>
                        <a:pt x="1712" y="696"/>
                      </a:lnTo>
                      <a:lnTo>
                        <a:pt x="1712" y="688"/>
                      </a:lnTo>
                      <a:lnTo>
                        <a:pt x="1696" y="688"/>
                      </a:lnTo>
                      <a:lnTo>
                        <a:pt x="1688" y="680"/>
                      </a:lnTo>
                      <a:lnTo>
                        <a:pt x="1672" y="672"/>
                      </a:lnTo>
                      <a:lnTo>
                        <a:pt x="1664" y="672"/>
                      </a:lnTo>
                      <a:lnTo>
                        <a:pt x="1648" y="664"/>
                      </a:lnTo>
                      <a:lnTo>
                        <a:pt x="1648" y="656"/>
                      </a:lnTo>
                      <a:lnTo>
                        <a:pt x="1640" y="640"/>
                      </a:lnTo>
                      <a:lnTo>
                        <a:pt x="1632" y="640"/>
                      </a:lnTo>
                      <a:lnTo>
                        <a:pt x="1632" y="632"/>
                      </a:lnTo>
                      <a:lnTo>
                        <a:pt x="1616" y="632"/>
                      </a:lnTo>
                      <a:lnTo>
                        <a:pt x="1616" y="608"/>
                      </a:lnTo>
                      <a:lnTo>
                        <a:pt x="1624" y="608"/>
                      </a:lnTo>
                      <a:lnTo>
                        <a:pt x="1624" y="600"/>
                      </a:lnTo>
                      <a:lnTo>
                        <a:pt x="1616" y="592"/>
                      </a:lnTo>
                      <a:lnTo>
                        <a:pt x="1616" y="568"/>
                      </a:lnTo>
                      <a:lnTo>
                        <a:pt x="1600" y="560"/>
                      </a:lnTo>
                      <a:lnTo>
                        <a:pt x="1600" y="544"/>
                      </a:lnTo>
                      <a:lnTo>
                        <a:pt x="1592" y="544"/>
                      </a:lnTo>
                      <a:lnTo>
                        <a:pt x="1592" y="520"/>
                      </a:lnTo>
                      <a:lnTo>
                        <a:pt x="1584" y="520"/>
                      </a:lnTo>
                      <a:lnTo>
                        <a:pt x="1576" y="496"/>
                      </a:lnTo>
                      <a:lnTo>
                        <a:pt x="1568" y="488"/>
                      </a:lnTo>
                      <a:lnTo>
                        <a:pt x="1568" y="472"/>
                      </a:lnTo>
                      <a:lnTo>
                        <a:pt x="1560" y="472"/>
                      </a:lnTo>
                      <a:lnTo>
                        <a:pt x="1552" y="480"/>
                      </a:lnTo>
                      <a:lnTo>
                        <a:pt x="1552" y="488"/>
                      </a:lnTo>
                      <a:lnTo>
                        <a:pt x="1544" y="496"/>
                      </a:lnTo>
                      <a:lnTo>
                        <a:pt x="1544" y="512"/>
                      </a:lnTo>
                      <a:lnTo>
                        <a:pt x="1536" y="536"/>
                      </a:lnTo>
                      <a:lnTo>
                        <a:pt x="1528" y="544"/>
                      </a:lnTo>
                      <a:lnTo>
                        <a:pt x="1528" y="536"/>
                      </a:lnTo>
                      <a:lnTo>
                        <a:pt x="1520" y="536"/>
                      </a:lnTo>
                      <a:lnTo>
                        <a:pt x="1512" y="536"/>
                      </a:lnTo>
                      <a:lnTo>
                        <a:pt x="1512" y="544"/>
                      </a:lnTo>
                      <a:lnTo>
                        <a:pt x="1504" y="552"/>
                      </a:lnTo>
                      <a:lnTo>
                        <a:pt x="1496" y="560"/>
                      </a:lnTo>
                      <a:lnTo>
                        <a:pt x="1488" y="552"/>
                      </a:lnTo>
                      <a:lnTo>
                        <a:pt x="1488" y="544"/>
                      </a:lnTo>
                      <a:lnTo>
                        <a:pt x="1472" y="528"/>
                      </a:lnTo>
                      <a:lnTo>
                        <a:pt x="1456" y="536"/>
                      </a:lnTo>
                      <a:lnTo>
                        <a:pt x="1448" y="536"/>
                      </a:lnTo>
                      <a:lnTo>
                        <a:pt x="1464" y="528"/>
                      </a:lnTo>
                      <a:lnTo>
                        <a:pt x="1464" y="520"/>
                      </a:lnTo>
                      <a:lnTo>
                        <a:pt x="1456" y="512"/>
                      </a:lnTo>
                      <a:lnTo>
                        <a:pt x="1448" y="512"/>
                      </a:lnTo>
                      <a:lnTo>
                        <a:pt x="1456" y="504"/>
                      </a:lnTo>
                      <a:lnTo>
                        <a:pt x="1456" y="496"/>
                      </a:lnTo>
                      <a:lnTo>
                        <a:pt x="1448" y="488"/>
                      </a:lnTo>
                      <a:lnTo>
                        <a:pt x="1456" y="480"/>
                      </a:lnTo>
                      <a:lnTo>
                        <a:pt x="1456" y="456"/>
                      </a:lnTo>
                      <a:lnTo>
                        <a:pt x="1464" y="456"/>
                      </a:lnTo>
                      <a:lnTo>
                        <a:pt x="1464" y="440"/>
                      </a:lnTo>
                      <a:lnTo>
                        <a:pt x="1456" y="440"/>
                      </a:lnTo>
                      <a:lnTo>
                        <a:pt x="1448" y="448"/>
                      </a:lnTo>
                      <a:lnTo>
                        <a:pt x="1448" y="440"/>
                      </a:lnTo>
                      <a:lnTo>
                        <a:pt x="1424" y="440"/>
                      </a:lnTo>
                      <a:lnTo>
                        <a:pt x="1416" y="424"/>
                      </a:lnTo>
                      <a:lnTo>
                        <a:pt x="1416" y="416"/>
                      </a:lnTo>
                      <a:lnTo>
                        <a:pt x="1408" y="416"/>
                      </a:lnTo>
                      <a:lnTo>
                        <a:pt x="1400" y="400"/>
                      </a:lnTo>
                      <a:lnTo>
                        <a:pt x="1392" y="392"/>
                      </a:lnTo>
                      <a:lnTo>
                        <a:pt x="1384" y="392"/>
                      </a:lnTo>
                      <a:lnTo>
                        <a:pt x="1376" y="384"/>
                      </a:lnTo>
                      <a:lnTo>
                        <a:pt x="1360" y="384"/>
                      </a:lnTo>
                      <a:lnTo>
                        <a:pt x="1352" y="392"/>
                      </a:lnTo>
                      <a:lnTo>
                        <a:pt x="1344" y="392"/>
                      </a:lnTo>
                      <a:lnTo>
                        <a:pt x="1328" y="392"/>
                      </a:lnTo>
                      <a:lnTo>
                        <a:pt x="1312" y="384"/>
                      </a:lnTo>
                      <a:lnTo>
                        <a:pt x="1304" y="376"/>
                      </a:lnTo>
                      <a:lnTo>
                        <a:pt x="1296" y="376"/>
                      </a:lnTo>
                      <a:lnTo>
                        <a:pt x="1288" y="384"/>
                      </a:lnTo>
                      <a:lnTo>
                        <a:pt x="1288" y="408"/>
                      </a:lnTo>
                      <a:lnTo>
                        <a:pt x="1296" y="416"/>
                      </a:lnTo>
                      <a:lnTo>
                        <a:pt x="1296" y="432"/>
                      </a:lnTo>
                      <a:lnTo>
                        <a:pt x="1288" y="440"/>
                      </a:lnTo>
                      <a:lnTo>
                        <a:pt x="1280" y="440"/>
                      </a:lnTo>
                      <a:lnTo>
                        <a:pt x="1288" y="448"/>
                      </a:lnTo>
                      <a:lnTo>
                        <a:pt x="1296" y="456"/>
                      </a:lnTo>
                      <a:lnTo>
                        <a:pt x="1296" y="472"/>
                      </a:lnTo>
                      <a:lnTo>
                        <a:pt x="1304" y="488"/>
                      </a:lnTo>
                      <a:lnTo>
                        <a:pt x="1296" y="496"/>
                      </a:lnTo>
                      <a:lnTo>
                        <a:pt x="1288" y="512"/>
                      </a:lnTo>
                      <a:lnTo>
                        <a:pt x="1288" y="520"/>
                      </a:lnTo>
                      <a:lnTo>
                        <a:pt x="1280" y="528"/>
                      </a:lnTo>
                      <a:lnTo>
                        <a:pt x="1280" y="544"/>
                      </a:lnTo>
                      <a:lnTo>
                        <a:pt x="1296" y="560"/>
                      </a:lnTo>
                      <a:lnTo>
                        <a:pt x="1312" y="568"/>
                      </a:lnTo>
                      <a:lnTo>
                        <a:pt x="1320" y="608"/>
                      </a:lnTo>
                      <a:lnTo>
                        <a:pt x="1312" y="640"/>
                      </a:lnTo>
                      <a:lnTo>
                        <a:pt x="1304" y="656"/>
                      </a:lnTo>
                      <a:lnTo>
                        <a:pt x="1296" y="656"/>
                      </a:lnTo>
                      <a:lnTo>
                        <a:pt x="1288" y="672"/>
                      </a:lnTo>
                      <a:lnTo>
                        <a:pt x="1272" y="672"/>
                      </a:lnTo>
                      <a:lnTo>
                        <a:pt x="1272" y="680"/>
                      </a:lnTo>
                      <a:lnTo>
                        <a:pt x="1264" y="688"/>
                      </a:lnTo>
                      <a:lnTo>
                        <a:pt x="1256" y="696"/>
                      </a:lnTo>
                      <a:lnTo>
                        <a:pt x="1264" y="704"/>
                      </a:lnTo>
                      <a:lnTo>
                        <a:pt x="1272" y="720"/>
                      </a:lnTo>
                      <a:lnTo>
                        <a:pt x="1272" y="744"/>
                      </a:lnTo>
                      <a:lnTo>
                        <a:pt x="1272" y="760"/>
                      </a:lnTo>
                      <a:lnTo>
                        <a:pt x="1280" y="768"/>
                      </a:lnTo>
                      <a:lnTo>
                        <a:pt x="1280" y="776"/>
                      </a:lnTo>
                      <a:lnTo>
                        <a:pt x="1272" y="792"/>
                      </a:lnTo>
                      <a:lnTo>
                        <a:pt x="1272" y="800"/>
                      </a:lnTo>
                      <a:lnTo>
                        <a:pt x="1256" y="792"/>
                      </a:lnTo>
                      <a:lnTo>
                        <a:pt x="1256" y="808"/>
                      </a:lnTo>
                      <a:lnTo>
                        <a:pt x="1248" y="800"/>
                      </a:lnTo>
                      <a:lnTo>
                        <a:pt x="1240" y="800"/>
                      </a:lnTo>
                      <a:lnTo>
                        <a:pt x="1240" y="792"/>
                      </a:lnTo>
                      <a:lnTo>
                        <a:pt x="1224" y="776"/>
                      </a:lnTo>
                      <a:lnTo>
                        <a:pt x="1216" y="776"/>
                      </a:lnTo>
                      <a:lnTo>
                        <a:pt x="1216" y="768"/>
                      </a:lnTo>
                      <a:lnTo>
                        <a:pt x="1208" y="752"/>
                      </a:lnTo>
                      <a:lnTo>
                        <a:pt x="1208" y="744"/>
                      </a:lnTo>
                      <a:lnTo>
                        <a:pt x="1208" y="712"/>
                      </a:lnTo>
                      <a:lnTo>
                        <a:pt x="1208" y="704"/>
                      </a:lnTo>
                      <a:lnTo>
                        <a:pt x="1208" y="672"/>
                      </a:lnTo>
                      <a:lnTo>
                        <a:pt x="1200" y="664"/>
                      </a:lnTo>
                      <a:lnTo>
                        <a:pt x="1176" y="664"/>
                      </a:lnTo>
                      <a:lnTo>
                        <a:pt x="1160" y="664"/>
                      </a:lnTo>
                      <a:lnTo>
                        <a:pt x="1152" y="656"/>
                      </a:lnTo>
                      <a:lnTo>
                        <a:pt x="1136" y="656"/>
                      </a:lnTo>
                      <a:lnTo>
                        <a:pt x="1128" y="648"/>
                      </a:lnTo>
                      <a:lnTo>
                        <a:pt x="1104" y="640"/>
                      </a:lnTo>
                      <a:lnTo>
                        <a:pt x="1096" y="632"/>
                      </a:lnTo>
                      <a:lnTo>
                        <a:pt x="1088" y="624"/>
                      </a:lnTo>
                      <a:lnTo>
                        <a:pt x="1088" y="616"/>
                      </a:lnTo>
                      <a:lnTo>
                        <a:pt x="1080" y="616"/>
                      </a:lnTo>
                      <a:lnTo>
                        <a:pt x="1072" y="608"/>
                      </a:lnTo>
                      <a:lnTo>
                        <a:pt x="1048" y="592"/>
                      </a:lnTo>
                      <a:lnTo>
                        <a:pt x="1040" y="592"/>
                      </a:lnTo>
                      <a:lnTo>
                        <a:pt x="1032" y="592"/>
                      </a:lnTo>
                      <a:lnTo>
                        <a:pt x="1016" y="592"/>
                      </a:lnTo>
                      <a:lnTo>
                        <a:pt x="992" y="600"/>
                      </a:lnTo>
                      <a:lnTo>
                        <a:pt x="992" y="592"/>
                      </a:lnTo>
                      <a:lnTo>
                        <a:pt x="1000" y="576"/>
                      </a:lnTo>
                      <a:lnTo>
                        <a:pt x="992" y="568"/>
                      </a:lnTo>
                      <a:lnTo>
                        <a:pt x="984" y="536"/>
                      </a:lnTo>
                      <a:lnTo>
                        <a:pt x="976" y="536"/>
                      </a:lnTo>
                      <a:lnTo>
                        <a:pt x="960" y="528"/>
                      </a:lnTo>
                      <a:lnTo>
                        <a:pt x="944" y="520"/>
                      </a:lnTo>
                      <a:lnTo>
                        <a:pt x="944" y="496"/>
                      </a:lnTo>
                      <a:lnTo>
                        <a:pt x="952" y="488"/>
                      </a:lnTo>
                      <a:lnTo>
                        <a:pt x="952" y="456"/>
                      </a:lnTo>
                      <a:lnTo>
                        <a:pt x="960" y="440"/>
                      </a:lnTo>
                      <a:lnTo>
                        <a:pt x="968" y="416"/>
                      </a:lnTo>
                      <a:lnTo>
                        <a:pt x="976" y="408"/>
                      </a:lnTo>
                      <a:lnTo>
                        <a:pt x="976" y="400"/>
                      </a:lnTo>
                      <a:lnTo>
                        <a:pt x="984" y="400"/>
                      </a:lnTo>
                      <a:lnTo>
                        <a:pt x="992" y="384"/>
                      </a:lnTo>
                      <a:lnTo>
                        <a:pt x="1000" y="376"/>
                      </a:lnTo>
                      <a:lnTo>
                        <a:pt x="1000" y="360"/>
                      </a:lnTo>
                      <a:lnTo>
                        <a:pt x="1008" y="352"/>
                      </a:lnTo>
                      <a:lnTo>
                        <a:pt x="1008" y="360"/>
                      </a:lnTo>
                      <a:lnTo>
                        <a:pt x="1016" y="360"/>
                      </a:lnTo>
                      <a:lnTo>
                        <a:pt x="1032" y="352"/>
                      </a:lnTo>
                      <a:lnTo>
                        <a:pt x="1032" y="344"/>
                      </a:lnTo>
                      <a:lnTo>
                        <a:pt x="1024" y="336"/>
                      </a:lnTo>
                      <a:lnTo>
                        <a:pt x="1016" y="328"/>
                      </a:lnTo>
                      <a:lnTo>
                        <a:pt x="1024" y="320"/>
                      </a:lnTo>
                      <a:lnTo>
                        <a:pt x="1032" y="328"/>
                      </a:lnTo>
                      <a:lnTo>
                        <a:pt x="1048" y="328"/>
                      </a:lnTo>
                      <a:lnTo>
                        <a:pt x="1056" y="312"/>
                      </a:lnTo>
                      <a:lnTo>
                        <a:pt x="1064" y="320"/>
                      </a:lnTo>
                      <a:lnTo>
                        <a:pt x="1080" y="312"/>
                      </a:lnTo>
                      <a:lnTo>
                        <a:pt x="1088" y="304"/>
                      </a:lnTo>
                      <a:lnTo>
                        <a:pt x="1096" y="288"/>
                      </a:lnTo>
                      <a:lnTo>
                        <a:pt x="1096" y="280"/>
                      </a:lnTo>
                      <a:lnTo>
                        <a:pt x="1104" y="264"/>
                      </a:lnTo>
                      <a:lnTo>
                        <a:pt x="1096" y="256"/>
                      </a:lnTo>
                      <a:lnTo>
                        <a:pt x="1096" y="248"/>
                      </a:lnTo>
                      <a:lnTo>
                        <a:pt x="1072" y="248"/>
                      </a:lnTo>
                      <a:lnTo>
                        <a:pt x="1056" y="232"/>
                      </a:lnTo>
                      <a:lnTo>
                        <a:pt x="1048" y="224"/>
                      </a:lnTo>
                      <a:lnTo>
                        <a:pt x="1064" y="224"/>
                      </a:lnTo>
                      <a:lnTo>
                        <a:pt x="1080" y="240"/>
                      </a:lnTo>
                      <a:lnTo>
                        <a:pt x="1104" y="248"/>
                      </a:lnTo>
                      <a:lnTo>
                        <a:pt x="1112" y="232"/>
                      </a:lnTo>
                      <a:lnTo>
                        <a:pt x="1128" y="216"/>
                      </a:lnTo>
                      <a:lnTo>
                        <a:pt x="1136" y="200"/>
                      </a:lnTo>
                      <a:lnTo>
                        <a:pt x="1120" y="200"/>
                      </a:lnTo>
                      <a:lnTo>
                        <a:pt x="1120" y="192"/>
                      </a:lnTo>
                      <a:lnTo>
                        <a:pt x="1136" y="184"/>
                      </a:lnTo>
                      <a:lnTo>
                        <a:pt x="1144" y="200"/>
                      </a:lnTo>
                      <a:lnTo>
                        <a:pt x="1152" y="200"/>
                      </a:lnTo>
                      <a:lnTo>
                        <a:pt x="1160" y="200"/>
                      </a:lnTo>
                      <a:lnTo>
                        <a:pt x="1168" y="200"/>
                      </a:lnTo>
                      <a:lnTo>
                        <a:pt x="1168" y="192"/>
                      </a:lnTo>
                      <a:lnTo>
                        <a:pt x="1160" y="184"/>
                      </a:lnTo>
                      <a:lnTo>
                        <a:pt x="1152" y="176"/>
                      </a:lnTo>
                      <a:lnTo>
                        <a:pt x="1160" y="176"/>
                      </a:lnTo>
                      <a:lnTo>
                        <a:pt x="1168" y="176"/>
                      </a:lnTo>
                      <a:lnTo>
                        <a:pt x="1176" y="184"/>
                      </a:lnTo>
                      <a:lnTo>
                        <a:pt x="1176" y="192"/>
                      </a:lnTo>
                      <a:lnTo>
                        <a:pt x="1192" y="192"/>
                      </a:lnTo>
                      <a:lnTo>
                        <a:pt x="1200" y="184"/>
                      </a:lnTo>
                      <a:lnTo>
                        <a:pt x="1216" y="176"/>
                      </a:lnTo>
                      <a:lnTo>
                        <a:pt x="1216" y="168"/>
                      </a:lnTo>
                      <a:lnTo>
                        <a:pt x="1232" y="160"/>
                      </a:lnTo>
                      <a:lnTo>
                        <a:pt x="1216" y="144"/>
                      </a:lnTo>
                      <a:lnTo>
                        <a:pt x="1208" y="136"/>
                      </a:lnTo>
                      <a:lnTo>
                        <a:pt x="1200" y="128"/>
                      </a:lnTo>
                      <a:lnTo>
                        <a:pt x="1208" y="128"/>
                      </a:lnTo>
                      <a:lnTo>
                        <a:pt x="1224" y="128"/>
                      </a:lnTo>
                      <a:lnTo>
                        <a:pt x="1224" y="120"/>
                      </a:lnTo>
                      <a:lnTo>
                        <a:pt x="1216" y="112"/>
                      </a:lnTo>
                      <a:lnTo>
                        <a:pt x="1224" y="104"/>
                      </a:lnTo>
                      <a:lnTo>
                        <a:pt x="1224" y="96"/>
                      </a:lnTo>
                      <a:lnTo>
                        <a:pt x="1208" y="96"/>
                      </a:lnTo>
                      <a:lnTo>
                        <a:pt x="1200" y="96"/>
                      </a:lnTo>
                      <a:lnTo>
                        <a:pt x="1200" y="88"/>
                      </a:lnTo>
                      <a:lnTo>
                        <a:pt x="1208" y="88"/>
                      </a:lnTo>
                      <a:lnTo>
                        <a:pt x="1200" y="80"/>
                      </a:lnTo>
                      <a:lnTo>
                        <a:pt x="1184" y="80"/>
                      </a:lnTo>
                      <a:lnTo>
                        <a:pt x="1168" y="80"/>
                      </a:lnTo>
                      <a:lnTo>
                        <a:pt x="1160" y="80"/>
                      </a:lnTo>
                      <a:lnTo>
                        <a:pt x="1144" y="80"/>
                      </a:lnTo>
                      <a:lnTo>
                        <a:pt x="1144" y="104"/>
                      </a:lnTo>
                      <a:lnTo>
                        <a:pt x="1152" y="104"/>
                      </a:lnTo>
                      <a:lnTo>
                        <a:pt x="1144" y="112"/>
                      </a:lnTo>
                      <a:lnTo>
                        <a:pt x="1136" y="112"/>
                      </a:lnTo>
                      <a:lnTo>
                        <a:pt x="1136" y="128"/>
                      </a:lnTo>
                      <a:lnTo>
                        <a:pt x="1128" y="136"/>
                      </a:lnTo>
                      <a:lnTo>
                        <a:pt x="1120" y="152"/>
                      </a:lnTo>
                      <a:lnTo>
                        <a:pt x="1120" y="160"/>
                      </a:lnTo>
                      <a:lnTo>
                        <a:pt x="1104" y="160"/>
                      </a:lnTo>
                      <a:lnTo>
                        <a:pt x="1104" y="168"/>
                      </a:lnTo>
                      <a:lnTo>
                        <a:pt x="1080" y="152"/>
                      </a:lnTo>
                      <a:lnTo>
                        <a:pt x="1080" y="128"/>
                      </a:lnTo>
                      <a:lnTo>
                        <a:pt x="1096" y="128"/>
                      </a:lnTo>
                      <a:lnTo>
                        <a:pt x="1096" y="120"/>
                      </a:lnTo>
                      <a:lnTo>
                        <a:pt x="1088" y="112"/>
                      </a:lnTo>
                      <a:lnTo>
                        <a:pt x="1072" y="104"/>
                      </a:lnTo>
                      <a:lnTo>
                        <a:pt x="1064" y="104"/>
                      </a:lnTo>
                      <a:lnTo>
                        <a:pt x="1056" y="104"/>
                      </a:lnTo>
                      <a:lnTo>
                        <a:pt x="1056" y="112"/>
                      </a:lnTo>
                      <a:lnTo>
                        <a:pt x="1048" y="128"/>
                      </a:lnTo>
                      <a:lnTo>
                        <a:pt x="1040" y="128"/>
                      </a:lnTo>
                      <a:lnTo>
                        <a:pt x="1040" y="112"/>
                      </a:lnTo>
                      <a:lnTo>
                        <a:pt x="1024" y="96"/>
                      </a:lnTo>
                      <a:lnTo>
                        <a:pt x="1040" y="96"/>
                      </a:lnTo>
                      <a:lnTo>
                        <a:pt x="1032" y="88"/>
                      </a:lnTo>
                      <a:lnTo>
                        <a:pt x="1024" y="80"/>
                      </a:lnTo>
                      <a:lnTo>
                        <a:pt x="1008" y="88"/>
                      </a:lnTo>
                      <a:lnTo>
                        <a:pt x="992" y="80"/>
                      </a:lnTo>
                      <a:lnTo>
                        <a:pt x="1000" y="72"/>
                      </a:lnTo>
                      <a:lnTo>
                        <a:pt x="1000" y="64"/>
                      </a:lnTo>
                      <a:lnTo>
                        <a:pt x="1016" y="64"/>
                      </a:lnTo>
                      <a:lnTo>
                        <a:pt x="1016" y="56"/>
                      </a:lnTo>
                      <a:lnTo>
                        <a:pt x="992" y="40"/>
                      </a:lnTo>
                      <a:lnTo>
                        <a:pt x="984" y="24"/>
                      </a:lnTo>
                      <a:lnTo>
                        <a:pt x="984" y="16"/>
                      </a:lnTo>
                      <a:lnTo>
                        <a:pt x="976" y="8"/>
                      </a:lnTo>
                      <a:lnTo>
                        <a:pt x="968" y="8"/>
                      </a:lnTo>
                      <a:lnTo>
                        <a:pt x="960" y="8"/>
                      </a:lnTo>
                      <a:lnTo>
                        <a:pt x="952" y="0"/>
                      </a:lnTo>
                      <a:lnTo>
                        <a:pt x="944" y="0"/>
                      </a:lnTo>
                      <a:lnTo>
                        <a:pt x="944" y="8"/>
                      </a:lnTo>
                      <a:lnTo>
                        <a:pt x="936" y="8"/>
                      </a:lnTo>
                      <a:lnTo>
                        <a:pt x="928" y="16"/>
                      </a:lnTo>
                      <a:lnTo>
                        <a:pt x="936" y="16"/>
                      </a:lnTo>
                      <a:lnTo>
                        <a:pt x="928" y="24"/>
                      </a:lnTo>
                      <a:lnTo>
                        <a:pt x="920" y="24"/>
                      </a:lnTo>
                      <a:lnTo>
                        <a:pt x="912" y="40"/>
                      </a:lnTo>
                      <a:lnTo>
                        <a:pt x="920" y="48"/>
                      </a:lnTo>
                      <a:lnTo>
                        <a:pt x="928" y="48"/>
                      </a:lnTo>
                      <a:lnTo>
                        <a:pt x="928" y="56"/>
                      </a:lnTo>
                      <a:lnTo>
                        <a:pt x="912" y="48"/>
                      </a:lnTo>
                      <a:lnTo>
                        <a:pt x="912" y="64"/>
                      </a:lnTo>
                      <a:lnTo>
                        <a:pt x="920" y="72"/>
                      </a:lnTo>
                      <a:lnTo>
                        <a:pt x="928" y="80"/>
                      </a:lnTo>
                      <a:lnTo>
                        <a:pt x="944" y="80"/>
                      </a:lnTo>
                      <a:lnTo>
                        <a:pt x="952" y="80"/>
                      </a:lnTo>
                      <a:lnTo>
                        <a:pt x="952" y="88"/>
                      </a:lnTo>
                      <a:lnTo>
                        <a:pt x="960" y="88"/>
                      </a:lnTo>
                      <a:lnTo>
                        <a:pt x="968" y="88"/>
                      </a:lnTo>
                      <a:lnTo>
                        <a:pt x="976" y="88"/>
                      </a:lnTo>
                      <a:lnTo>
                        <a:pt x="960" y="96"/>
                      </a:lnTo>
                      <a:lnTo>
                        <a:pt x="952" y="112"/>
                      </a:lnTo>
                      <a:lnTo>
                        <a:pt x="960" y="112"/>
                      </a:lnTo>
                      <a:lnTo>
                        <a:pt x="968" y="112"/>
                      </a:lnTo>
                      <a:lnTo>
                        <a:pt x="976" y="112"/>
                      </a:lnTo>
                      <a:lnTo>
                        <a:pt x="968" y="120"/>
                      </a:lnTo>
                      <a:lnTo>
                        <a:pt x="960" y="128"/>
                      </a:lnTo>
                      <a:lnTo>
                        <a:pt x="952" y="136"/>
                      </a:lnTo>
                      <a:lnTo>
                        <a:pt x="944" y="136"/>
                      </a:lnTo>
                      <a:lnTo>
                        <a:pt x="928" y="144"/>
                      </a:lnTo>
                      <a:lnTo>
                        <a:pt x="944" y="160"/>
                      </a:lnTo>
                      <a:lnTo>
                        <a:pt x="936" y="160"/>
                      </a:lnTo>
                      <a:lnTo>
                        <a:pt x="920" y="160"/>
                      </a:lnTo>
                      <a:lnTo>
                        <a:pt x="920" y="144"/>
                      </a:lnTo>
                      <a:lnTo>
                        <a:pt x="920" y="136"/>
                      </a:lnTo>
                      <a:lnTo>
                        <a:pt x="912" y="136"/>
                      </a:lnTo>
                      <a:lnTo>
                        <a:pt x="896" y="128"/>
                      </a:lnTo>
                      <a:lnTo>
                        <a:pt x="888" y="128"/>
                      </a:lnTo>
                      <a:lnTo>
                        <a:pt x="880" y="128"/>
                      </a:lnTo>
                      <a:lnTo>
                        <a:pt x="872" y="128"/>
                      </a:lnTo>
                      <a:lnTo>
                        <a:pt x="864" y="152"/>
                      </a:lnTo>
                      <a:lnTo>
                        <a:pt x="856" y="144"/>
                      </a:lnTo>
                      <a:lnTo>
                        <a:pt x="840" y="144"/>
                      </a:lnTo>
                      <a:lnTo>
                        <a:pt x="816" y="152"/>
                      </a:lnTo>
                      <a:lnTo>
                        <a:pt x="808" y="144"/>
                      </a:lnTo>
                      <a:lnTo>
                        <a:pt x="800" y="152"/>
                      </a:lnTo>
                      <a:lnTo>
                        <a:pt x="784" y="144"/>
                      </a:lnTo>
                      <a:lnTo>
                        <a:pt x="776" y="136"/>
                      </a:lnTo>
                      <a:lnTo>
                        <a:pt x="752" y="136"/>
                      </a:lnTo>
                      <a:lnTo>
                        <a:pt x="744" y="136"/>
                      </a:lnTo>
                      <a:lnTo>
                        <a:pt x="728" y="128"/>
                      </a:lnTo>
                      <a:lnTo>
                        <a:pt x="728" y="120"/>
                      </a:lnTo>
                      <a:lnTo>
                        <a:pt x="720" y="128"/>
                      </a:lnTo>
                      <a:lnTo>
                        <a:pt x="712" y="128"/>
                      </a:lnTo>
                      <a:lnTo>
                        <a:pt x="696" y="136"/>
                      </a:lnTo>
                      <a:lnTo>
                        <a:pt x="680" y="136"/>
                      </a:lnTo>
                      <a:lnTo>
                        <a:pt x="680" y="152"/>
                      </a:lnTo>
                      <a:lnTo>
                        <a:pt x="688" y="160"/>
                      </a:lnTo>
                      <a:lnTo>
                        <a:pt x="696" y="168"/>
                      </a:lnTo>
                      <a:lnTo>
                        <a:pt x="688" y="176"/>
                      </a:lnTo>
                      <a:lnTo>
                        <a:pt x="688" y="184"/>
                      </a:lnTo>
                      <a:lnTo>
                        <a:pt x="672" y="176"/>
                      </a:lnTo>
                      <a:lnTo>
                        <a:pt x="664" y="176"/>
                      </a:lnTo>
                      <a:lnTo>
                        <a:pt x="672" y="168"/>
                      </a:lnTo>
                      <a:lnTo>
                        <a:pt x="664" y="160"/>
                      </a:lnTo>
                      <a:lnTo>
                        <a:pt x="656" y="152"/>
                      </a:lnTo>
                      <a:lnTo>
                        <a:pt x="648" y="152"/>
                      </a:lnTo>
                      <a:lnTo>
                        <a:pt x="640" y="144"/>
                      </a:lnTo>
                      <a:lnTo>
                        <a:pt x="632" y="144"/>
                      </a:lnTo>
                      <a:lnTo>
                        <a:pt x="608" y="152"/>
                      </a:lnTo>
                      <a:lnTo>
                        <a:pt x="592" y="152"/>
                      </a:lnTo>
                      <a:lnTo>
                        <a:pt x="552" y="152"/>
                      </a:lnTo>
                      <a:lnTo>
                        <a:pt x="544" y="144"/>
                      </a:lnTo>
                      <a:lnTo>
                        <a:pt x="528" y="144"/>
                      </a:lnTo>
                      <a:lnTo>
                        <a:pt x="520" y="144"/>
                      </a:lnTo>
                      <a:lnTo>
                        <a:pt x="528" y="136"/>
                      </a:lnTo>
                      <a:lnTo>
                        <a:pt x="536" y="136"/>
                      </a:lnTo>
                      <a:lnTo>
                        <a:pt x="536" y="128"/>
                      </a:lnTo>
                      <a:lnTo>
                        <a:pt x="552" y="128"/>
                      </a:lnTo>
                      <a:lnTo>
                        <a:pt x="520" y="104"/>
                      </a:lnTo>
                      <a:lnTo>
                        <a:pt x="512" y="104"/>
                      </a:lnTo>
                      <a:lnTo>
                        <a:pt x="504" y="112"/>
                      </a:lnTo>
                      <a:lnTo>
                        <a:pt x="496" y="112"/>
                      </a:lnTo>
                      <a:lnTo>
                        <a:pt x="480" y="104"/>
                      </a:lnTo>
                      <a:lnTo>
                        <a:pt x="472" y="104"/>
                      </a:lnTo>
                      <a:lnTo>
                        <a:pt x="456" y="96"/>
                      </a:lnTo>
                      <a:lnTo>
                        <a:pt x="432" y="96"/>
                      </a:lnTo>
                      <a:lnTo>
                        <a:pt x="424" y="96"/>
                      </a:lnTo>
                      <a:lnTo>
                        <a:pt x="392" y="80"/>
                      </a:lnTo>
                      <a:lnTo>
                        <a:pt x="368" y="80"/>
                      </a:lnTo>
                      <a:lnTo>
                        <a:pt x="368" y="88"/>
                      </a:lnTo>
                      <a:lnTo>
                        <a:pt x="352" y="96"/>
                      </a:lnTo>
                      <a:lnTo>
                        <a:pt x="336" y="96"/>
                      </a:lnTo>
                      <a:lnTo>
                        <a:pt x="344" y="88"/>
                      </a:lnTo>
                      <a:lnTo>
                        <a:pt x="336" y="80"/>
                      </a:lnTo>
                      <a:lnTo>
                        <a:pt x="344" y="72"/>
                      </a:lnTo>
                      <a:lnTo>
                        <a:pt x="336" y="64"/>
                      </a:lnTo>
                      <a:lnTo>
                        <a:pt x="320" y="72"/>
                      </a:lnTo>
                      <a:lnTo>
                        <a:pt x="320" y="88"/>
                      </a:lnTo>
                      <a:lnTo>
                        <a:pt x="320" y="96"/>
                      </a:lnTo>
                      <a:lnTo>
                        <a:pt x="304" y="96"/>
                      </a:lnTo>
                      <a:lnTo>
                        <a:pt x="288" y="80"/>
                      </a:lnTo>
                      <a:lnTo>
                        <a:pt x="288" y="72"/>
                      </a:lnTo>
                      <a:lnTo>
                        <a:pt x="264" y="48"/>
                      </a:lnTo>
                      <a:lnTo>
                        <a:pt x="264" y="56"/>
                      </a:lnTo>
                      <a:lnTo>
                        <a:pt x="272" y="64"/>
                      </a:lnTo>
                      <a:lnTo>
                        <a:pt x="264" y="64"/>
                      </a:lnTo>
                      <a:lnTo>
                        <a:pt x="256" y="64"/>
                      </a:lnTo>
                      <a:lnTo>
                        <a:pt x="256" y="72"/>
                      </a:lnTo>
                      <a:lnTo>
                        <a:pt x="248" y="80"/>
                      </a:lnTo>
                      <a:lnTo>
                        <a:pt x="248" y="72"/>
                      </a:lnTo>
                      <a:lnTo>
                        <a:pt x="240" y="80"/>
                      </a:lnTo>
                      <a:lnTo>
                        <a:pt x="216" y="80"/>
                      </a:lnTo>
                      <a:lnTo>
                        <a:pt x="200" y="96"/>
                      </a:lnTo>
                      <a:lnTo>
                        <a:pt x="176" y="104"/>
                      </a:lnTo>
                      <a:lnTo>
                        <a:pt x="168" y="112"/>
                      </a:lnTo>
                      <a:lnTo>
                        <a:pt x="152" y="112"/>
                      </a:lnTo>
                      <a:lnTo>
                        <a:pt x="160" y="104"/>
                      </a:lnTo>
                      <a:lnTo>
                        <a:pt x="176" y="96"/>
                      </a:lnTo>
                      <a:lnTo>
                        <a:pt x="192" y="88"/>
                      </a:lnTo>
                      <a:lnTo>
                        <a:pt x="200" y="88"/>
                      </a:lnTo>
                      <a:lnTo>
                        <a:pt x="232" y="72"/>
                      </a:lnTo>
                      <a:lnTo>
                        <a:pt x="224" y="72"/>
                      </a:lnTo>
                      <a:lnTo>
                        <a:pt x="216" y="72"/>
                      </a:lnTo>
                      <a:lnTo>
                        <a:pt x="208" y="72"/>
                      </a:lnTo>
                      <a:lnTo>
                        <a:pt x="200" y="72"/>
                      </a:lnTo>
                      <a:lnTo>
                        <a:pt x="184" y="80"/>
                      </a:lnTo>
                      <a:lnTo>
                        <a:pt x="176" y="80"/>
                      </a:lnTo>
                      <a:lnTo>
                        <a:pt x="160" y="88"/>
                      </a:lnTo>
                      <a:lnTo>
                        <a:pt x="160" y="96"/>
                      </a:lnTo>
                      <a:lnTo>
                        <a:pt x="144" y="96"/>
                      </a:lnTo>
                      <a:lnTo>
                        <a:pt x="144" y="88"/>
                      </a:lnTo>
                      <a:lnTo>
                        <a:pt x="128" y="88"/>
                      </a:lnTo>
                      <a:lnTo>
                        <a:pt x="120" y="96"/>
                      </a:lnTo>
                      <a:lnTo>
                        <a:pt x="112" y="96"/>
                      </a:lnTo>
                      <a:lnTo>
                        <a:pt x="104" y="104"/>
                      </a:lnTo>
                      <a:lnTo>
                        <a:pt x="104" y="112"/>
                      </a:lnTo>
                      <a:lnTo>
                        <a:pt x="120" y="112"/>
                      </a:lnTo>
                      <a:lnTo>
                        <a:pt x="120" y="120"/>
                      </a:lnTo>
                      <a:lnTo>
                        <a:pt x="112" y="120"/>
                      </a:lnTo>
                      <a:lnTo>
                        <a:pt x="96" y="120"/>
                      </a:lnTo>
                      <a:lnTo>
                        <a:pt x="80" y="112"/>
                      </a:lnTo>
                      <a:lnTo>
                        <a:pt x="64" y="112"/>
                      </a:lnTo>
                      <a:lnTo>
                        <a:pt x="48" y="104"/>
                      </a:lnTo>
                      <a:lnTo>
                        <a:pt x="32" y="88"/>
                      </a:lnTo>
                      <a:lnTo>
                        <a:pt x="8" y="88"/>
                      </a:lnTo>
                      <a:lnTo>
                        <a:pt x="0" y="88"/>
                      </a:lnTo>
                      <a:lnTo>
                        <a:pt x="0" y="472"/>
                      </a:lnTo>
                      <a:lnTo>
                        <a:pt x="16" y="488"/>
                      </a:lnTo>
                      <a:lnTo>
                        <a:pt x="24" y="472"/>
                      </a:lnTo>
                      <a:lnTo>
                        <a:pt x="32" y="464"/>
                      </a:lnTo>
                      <a:lnTo>
                        <a:pt x="40" y="480"/>
                      </a:lnTo>
                      <a:lnTo>
                        <a:pt x="72" y="520"/>
                      </a:lnTo>
                      <a:lnTo>
                        <a:pt x="80" y="520"/>
                      </a:lnTo>
                      <a:lnTo>
                        <a:pt x="96" y="504"/>
                      </a:lnTo>
                      <a:lnTo>
                        <a:pt x="112" y="504"/>
                      </a:lnTo>
                      <a:lnTo>
                        <a:pt x="128" y="512"/>
                      </a:lnTo>
                      <a:lnTo>
                        <a:pt x="144" y="544"/>
                      </a:lnTo>
                      <a:lnTo>
                        <a:pt x="160" y="552"/>
                      </a:lnTo>
                      <a:lnTo>
                        <a:pt x="184" y="608"/>
                      </a:lnTo>
                      <a:lnTo>
                        <a:pt x="200" y="624"/>
                      </a:lnTo>
                      <a:lnTo>
                        <a:pt x="224" y="640"/>
                      </a:lnTo>
                      <a:lnTo>
                        <a:pt x="224" y="664"/>
                      </a:lnTo>
                      <a:lnTo>
                        <a:pt x="224" y="680"/>
                      </a:lnTo>
                      <a:lnTo>
                        <a:pt x="216" y="688"/>
                      </a:lnTo>
                      <a:lnTo>
                        <a:pt x="216" y="696"/>
                      </a:lnTo>
                      <a:lnTo>
                        <a:pt x="224" y="712"/>
                      </a:lnTo>
                      <a:lnTo>
                        <a:pt x="224" y="728"/>
                      </a:lnTo>
                      <a:lnTo>
                        <a:pt x="232" y="736"/>
                      </a:lnTo>
                      <a:lnTo>
                        <a:pt x="240" y="728"/>
                      </a:lnTo>
                      <a:lnTo>
                        <a:pt x="248" y="744"/>
                      </a:lnTo>
                      <a:lnTo>
                        <a:pt x="240" y="744"/>
                      </a:lnTo>
                      <a:lnTo>
                        <a:pt x="240" y="752"/>
                      </a:lnTo>
                      <a:lnTo>
                        <a:pt x="248" y="760"/>
                      </a:lnTo>
                      <a:lnTo>
                        <a:pt x="256" y="752"/>
                      </a:lnTo>
                      <a:lnTo>
                        <a:pt x="264" y="768"/>
                      </a:lnTo>
                      <a:lnTo>
                        <a:pt x="264" y="776"/>
                      </a:lnTo>
                      <a:lnTo>
                        <a:pt x="264" y="792"/>
                      </a:lnTo>
                      <a:lnTo>
                        <a:pt x="272" y="808"/>
                      </a:lnTo>
                      <a:lnTo>
                        <a:pt x="280" y="808"/>
                      </a:lnTo>
                      <a:lnTo>
                        <a:pt x="296" y="816"/>
                      </a:lnTo>
                      <a:lnTo>
                        <a:pt x="304" y="824"/>
                      </a:lnTo>
                      <a:lnTo>
                        <a:pt x="320" y="824"/>
                      </a:lnTo>
                      <a:lnTo>
                        <a:pt x="328" y="832"/>
                      </a:lnTo>
                      <a:lnTo>
                        <a:pt x="336" y="848"/>
                      </a:lnTo>
                      <a:lnTo>
                        <a:pt x="344" y="848"/>
                      </a:lnTo>
                      <a:lnTo>
                        <a:pt x="352" y="856"/>
                      </a:lnTo>
                      <a:lnTo>
                        <a:pt x="360" y="856"/>
                      </a:lnTo>
                      <a:lnTo>
                        <a:pt x="368" y="872"/>
                      </a:lnTo>
                      <a:lnTo>
                        <a:pt x="376" y="880"/>
                      </a:lnTo>
                      <a:lnTo>
                        <a:pt x="384" y="88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71" name="Freeform 67"/>
                <p:cNvSpPr>
                  <a:spLocks noChangeAspect="1"/>
                </p:cNvSpPr>
                <p:nvPr/>
              </p:nvSpPr>
              <p:spPr bwMode="auto">
                <a:xfrm>
                  <a:off x="1073" y="2402"/>
                  <a:ext cx="439" cy="282"/>
                </a:xfrm>
                <a:custGeom>
                  <a:avLst/>
                  <a:gdLst>
                    <a:gd name="T0" fmla="*/ 1 w 624"/>
                    <a:gd name="T1" fmla="*/ 1 h 400"/>
                    <a:gd name="T2" fmla="*/ 1 w 624"/>
                    <a:gd name="T3" fmla="*/ 1 h 400"/>
                    <a:gd name="T4" fmla="*/ 1 w 624"/>
                    <a:gd name="T5" fmla="*/ 1 h 400"/>
                    <a:gd name="T6" fmla="*/ 1 w 624"/>
                    <a:gd name="T7" fmla="*/ 1 h 400"/>
                    <a:gd name="T8" fmla="*/ 1 w 624"/>
                    <a:gd name="T9" fmla="*/ 1 h 400"/>
                    <a:gd name="T10" fmla="*/ 1 w 624"/>
                    <a:gd name="T11" fmla="*/ 1 h 400"/>
                    <a:gd name="T12" fmla="*/ 1 w 624"/>
                    <a:gd name="T13" fmla="*/ 1 h 400"/>
                    <a:gd name="T14" fmla="*/ 1 w 624"/>
                    <a:gd name="T15" fmla="*/ 1 h 400"/>
                    <a:gd name="T16" fmla="*/ 1 w 624"/>
                    <a:gd name="T17" fmla="*/ 1 h 400"/>
                    <a:gd name="T18" fmla="*/ 1 w 624"/>
                    <a:gd name="T19" fmla="*/ 1 h 400"/>
                    <a:gd name="T20" fmla="*/ 1 w 624"/>
                    <a:gd name="T21" fmla="*/ 1 h 400"/>
                    <a:gd name="T22" fmla="*/ 1 w 624"/>
                    <a:gd name="T23" fmla="*/ 1 h 400"/>
                    <a:gd name="T24" fmla="*/ 1 w 624"/>
                    <a:gd name="T25" fmla="*/ 1 h 400"/>
                    <a:gd name="T26" fmla="*/ 1 w 624"/>
                    <a:gd name="T27" fmla="*/ 1 h 400"/>
                    <a:gd name="T28" fmla="*/ 1 w 624"/>
                    <a:gd name="T29" fmla="*/ 1 h 400"/>
                    <a:gd name="T30" fmla="*/ 1 w 624"/>
                    <a:gd name="T31" fmla="*/ 1 h 400"/>
                    <a:gd name="T32" fmla="*/ 1 w 624"/>
                    <a:gd name="T33" fmla="*/ 1 h 400"/>
                    <a:gd name="T34" fmla="*/ 1 w 624"/>
                    <a:gd name="T35" fmla="*/ 0 h 400"/>
                    <a:gd name="T36" fmla="*/ 1 w 624"/>
                    <a:gd name="T37" fmla="*/ 1 h 400"/>
                    <a:gd name="T38" fmla="*/ 1 w 624"/>
                    <a:gd name="T39" fmla="*/ 1 h 400"/>
                    <a:gd name="T40" fmla="*/ 1 w 624"/>
                    <a:gd name="T41" fmla="*/ 1 h 400"/>
                    <a:gd name="T42" fmla="*/ 1 w 624"/>
                    <a:gd name="T43" fmla="*/ 1 h 400"/>
                    <a:gd name="T44" fmla="*/ 1 w 624"/>
                    <a:gd name="T45" fmla="*/ 1 h 400"/>
                    <a:gd name="T46" fmla="*/ 1 w 624"/>
                    <a:gd name="T47" fmla="*/ 1 h 400"/>
                    <a:gd name="T48" fmla="*/ 1 w 624"/>
                    <a:gd name="T49" fmla="*/ 1 h 400"/>
                    <a:gd name="T50" fmla="*/ 1 w 624"/>
                    <a:gd name="T51" fmla="*/ 1 h 400"/>
                    <a:gd name="T52" fmla="*/ 1 w 624"/>
                    <a:gd name="T53" fmla="*/ 1 h 400"/>
                    <a:gd name="T54" fmla="*/ 1 w 624"/>
                    <a:gd name="T55" fmla="*/ 1 h 400"/>
                    <a:gd name="T56" fmla="*/ 1 w 624"/>
                    <a:gd name="T57" fmla="*/ 1 h 400"/>
                    <a:gd name="T58" fmla="*/ 1 w 624"/>
                    <a:gd name="T59" fmla="*/ 1 h 400"/>
                    <a:gd name="T60" fmla="*/ 1 w 624"/>
                    <a:gd name="T61" fmla="*/ 1 h 400"/>
                    <a:gd name="T62" fmla="*/ 1 w 624"/>
                    <a:gd name="T63" fmla="*/ 1 h 400"/>
                    <a:gd name="T64" fmla="*/ 1 w 624"/>
                    <a:gd name="T65" fmla="*/ 1 h 400"/>
                    <a:gd name="T66" fmla="*/ 1 w 624"/>
                    <a:gd name="T67" fmla="*/ 1 h 400"/>
                    <a:gd name="T68" fmla="*/ 1 w 624"/>
                    <a:gd name="T69" fmla="*/ 1 h 400"/>
                    <a:gd name="T70" fmla="*/ 1 w 624"/>
                    <a:gd name="T71" fmla="*/ 1 h 400"/>
                    <a:gd name="T72" fmla="*/ 1 w 624"/>
                    <a:gd name="T73" fmla="*/ 1 h 400"/>
                    <a:gd name="T74" fmla="*/ 1 w 624"/>
                    <a:gd name="T75" fmla="*/ 1 h 400"/>
                    <a:gd name="T76" fmla="*/ 1 w 624"/>
                    <a:gd name="T77" fmla="*/ 1 h 400"/>
                    <a:gd name="T78" fmla="*/ 1 w 624"/>
                    <a:gd name="T79" fmla="*/ 1 h 400"/>
                    <a:gd name="T80" fmla="*/ 1 w 624"/>
                    <a:gd name="T81" fmla="*/ 1 h 400"/>
                    <a:gd name="T82" fmla="*/ 1 w 624"/>
                    <a:gd name="T83" fmla="*/ 1 h 400"/>
                    <a:gd name="T84" fmla="*/ 1 w 624"/>
                    <a:gd name="T85" fmla="*/ 1 h 400"/>
                    <a:gd name="T86" fmla="*/ 1 w 624"/>
                    <a:gd name="T87" fmla="*/ 1 h 400"/>
                    <a:gd name="T88" fmla="*/ 1 w 624"/>
                    <a:gd name="T89" fmla="*/ 1 h 400"/>
                    <a:gd name="T90" fmla="*/ 1 w 624"/>
                    <a:gd name="T91" fmla="*/ 1 h 400"/>
                    <a:gd name="T92" fmla="*/ 1 w 624"/>
                    <a:gd name="T93" fmla="*/ 1 h 400"/>
                    <a:gd name="T94" fmla="*/ 1 w 624"/>
                    <a:gd name="T95" fmla="*/ 1 h 400"/>
                    <a:gd name="T96" fmla="*/ 1 w 624"/>
                    <a:gd name="T97" fmla="*/ 1 h 400"/>
                    <a:gd name="T98" fmla="*/ 1 w 624"/>
                    <a:gd name="T99" fmla="*/ 1 h 400"/>
                    <a:gd name="T100" fmla="*/ 1 w 624"/>
                    <a:gd name="T101" fmla="*/ 1 h 400"/>
                    <a:gd name="T102" fmla="*/ 1 w 624"/>
                    <a:gd name="T103" fmla="*/ 1 h 400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624"/>
                    <a:gd name="T157" fmla="*/ 0 h 400"/>
                    <a:gd name="T158" fmla="*/ 624 w 624"/>
                    <a:gd name="T159" fmla="*/ 400 h 400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624" h="400">
                      <a:moveTo>
                        <a:pt x="576" y="328"/>
                      </a:moveTo>
                      <a:lnTo>
                        <a:pt x="584" y="320"/>
                      </a:lnTo>
                      <a:lnTo>
                        <a:pt x="608" y="320"/>
                      </a:lnTo>
                      <a:lnTo>
                        <a:pt x="608" y="312"/>
                      </a:lnTo>
                      <a:lnTo>
                        <a:pt x="608" y="288"/>
                      </a:lnTo>
                      <a:lnTo>
                        <a:pt x="616" y="272"/>
                      </a:lnTo>
                      <a:lnTo>
                        <a:pt x="624" y="256"/>
                      </a:lnTo>
                      <a:lnTo>
                        <a:pt x="616" y="248"/>
                      </a:lnTo>
                      <a:lnTo>
                        <a:pt x="608" y="256"/>
                      </a:lnTo>
                      <a:lnTo>
                        <a:pt x="600" y="248"/>
                      </a:lnTo>
                      <a:lnTo>
                        <a:pt x="584" y="248"/>
                      </a:lnTo>
                      <a:lnTo>
                        <a:pt x="568" y="256"/>
                      </a:lnTo>
                      <a:lnTo>
                        <a:pt x="560" y="256"/>
                      </a:lnTo>
                      <a:lnTo>
                        <a:pt x="552" y="272"/>
                      </a:lnTo>
                      <a:lnTo>
                        <a:pt x="552" y="288"/>
                      </a:lnTo>
                      <a:lnTo>
                        <a:pt x="536" y="304"/>
                      </a:lnTo>
                      <a:lnTo>
                        <a:pt x="536" y="312"/>
                      </a:lnTo>
                      <a:lnTo>
                        <a:pt x="496" y="320"/>
                      </a:lnTo>
                      <a:lnTo>
                        <a:pt x="488" y="320"/>
                      </a:lnTo>
                      <a:lnTo>
                        <a:pt x="472" y="320"/>
                      </a:lnTo>
                      <a:lnTo>
                        <a:pt x="456" y="312"/>
                      </a:lnTo>
                      <a:lnTo>
                        <a:pt x="448" y="312"/>
                      </a:lnTo>
                      <a:lnTo>
                        <a:pt x="440" y="304"/>
                      </a:lnTo>
                      <a:lnTo>
                        <a:pt x="432" y="296"/>
                      </a:lnTo>
                      <a:lnTo>
                        <a:pt x="424" y="288"/>
                      </a:lnTo>
                      <a:lnTo>
                        <a:pt x="416" y="272"/>
                      </a:lnTo>
                      <a:lnTo>
                        <a:pt x="408" y="256"/>
                      </a:lnTo>
                      <a:lnTo>
                        <a:pt x="400" y="232"/>
                      </a:lnTo>
                      <a:lnTo>
                        <a:pt x="400" y="208"/>
                      </a:lnTo>
                      <a:lnTo>
                        <a:pt x="400" y="184"/>
                      </a:lnTo>
                      <a:lnTo>
                        <a:pt x="408" y="168"/>
                      </a:lnTo>
                      <a:lnTo>
                        <a:pt x="408" y="160"/>
                      </a:lnTo>
                      <a:lnTo>
                        <a:pt x="392" y="152"/>
                      </a:lnTo>
                      <a:lnTo>
                        <a:pt x="368" y="136"/>
                      </a:lnTo>
                      <a:lnTo>
                        <a:pt x="368" y="120"/>
                      </a:lnTo>
                      <a:lnTo>
                        <a:pt x="336" y="80"/>
                      </a:lnTo>
                      <a:lnTo>
                        <a:pt x="312" y="64"/>
                      </a:lnTo>
                      <a:lnTo>
                        <a:pt x="296" y="72"/>
                      </a:lnTo>
                      <a:lnTo>
                        <a:pt x="296" y="80"/>
                      </a:lnTo>
                      <a:lnTo>
                        <a:pt x="296" y="88"/>
                      </a:lnTo>
                      <a:lnTo>
                        <a:pt x="280" y="80"/>
                      </a:lnTo>
                      <a:lnTo>
                        <a:pt x="264" y="64"/>
                      </a:lnTo>
                      <a:lnTo>
                        <a:pt x="264" y="48"/>
                      </a:lnTo>
                      <a:lnTo>
                        <a:pt x="256" y="40"/>
                      </a:lnTo>
                      <a:lnTo>
                        <a:pt x="248" y="40"/>
                      </a:lnTo>
                      <a:lnTo>
                        <a:pt x="224" y="24"/>
                      </a:lnTo>
                      <a:lnTo>
                        <a:pt x="208" y="16"/>
                      </a:lnTo>
                      <a:lnTo>
                        <a:pt x="192" y="16"/>
                      </a:lnTo>
                      <a:lnTo>
                        <a:pt x="184" y="32"/>
                      </a:lnTo>
                      <a:lnTo>
                        <a:pt x="168" y="32"/>
                      </a:lnTo>
                      <a:lnTo>
                        <a:pt x="120" y="32"/>
                      </a:lnTo>
                      <a:lnTo>
                        <a:pt x="112" y="32"/>
                      </a:lnTo>
                      <a:lnTo>
                        <a:pt x="80" y="16"/>
                      </a:lnTo>
                      <a:lnTo>
                        <a:pt x="48" y="0"/>
                      </a:lnTo>
                      <a:lnTo>
                        <a:pt x="16" y="0"/>
                      </a:lnTo>
                      <a:lnTo>
                        <a:pt x="0" y="8"/>
                      </a:lnTo>
                      <a:lnTo>
                        <a:pt x="8" y="16"/>
                      </a:lnTo>
                      <a:lnTo>
                        <a:pt x="8" y="32"/>
                      </a:lnTo>
                      <a:lnTo>
                        <a:pt x="32" y="48"/>
                      </a:lnTo>
                      <a:lnTo>
                        <a:pt x="32" y="64"/>
                      </a:lnTo>
                      <a:lnTo>
                        <a:pt x="40" y="72"/>
                      </a:lnTo>
                      <a:lnTo>
                        <a:pt x="48" y="72"/>
                      </a:lnTo>
                      <a:lnTo>
                        <a:pt x="64" y="88"/>
                      </a:lnTo>
                      <a:lnTo>
                        <a:pt x="64" y="104"/>
                      </a:lnTo>
                      <a:lnTo>
                        <a:pt x="64" y="120"/>
                      </a:lnTo>
                      <a:lnTo>
                        <a:pt x="48" y="120"/>
                      </a:lnTo>
                      <a:lnTo>
                        <a:pt x="72" y="136"/>
                      </a:lnTo>
                      <a:lnTo>
                        <a:pt x="80" y="136"/>
                      </a:lnTo>
                      <a:lnTo>
                        <a:pt x="96" y="152"/>
                      </a:lnTo>
                      <a:lnTo>
                        <a:pt x="104" y="160"/>
                      </a:lnTo>
                      <a:lnTo>
                        <a:pt x="112" y="176"/>
                      </a:lnTo>
                      <a:lnTo>
                        <a:pt x="120" y="192"/>
                      </a:lnTo>
                      <a:lnTo>
                        <a:pt x="128" y="192"/>
                      </a:lnTo>
                      <a:lnTo>
                        <a:pt x="144" y="208"/>
                      </a:lnTo>
                      <a:lnTo>
                        <a:pt x="144" y="224"/>
                      </a:lnTo>
                      <a:lnTo>
                        <a:pt x="160" y="224"/>
                      </a:lnTo>
                      <a:lnTo>
                        <a:pt x="160" y="216"/>
                      </a:lnTo>
                      <a:lnTo>
                        <a:pt x="152" y="200"/>
                      </a:lnTo>
                      <a:lnTo>
                        <a:pt x="144" y="192"/>
                      </a:lnTo>
                      <a:lnTo>
                        <a:pt x="136" y="192"/>
                      </a:lnTo>
                      <a:lnTo>
                        <a:pt x="136" y="176"/>
                      </a:lnTo>
                      <a:lnTo>
                        <a:pt x="128" y="168"/>
                      </a:lnTo>
                      <a:lnTo>
                        <a:pt x="120" y="160"/>
                      </a:lnTo>
                      <a:lnTo>
                        <a:pt x="120" y="144"/>
                      </a:lnTo>
                      <a:lnTo>
                        <a:pt x="96" y="120"/>
                      </a:lnTo>
                      <a:lnTo>
                        <a:pt x="96" y="112"/>
                      </a:lnTo>
                      <a:lnTo>
                        <a:pt x="88" y="104"/>
                      </a:lnTo>
                      <a:lnTo>
                        <a:pt x="88" y="96"/>
                      </a:lnTo>
                      <a:lnTo>
                        <a:pt x="56" y="64"/>
                      </a:lnTo>
                      <a:lnTo>
                        <a:pt x="56" y="56"/>
                      </a:lnTo>
                      <a:lnTo>
                        <a:pt x="48" y="24"/>
                      </a:lnTo>
                      <a:lnTo>
                        <a:pt x="56" y="16"/>
                      </a:lnTo>
                      <a:lnTo>
                        <a:pt x="56" y="24"/>
                      </a:lnTo>
                      <a:lnTo>
                        <a:pt x="72" y="24"/>
                      </a:lnTo>
                      <a:lnTo>
                        <a:pt x="72" y="32"/>
                      </a:lnTo>
                      <a:lnTo>
                        <a:pt x="80" y="32"/>
                      </a:lnTo>
                      <a:lnTo>
                        <a:pt x="88" y="40"/>
                      </a:lnTo>
                      <a:lnTo>
                        <a:pt x="80" y="56"/>
                      </a:lnTo>
                      <a:lnTo>
                        <a:pt x="88" y="64"/>
                      </a:lnTo>
                      <a:lnTo>
                        <a:pt x="96" y="72"/>
                      </a:lnTo>
                      <a:lnTo>
                        <a:pt x="104" y="88"/>
                      </a:lnTo>
                      <a:lnTo>
                        <a:pt x="112" y="96"/>
                      </a:lnTo>
                      <a:lnTo>
                        <a:pt x="120" y="104"/>
                      </a:lnTo>
                      <a:lnTo>
                        <a:pt x="136" y="112"/>
                      </a:lnTo>
                      <a:lnTo>
                        <a:pt x="136" y="120"/>
                      </a:lnTo>
                      <a:lnTo>
                        <a:pt x="152" y="136"/>
                      </a:lnTo>
                      <a:lnTo>
                        <a:pt x="160" y="136"/>
                      </a:lnTo>
                      <a:lnTo>
                        <a:pt x="168" y="144"/>
                      </a:lnTo>
                      <a:lnTo>
                        <a:pt x="160" y="152"/>
                      </a:lnTo>
                      <a:lnTo>
                        <a:pt x="160" y="160"/>
                      </a:lnTo>
                      <a:lnTo>
                        <a:pt x="176" y="168"/>
                      </a:lnTo>
                      <a:lnTo>
                        <a:pt x="184" y="168"/>
                      </a:lnTo>
                      <a:lnTo>
                        <a:pt x="192" y="176"/>
                      </a:lnTo>
                      <a:lnTo>
                        <a:pt x="192" y="184"/>
                      </a:lnTo>
                      <a:lnTo>
                        <a:pt x="200" y="200"/>
                      </a:lnTo>
                      <a:lnTo>
                        <a:pt x="208" y="200"/>
                      </a:lnTo>
                      <a:lnTo>
                        <a:pt x="216" y="208"/>
                      </a:lnTo>
                      <a:lnTo>
                        <a:pt x="232" y="232"/>
                      </a:lnTo>
                      <a:lnTo>
                        <a:pt x="240" y="240"/>
                      </a:lnTo>
                      <a:lnTo>
                        <a:pt x="248" y="256"/>
                      </a:lnTo>
                      <a:lnTo>
                        <a:pt x="240" y="272"/>
                      </a:lnTo>
                      <a:lnTo>
                        <a:pt x="240" y="280"/>
                      </a:lnTo>
                      <a:lnTo>
                        <a:pt x="240" y="288"/>
                      </a:lnTo>
                      <a:lnTo>
                        <a:pt x="240" y="296"/>
                      </a:lnTo>
                      <a:lnTo>
                        <a:pt x="256" y="296"/>
                      </a:lnTo>
                      <a:lnTo>
                        <a:pt x="264" y="304"/>
                      </a:lnTo>
                      <a:lnTo>
                        <a:pt x="272" y="304"/>
                      </a:lnTo>
                      <a:lnTo>
                        <a:pt x="280" y="320"/>
                      </a:lnTo>
                      <a:lnTo>
                        <a:pt x="288" y="320"/>
                      </a:lnTo>
                      <a:lnTo>
                        <a:pt x="304" y="328"/>
                      </a:lnTo>
                      <a:lnTo>
                        <a:pt x="312" y="328"/>
                      </a:lnTo>
                      <a:lnTo>
                        <a:pt x="328" y="336"/>
                      </a:lnTo>
                      <a:lnTo>
                        <a:pt x="336" y="344"/>
                      </a:lnTo>
                      <a:lnTo>
                        <a:pt x="344" y="352"/>
                      </a:lnTo>
                      <a:lnTo>
                        <a:pt x="352" y="352"/>
                      </a:lnTo>
                      <a:lnTo>
                        <a:pt x="360" y="360"/>
                      </a:lnTo>
                      <a:lnTo>
                        <a:pt x="368" y="360"/>
                      </a:lnTo>
                      <a:lnTo>
                        <a:pt x="384" y="368"/>
                      </a:lnTo>
                      <a:lnTo>
                        <a:pt x="392" y="368"/>
                      </a:lnTo>
                      <a:lnTo>
                        <a:pt x="400" y="368"/>
                      </a:lnTo>
                      <a:lnTo>
                        <a:pt x="408" y="376"/>
                      </a:lnTo>
                      <a:lnTo>
                        <a:pt x="416" y="376"/>
                      </a:lnTo>
                      <a:lnTo>
                        <a:pt x="440" y="376"/>
                      </a:lnTo>
                      <a:lnTo>
                        <a:pt x="464" y="360"/>
                      </a:lnTo>
                      <a:lnTo>
                        <a:pt x="472" y="368"/>
                      </a:lnTo>
                      <a:lnTo>
                        <a:pt x="488" y="368"/>
                      </a:lnTo>
                      <a:lnTo>
                        <a:pt x="488" y="376"/>
                      </a:lnTo>
                      <a:lnTo>
                        <a:pt x="512" y="400"/>
                      </a:lnTo>
                      <a:lnTo>
                        <a:pt x="520" y="368"/>
                      </a:lnTo>
                      <a:lnTo>
                        <a:pt x="544" y="368"/>
                      </a:lnTo>
                      <a:lnTo>
                        <a:pt x="552" y="368"/>
                      </a:lnTo>
                      <a:lnTo>
                        <a:pt x="552" y="360"/>
                      </a:lnTo>
                      <a:lnTo>
                        <a:pt x="536" y="344"/>
                      </a:lnTo>
                      <a:lnTo>
                        <a:pt x="544" y="336"/>
                      </a:lnTo>
                      <a:lnTo>
                        <a:pt x="544" y="328"/>
                      </a:lnTo>
                      <a:lnTo>
                        <a:pt x="568" y="328"/>
                      </a:lnTo>
                      <a:lnTo>
                        <a:pt x="576" y="32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72" name="Freeform 68"/>
                <p:cNvSpPr>
                  <a:spLocks noChangeAspect="1"/>
                </p:cNvSpPr>
                <p:nvPr/>
              </p:nvSpPr>
              <p:spPr bwMode="auto">
                <a:xfrm>
                  <a:off x="1478" y="2627"/>
                  <a:ext cx="22" cy="34"/>
                </a:xfrm>
                <a:custGeom>
                  <a:avLst/>
                  <a:gdLst>
                    <a:gd name="T0" fmla="*/ 1 w 32"/>
                    <a:gd name="T1" fmla="*/ 1 h 48"/>
                    <a:gd name="T2" fmla="*/ 0 w 32"/>
                    <a:gd name="T3" fmla="*/ 1 h 48"/>
                    <a:gd name="T4" fmla="*/ 0 w 32"/>
                    <a:gd name="T5" fmla="*/ 1 h 48"/>
                    <a:gd name="T6" fmla="*/ 1 w 32"/>
                    <a:gd name="T7" fmla="*/ 0 h 48"/>
                    <a:gd name="T8" fmla="*/ 1 w 32"/>
                    <a:gd name="T9" fmla="*/ 0 h 48"/>
                    <a:gd name="T10" fmla="*/ 1 w 32"/>
                    <a:gd name="T11" fmla="*/ 1 h 48"/>
                    <a:gd name="T12" fmla="*/ 1 w 32"/>
                    <a:gd name="T13" fmla="*/ 1 h 48"/>
                    <a:gd name="T14" fmla="*/ 1 w 32"/>
                    <a:gd name="T15" fmla="*/ 1 h 48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32"/>
                    <a:gd name="T25" fmla="*/ 0 h 48"/>
                    <a:gd name="T26" fmla="*/ 32 w 32"/>
                    <a:gd name="T27" fmla="*/ 48 h 48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32" h="48">
                      <a:moveTo>
                        <a:pt x="8" y="48"/>
                      </a:moveTo>
                      <a:lnTo>
                        <a:pt x="0" y="40"/>
                      </a:lnTo>
                      <a:lnTo>
                        <a:pt x="0" y="8"/>
                      </a:lnTo>
                      <a:lnTo>
                        <a:pt x="8" y="0"/>
                      </a:lnTo>
                      <a:lnTo>
                        <a:pt x="32" y="0"/>
                      </a:lnTo>
                      <a:lnTo>
                        <a:pt x="24" y="8"/>
                      </a:lnTo>
                      <a:lnTo>
                        <a:pt x="24" y="24"/>
                      </a:lnTo>
                      <a:lnTo>
                        <a:pt x="8" y="4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73" name="Freeform 69"/>
                <p:cNvSpPr>
                  <a:spLocks noChangeAspect="1"/>
                </p:cNvSpPr>
                <p:nvPr/>
              </p:nvSpPr>
              <p:spPr bwMode="auto">
                <a:xfrm>
                  <a:off x="1433" y="2633"/>
                  <a:ext cx="62" cy="62"/>
                </a:xfrm>
                <a:custGeom>
                  <a:avLst/>
                  <a:gdLst>
                    <a:gd name="T0" fmla="*/ 1 w 88"/>
                    <a:gd name="T1" fmla="*/ 1 h 88"/>
                    <a:gd name="T2" fmla="*/ 1 w 88"/>
                    <a:gd name="T3" fmla="*/ 1 h 88"/>
                    <a:gd name="T4" fmla="*/ 0 w 88"/>
                    <a:gd name="T5" fmla="*/ 1 h 88"/>
                    <a:gd name="T6" fmla="*/ 1 w 88"/>
                    <a:gd name="T7" fmla="*/ 1 h 88"/>
                    <a:gd name="T8" fmla="*/ 1 w 88"/>
                    <a:gd name="T9" fmla="*/ 1 h 88"/>
                    <a:gd name="T10" fmla="*/ 1 w 88"/>
                    <a:gd name="T11" fmla="*/ 1 h 88"/>
                    <a:gd name="T12" fmla="*/ 1 w 88"/>
                    <a:gd name="T13" fmla="*/ 1 h 88"/>
                    <a:gd name="T14" fmla="*/ 1 w 88"/>
                    <a:gd name="T15" fmla="*/ 1 h 88"/>
                    <a:gd name="T16" fmla="*/ 1 w 88"/>
                    <a:gd name="T17" fmla="*/ 1 h 88"/>
                    <a:gd name="T18" fmla="*/ 1 w 88"/>
                    <a:gd name="T19" fmla="*/ 0 h 88"/>
                    <a:gd name="T20" fmla="*/ 1 w 88"/>
                    <a:gd name="T21" fmla="*/ 0 h 88"/>
                    <a:gd name="T22" fmla="*/ 1 w 88"/>
                    <a:gd name="T23" fmla="*/ 0 h 88"/>
                    <a:gd name="T24" fmla="*/ 1 w 88"/>
                    <a:gd name="T25" fmla="*/ 1 h 88"/>
                    <a:gd name="T26" fmla="*/ 1 w 88"/>
                    <a:gd name="T27" fmla="*/ 1 h 88"/>
                    <a:gd name="T28" fmla="*/ 1 w 88"/>
                    <a:gd name="T29" fmla="*/ 1 h 88"/>
                    <a:gd name="T30" fmla="*/ 1 w 88"/>
                    <a:gd name="T31" fmla="*/ 1 h 88"/>
                    <a:gd name="T32" fmla="*/ 1 w 88"/>
                    <a:gd name="T33" fmla="*/ 1 h 88"/>
                    <a:gd name="T34" fmla="*/ 1 w 88"/>
                    <a:gd name="T35" fmla="*/ 1 h 88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88"/>
                    <a:gd name="T55" fmla="*/ 0 h 88"/>
                    <a:gd name="T56" fmla="*/ 88 w 88"/>
                    <a:gd name="T57" fmla="*/ 88 h 88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88" h="88">
                      <a:moveTo>
                        <a:pt x="40" y="88"/>
                      </a:moveTo>
                      <a:lnTo>
                        <a:pt x="8" y="80"/>
                      </a:lnTo>
                      <a:lnTo>
                        <a:pt x="0" y="72"/>
                      </a:lnTo>
                      <a:lnTo>
                        <a:pt x="8" y="40"/>
                      </a:lnTo>
                      <a:lnTo>
                        <a:pt x="32" y="40"/>
                      </a:lnTo>
                      <a:lnTo>
                        <a:pt x="40" y="40"/>
                      </a:lnTo>
                      <a:lnTo>
                        <a:pt x="40" y="32"/>
                      </a:lnTo>
                      <a:lnTo>
                        <a:pt x="24" y="16"/>
                      </a:lnTo>
                      <a:lnTo>
                        <a:pt x="32" y="8"/>
                      </a:lnTo>
                      <a:lnTo>
                        <a:pt x="32" y="0"/>
                      </a:lnTo>
                      <a:lnTo>
                        <a:pt x="56" y="0"/>
                      </a:lnTo>
                      <a:lnTo>
                        <a:pt x="64" y="0"/>
                      </a:lnTo>
                      <a:lnTo>
                        <a:pt x="64" y="32"/>
                      </a:lnTo>
                      <a:lnTo>
                        <a:pt x="72" y="40"/>
                      </a:lnTo>
                      <a:lnTo>
                        <a:pt x="88" y="48"/>
                      </a:lnTo>
                      <a:lnTo>
                        <a:pt x="80" y="56"/>
                      </a:lnTo>
                      <a:lnTo>
                        <a:pt x="56" y="80"/>
                      </a:lnTo>
                      <a:lnTo>
                        <a:pt x="40" y="8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74" name="Freeform 70"/>
                <p:cNvSpPr>
                  <a:spLocks noChangeAspect="1"/>
                </p:cNvSpPr>
                <p:nvPr/>
              </p:nvSpPr>
              <p:spPr bwMode="auto">
                <a:xfrm>
                  <a:off x="1472" y="2661"/>
                  <a:ext cx="90" cy="45"/>
                </a:xfrm>
                <a:custGeom>
                  <a:avLst/>
                  <a:gdLst>
                    <a:gd name="T0" fmla="*/ 1 w 128"/>
                    <a:gd name="T1" fmla="*/ 1 h 64"/>
                    <a:gd name="T2" fmla="*/ 1 w 128"/>
                    <a:gd name="T3" fmla="*/ 1 h 64"/>
                    <a:gd name="T4" fmla="*/ 1 w 128"/>
                    <a:gd name="T5" fmla="*/ 1 h 64"/>
                    <a:gd name="T6" fmla="*/ 1 w 128"/>
                    <a:gd name="T7" fmla="*/ 1 h 64"/>
                    <a:gd name="T8" fmla="*/ 1 w 128"/>
                    <a:gd name="T9" fmla="*/ 1 h 64"/>
                    <a:gd name="T10" fmla="*/ 1 w 128"/>
                    <a:gd name="T11" fmla="*/ 1 h 64"/>
                    <a:gd name="T12" fmla="*/ 1 w 128"/>
                    <a:gd name="T13" fmla="*/ 1 h 64"/>
                    <a:gd name="T14" fmla="*/ 1 w 128"/>
                    <a:gd name="T15" fmla="*/ 1 h 64"/>
                    <a:gd name="T16" fmla="*/ 1 w 128"/>
                    <a:gd name="T17" fmla="*/ 1 h 64"/>
                    <a:gd name="T18" fmla="*/ 1 w 128"/>
                    <a:gd name="T19" fmla="*/ 1 h 64"/>
                    <a:gd name="T20" fmla="*/ 1 w 128"/>
                    <a:gd name="T21" fmla="*/ 0 h 64"/>
                    <a:gd name="T22" fmla="*/ 1 w 128"/>
                    <a:gd name="T23" fmla="*/ 1 h 64"/>
                    <a:gd name="T24" fmla="*/ 1 w 128"/>
                    <a:gd name="T25" fmla="*/ 1 h 64"/>
                    <a:gd name="T26" fmla="*/ 1 w 128"/>
                    <a:gd name="T27" fmla="*/ 1 h 64"/>
                    <a:gd name="T28" fmla="*/ 0 w 128"/>
                    <a:gd name="T29" fmla="*/ 1 h 64"/>
                    <a:gd name="T30" fmla="*/ 1 w 128"/>
                    <a:gd name="T31" fmla="*/ 1 h 64"/>
                    <a:gd name="T32" fmla="*/ 1 w 128"/>
                    <a:gd name="T33" fmla="*/ 1 h 64"/>
                    <a:gd name="T34" fmla="*/ 1 w 128"/>
                    <a:gd name="T35" fmla="*/ 1 h 64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28"/>
                    <a:gd name="T55" fmla="*/ 0 h 64"/>
                    <a:gd name="T56" fmla="*/ 128 w 128"/>
                    <a:gd name="T57" fmla="*/ 64 h 64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28" h="64">
                      <a:moveTo>
                        <a:pt x="40" y="64"/>
                      </a:moveTo>
                      <a:lnTo>
                        <a:pt x="48" y="64"/>
                      </a:lnTo>
                      <a:lnTo>
                        <a:pt x="56" y="64"/>
                      </a:lnTo>
                      <a:lnTo>
                        <a:pt x="56" y="48"/>
                      </a:lnTo>
                      <a:lnTo>
                        <a:pt x="72" y="40"/>
                      </a:lnTo>
                      <a:lnTo>
                        <a:pt x="80" y="40"/>
                      </a:lnTo>
                      <a:lnTo>
                        <a:pt x="96" y="24"/>
                      </a:lnTo>
                      <a:lnTo>
                        <a:pt x="112" y="24"/>
                      </a:lnTo>
                      <a:lnTo>
                        <a:pt x="128" y="24"/>
                      </a:lnTo>
                      <a:lnTo>
                        <a:pt x="120" y="16"/>
                      </a:lnTo>
                      <a:lnTo>
                        <a:pt x="104" y="0"/>
                      </a:lnTo>
                      <a:lnTo>
                        <a:pt x="72" y="8"/>
                      </a:lnTo>
                      <a:lnTo>
                        <a:pt x="32" y="8"/>
                      </a:lnTo>
                      <a:lnTo>
                        <a:pt x="24" y="16"/>
                      </a:lnTo>
                      <a:lnTo>
                        <a:pt x="0" y="40"/>
                      </a:lnTo>
                      <a:lnTo>
                        <a:pt x="24" y="40"/>
                      </a:lnTo>
                      <a:lnTo>
                        <a:pt x="32" y="56"/>
                      </a:lnTo>
                      <a:lnTo>
                        <a:pt x="40" y="64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75" name="Freeform 71"/>
                <p:cNvSpPr>
                  <a:spLocks noChangeAspect="1"/>
                </p:cNvSpPr>
                <p:nvPr/>
              </p:nvSpPr>
              <p:spPr bwMode="auto">
                <a:xfrm>
                  <a:off x="1500" y="2678"/>
                  <a:ext cx="62" cy="62"/>
                </a:xfrm>
                <a:custGeom>
                  <a:avLst/>
                  <a:gdLst>
                    <a:gd name="T0" fmla="*/ 1 w 88"/>
                    <a:gd name="T1" fmla="*/ 0 h 88"/>
                    <a:gd name="T2" fmla="*/ 1 w 88"/>
                    <a:gd name="T3" fmla="*/ 0 h 88"/>
                    <a:gd name="T4" fmla="*/ 1 w 88"/>
                    <a:gd name="T5" fmla="*/ 0 h 88"/>
                    <a:gd name="T6" fmla="*/ 1 w 88"/>
                    <a:gd name="T7" fmla="*/ 1 h 88"/>
                    <a:gd name="T8" fmla="*/ 1 w 88"/>
                    <a:gd name="T9" fmla="*/ 1 h 88"/>
                    <a:gd name="T10" fmla="*/ 1 w 88"/>
                    <a:gd name="T11" fmla="*/ 1 h 88"/>
                    <a:gd name="T12" fmla="*/ 1 w 88"/>
                    <a:gd name="T13" fmla="*/ 1 h 88"/>
                    <a:gd name="T14" fmla="*/ 1 w 88"/>
                    <a:gd name="T15" fmla="*/ 1 h 88"/>
                    <a:gd name="T16" fmla="*/ 0 w 88"/>
                    <a:gd name="T17" fmla="*/ 1 h 88"/>
                    <a:gd name="T18" fmla="*/ 0 w 88"/>
                    <a:gd name="T19" fmla="*/ 1 h 88"/>
                    <a:gd name="T20" fmla="*/ 1 w 88"/>
                    <a:gd name="T21" fmla="*/ 1 h 88"/>
                    <a:gd name="T22" fmla="*/ 1 w 88"/>
                    <a:gd name="T23" fmla="*/ 1 h 88"/>
                    <a:gd name="T24" fmla="*/ 1 w 88"/>
                    <a:gd name="T25" fmla="*/ 1 h 88"/>
                    <a:gd name="T26" fmla="*/ 1 w 88"/>
                    <a:gd name="T27" fmla="*/ 1 h 88"/>
                    <a:gd name="T28" fmla="*/ 1 w 88"/>
                    <a:gd name="T29" fmla="*/ 1 h 88"/>
                    <a:gd name="T30" fmla="*/ 1 w 88"/>
                    <a:gd name="T31" fmla="*/ 1 h 88"/>
                    <a:gd name="T32" fmla="*/ 1 w 88"/>
                    <a:gd name="T33" fmla="*/ 1 h 88"/>
                    <a:gd name="T34" fmla="*/ 1 w 88"/>
                    <a:gd name="T35" fmla="*/ 1 h 88"/>
                    <a:gd name="T36" fmla="*/ 1 w 88"/>
                    <a:gd name="T37" fmla="*/ 1 h 88"/>
                    <a:gd name="T38" fmla="*/ 1 w 88"/>
                    <a:gd name="T39" fmla="*/ 1 h 88"/>
                    <a:gd name="T40" fmla="*/ 1 w 88"/>
                    <a:gd name="T41" fmla="*/ 0 h 88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88"/>
                    <a:gd name="T64" fmla="*/ 0 h 88"/>
                    <a:gd name="T65" fmla="*/ 88 w 88"/>
                    <a:gd name="T66" fmla="*/ 88 h 88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88" h="88">
                      <a:moveTo>
                        <a:pt x="88" y="0"/>
                      </a:moveTo>
                      <a:lnTo>
                        <a:pt x="72" y="0"/>
                      </a:lnTo>
                      <a:lnTo>
                        <a:pt x="56" y="0"/>
                      </a:lnTo>
                      <a:lnTo>
                        <a:pt x="40" y="16"/>
                      </a:lnTo>
                      <a:lnTo>
                        <a:pt x="32" y="16"/>
                      </a:lnTo>
                      <a:lnTo>
                        <a:pt x="16" y="24"/>
                      </a:lnTo>
                      <a:lnTo>
                        <a:pt x="16" y="40"/>
                      </a:lnTo>
                      <a:lnTo>
                        <a:pt x="8" y="40"/>
                      </a:lnTo>
                      <a:lnTo>
                        <a:pt x="0" y="40"/>
                      </a:lnTo>
                      <a:lnTo>
                        <a:pt x="0" y="48"/>
                      </a:lnTo>
                      <a:lnTo>
                        <a:pt x="8" y="48"/>
                      </a:lnTo>
                      <a:lnTo>
                        <a:pt x="24" y="64"/>
                      </a:lnTo>
                      <a:lnTo>
                        <a:pt x="40" y="80"/>
                      </a:lnTo>
                      <a:lnTo>
                        <a:pt x="56" y="88"/>
                      </a:lnTo>
                      <a:lnTo>
                        <a:pt x="72" y="88"/>
                      </a:lnTo>
                      <a:lnTo>
                        <a:pt x="80" y="88"/>
                      </a:lnTo>
                      <a:lnTo>
                        <a:pt x="80" y="72"/>
                      </a:lnTo>
                      <a:lnTo>
                        <a:pt x="80" y="56"/>
                      </a:lnTo>
                      <a:lnTo>
                        <a:pt x="80" y="40"/>
                      </a:lnTo>
                      <a:lnTo>
                        <a:pt x="88" y="16"/>
                      </a:lnTo>
                      <a:lnTo>
                        <a:pt x="88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76" name="Freeform 72"/>
                <p:cNvSpPr>
                  <a:spLocks noChangeAspect="1"/>
                </p:cNvSpPr>
                <p:nvPr/>
              </p:nvSpPr>
              <p:spPr bwMode="auto">
                <a:xfrm>
                  <a:off x="1461" y="2689"/>
                  <a:ext cx="34" cy="17"/>
                </a:xfrm>
                <a:custGeom>
                  <a:avLst/>
                  <a:gdLst>
                    <a:gd name="T0" fmla="*/ 1 w 48"/>
                    <a:gd name="T1" fmla="*/ 0 h 24"/>
                    <a:gd name="T2" fmla="*/ 1 w 48"/>
                    <a:gd name="T3" fmla="*/ 0 h 24"/>
                    <a:gd name="T4" fmla="*/ 1 w 48"/>
                    <a:gd name="T5" fmla="*/ 1 h 24"/>
                    <a:gd name="T6" fmla="*/ 1 w 48"/>
                    <a:gd name="T7" fmla="*/ 1 h 24"/>
                    <a:gd name="T8" fmla="*/ 1 w 48"/>
                    <a:gd name="T9" fmla="*/ 1 h 24"/>
                    <a:gd name="T10" fmla="*/ 0 w 48"/>
                    <a:gd name="T11" fmla="*/ 1 h 24"/>
                    <a:gd name="T12" fmla="*/ 1 w 48"/>
                    <a:gd name="T13" fmla="*/ 0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8"/>
                    <a:gd name="T22" fmla="*/ 0 h 24"/>
                    <a:gd name="T23" fmla="*/ 48 w 48"/>
                    <a:gd name="T24" fmla="*/ 24 h 2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8" h="24">
                      <a:moveTo>
                        <a:pt x="16" y="0"/>
                      </a:moveTo>
                      <a:lnTo>
                        <a:pt x="40" y="0"/>
                      </a:lnTo>
                      <a:lnTo>
                        <a:pt x="48" y="16"/>
                      </a:lnTo>
                      <a:lnTo>
                        <a:pt x="48" y="24"/>
                      </a:lnTo>
                      <a:lnTo>
                        <a:pt x="32" y="24"/>
                      </a:lnTo>
                      <a:lnTo>
                        <a:pt x="0" y="8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77" name="Freeform 73"/>
                <p:cNvSpPr>
                  <a:spLocks noChangeAspect="1"/>
                </p:cNvSpPr>
                <p:nvPr/>
              </p:nvSpPr>
              <p:spPr bwMode="auto">
                <a:xfrm>
                  <a:off x="240" y="1570"/>
                  <a:ext cx="84" cy="107"/>
                </a:xfrm>
                <a:custGeom>
                  <a:avLst/>
                  <a:gdLst>
                    <a:gd name="T0" fmla="*/ 0 w 120"/>
                    <a:gd name="T1" fmla="*/ 0 h 152"/>
                    <a:gd name="T2" fmla="*/ 1 w 120"/>
                    <a:gd name="T3" fmla="*/ 1 h 152"/>
                    <a:gd name="T4" fmla="*/ 1 w 120"/>
                    <a:gd name="T5" fmla="*/ 1 h 152"/>
                    <a:gd name="T6" fmla="*/ 1 w 120"/>
                    <a:gd name="T7" fmla="*/ 1 h 152"/>
                    <a:gd name="T8" fmla="*/ 1 w 120"/>
                    <a:gd name="T9" fmla="*/ 1 h 152"/>
                    <a:gd name="T10" fmla="*/ 1 w 120"/>
                    <a:gd name="T11" fmla="*/ 1 h 152"/>
                    <a:gd name="T12" fmla="*/ 1 w 120"/>
                    <a:gd name="T13" fmla="*/ 1 h 152"/>
                    <a:gd name="T14" fmla="*/ 1 w 120"/>
                    <a:gd name="T15" fmla="*/ 1 h 152"/>
                    <a:gd name="T16" fmla="*/ 1 w 120"/>
                    <a:gd name="T17" fmla="*/ 1 h 152"/>
                    <a:gd name="T18" fmla="*/ 1 w 120"/>
                    <a:gd name="T19" fmla="*/ 1 h 152"/>
                    <a:gd name="T20" fmla="*/ 1 w 120"/>
                    <a:gd name="T21" fmla="*/ 1 h 152"/>
                    <a:gd name="T22" fmla="*/ 1 w 120"/>
                    <a:gd name="T23" fmla="*/ 1 h 152"/>
                    <a:gd name="T24" fmla="*/ 1 w 120"/>
                    <a:gd name="T25" fmla="*/ 1 h 152"/>
                    <a:gd name="T26" fmla="*/ 1 w 120"/>
                    <a:gd name="T27" fmla="*/ 1 h 152"/>
                    <a:gd name="T28" fmla="*/ 1 w 120"/>
                    <a:gd name="T29" fmla="*/ 1 h 152"/>
                    <a:gd name="T30" fmla="*/ 1 w 120"/>
                    <a:gd name="T31" fmla="*/ 1 h 152"/>
                    <a:gd name="T32" fmla="*/ 1 w 120"/>
                    <a:gd name="T33" fmla="*/ 1 h 152"/>
                    <a:gd name="T34" fmla="*/ 1 w 120"/>
                    <a:gd name="T35" fmla="*/ 1 h 152"/>
                    <a:gd name="T36" fmla="*/ 1 w 120"/>
                    <a:gd name="T37" fmla="*/ 1 h 152"/>
                    <a:gd name="T38" fmla="*/ 1 w 120"/>
                    <a:gd name="T39" fmla="*/ 1 h 152"/>
                    <a:gd name="T40" fmla="*/ 1 w 120"/>
                    <a:gd name="T41" fmla="*/ 1 h 152"/>
                    <a:gd name="T42" fmla="*/ 1 w 120"/>
                    <a:gd name="T43" fmla="*/ 1 h 152"/>
                    <a:gd name="T44" fmla="*/ 1 w 120"/>
                    <a:gd name="T45" fmla="*/ 1 h 152"/>
                    <a:gd name="T46" fmla="*/ 1 w 120"/>
                    <a:gd name="T47" fmla="*/ 1 h 152"/>
                    <a:gd name="T48" fmla="*/ 1 w 120"/>
                    <a:gd name="T49" fmla="*/ 1 h 152"/>
                    <a:gd name="T50" fmla="*/ 1 w 120"/>
                    <a:gd name="T51" fmla="*/ 1 h 152"/>
                    <a:gd name="T52" fmla="*/ 1 w 120"/>
                    <a:gd name="T53" fmla="*/ 1 h 152"/>
                    <a:gd name="T54" fmla="*/ 1 w 120"/>
                    <a:gd name="T55" fmla="*/ 1 h 152"/>
                    <a:gd name="T56" fmla="*/ 0 w 120"/>
                    <a:gd name="T57" fmla="*/ 1 h 152"/>
                    <a:gd name="T58" fmla="*/ 0 w 120"/>
                    <a:gd name="T59" fmla="*/ 0 h 152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120"/>
                    <a:gd name="T91" fmla="*/ 0 h 152"/>
                    <a:gd name="T92" fmla="*/ 120 w 120"/>
                    <a:gd name="T93" fmla="*/ 152 h 152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120" h="152">
                      <a:moveTo>
                        <a:pt x="0" y="0"/>
                      </a:moveTo>
                      <a:lnTo>
                        <a:pt x="16" y="16"/>
                      </a:lnTo>
                      <a:lnTo>
                        <a:pt x="24" y="32"/>
                      </a:lnTo>
                      <a:lnTo>
                        <a:pt x="8" y="32"/>
                      </a:lnTo>
                      <a:lnTo>
                        <a:pt x="32" y="48"/>
                      </a:lnTo>
                      <a:lnTo>
                        <a:pt x="32" y="40"/>
                      </a:lnTo>
                      <a:lnTo>
                        <a:pt x="32" y="32"/>
                      </a:lnTo>
                      <a:lnTo>
                        <a:pt x="24" y="24"/>
                      </a:lnTo>
                      <a:lnTo>
                        <a:pt x="48" y="24"/>
                      </a:lnTo>
                      <a:lnTo>
                        <a:pt x="56" y="24"/>
                      </a:lnTo>
                      <a:lnTo>
                        <a:pt x="72" y="24"/>
                      </a:lnTo>
                      <a:lnTo>
                        <a:pt x="96" y="40"/>
                      </a:lnTo>
                      <a:lnTo>
                        <a:pt x="120" y="56"/>
                      </a:lnTo>
                      <a:lnTo>
                        <a:pt x="120" y="64"/>
                      </a:lnTo>
                      <a:lnTo>
                        <a:pt x="104" y="64"/>
                      </a:lnTo>
                      <a:lnTo>
                        <a:pt x="104" y="80"/>
                      </a:lnTo>
                      <a:lnTo>
                        <a:pt x="96" y="88"/>
                      </a:lnTo>
                      <a:lnTo>
                        <a:pt x="72" y="88"/>
                      </a:lnTo>
                      <a:lnTo>
                        <a:pt x="64" y="96"/>
                      </a:lnTo>
                      <a:lnTo>
                        <a:pt x="64" y="104"/>
                      </a:lnTo>
                      <a:lnTo>
                        <a:pt x="72" y="112"/>
                      </a:lnTo>
                      <a:lnTo>
                        <a:pt x="56" y="120"/>
                      </a:lnTo>
                      <a:lnTo>
                        <a:pt x="56" y="136"/>
                      </a:lnTo>
                      <a:lnTo>
                        <a:pt x="64" y="144"/>
                      </a:lnTo>
                      <a:lnTo>
                        <a:pt x="48" y="152"/>
                      </a:lnTo>
                      <a:lnTo>
                        <a:pt x="32" y="144"/>
                      </a:lnTo>
                      <a:lnTo>
                        <a:pt x="24" y="128"/>
                      </a:lnTo>
                      <a:lnTo>
                        <a:pt x="16" y="120"/>
                      </a:lnTo>
                      <a:lnTo>
                        <a:pt x="0" y="12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78" name="Freeform 74"/>
                <p:cNvSpPr>
                  <a:spLocks noChangeAspect="1"/>
                </p:cNvSpPr>
                <p:nvPr/>
              </p:nvSpPr>
              <p:spPr bwMode="auto">
                <a:xfrm>
                  <a:off x="966" y="2093"/>
                  <a:ext cx="821" cy="433"/>
                </a:xfrm>
                <a:custGeom>
                  <a:avLst/>
                  <a:gdLst>
                    <a:gd name="T0" fmla="*/ 1 w 1168"/>
                    <a:gd name="T1" fmla="*/ 1 h 616"/>
                    <a:gd name="T2" fmla="*/ 1 w 1168"/>
                    <a:gd name="T3" fmla="*/ 1 h 616"/>
                    <a:gd name="T4" fmla="*/ 1 w 1168"/>
                    <a:gd name="T5" fmla="*/ 1 h 616"/>
                    <a:gd name="T6" fmla="*/ 1 w 1168"/>
                    <a:gd name="T7" fmla="*/ 1 h 616"/>
                    <a:gd name="T8" fmla="*/ 1 w 1168"/>
                    <a:gd name="T9" fmla="*/ 1 h 616"/>
                    <a:gd name="T10" fmla="*/ 1 w 1168"/>
                    <a:gd name="T11" fmla="*/ 1 h 616"/>
                    <a:gd name="T12" fmla="*/ 1 w 1168"/>
                    <a:gd name="T13" fmla="*/ 1 h 616"/>
                    <a:gd name="T14" fmla="*/ 1 w 1168"/>
                    <a:gd name="T15" fmla="*/ 1 h 616"/>
                    <a:gd name="T16" fmla="*/ 1 w 1168"/>
                    <a:gd name="T17" fmla="*/ 1 h 616"/>
                    <a:gd name="T18" fmla="*/ 1 w 1168"/>
                    <a:gd name="T19" fmla="*/ 1 h 616"/>
                    <a:gd name="T20" fmla="*/ 1 w 1168"/>
                    <a:gd name="T21" fmla="*/ 1 h 616"/>
                    <a:gd name="T22" fmla="*/ 1 w 1168"/>
                    <a:gd name="T23" fmla="*/ 1 h 616"/>
                    <a:gd name="T24" fmla="*/ 1 w 1168"/>
                    <a:gd name="T25" fmla="*/ 1 h 616"/>
                    <a:gd name="T26" fmla="*/ 1 w 1168"/>
                    <a:gd name="T27" fmla="*/ 1 h 616"/>
                    <a:gd name="T28" fmla="*/ 1 w 1168"/>
                    <a:gd name="T29" fmla="*/ 1 h 616"/>
                    <a:gd name="T30" fmla="*/ 1 w 1168"/>
                    <a:gd name="T31" fmla="*/ 1 h 616"/>
                    <a:gd name="T32" fmla="*/ 1 w 1168"/>
                    <a:gd name="T33" fmla="*/ 1 h 616"/>
                    <a:gd name="T34" fmla="*/ 1 w 1168"/>
                    <a:gd name="T35" fmla="*/ 1 h 616"/>
                    <a:gd name="T36" fmla="*/ 1 w 1168"/>
                    <a:gd name="T37" fmla="*/ 1 h 616"/>
                    <a:gd name="T38" fmla="*/ 1 w 1168"/>
                    <a:gd name="T39" fmla="*/ 1 h 616"/>
                    <a:gd name="T40" fmla="*/ 1 w 1168"/>
                    <a:gd name="T41" fmla="*/ 1 h 616"/>
                    <a:gd name="T42" fmla="*/ 1 w 1168"/>
                    <a:gd name="T43" fmla="*/ 1 h 616"/>
                    <a:gd name="T44" fmla="*/ 1 w 1168"/>
                    <a:gd name="T45" fmla="*/ 1 h 616"/>
                    <a:gd name="T46" fmla="*/ 1 w 1168"/>
                    <a:gd name="T47" fmla="*/ 1 h 616"/>
                    <a:gd name="T48" fmla="*/ 1 w 1168"/>
                    <a:gd name="T49" fmla="*/ 1 h 616"/>
                    <a:gd name="T50" fmla="*/ 1 w 1168"/>
                    <a:gd name="T51" fmla="*/ 1 h 616"/>
                    <a:gd name="T52" fmla="*/ 1 w 1168"/>
                    <a:gd name="T53" fmla="*/ 1 h 616"/>
                    <a:gd name="T54" fmla="*/ 1 w 1168"/>
                    <a:gd name="T55" fmla="*/ 1 h 616"/>
                    <a:gd name="T56" fmla="*/ 1 w 1168"/>
                    <a:gd name="T57" fmla="*/ 1 h 616"/>
                    <a:gd name="T58" fmla="*/ 1 w 1168"/>
                    <a:gd name="T59" fmla="*/ 1 h 616"/>
                    <a:gd name="T60" fmla="*/ 1 w 1168"/>
                    <a:gd name="T61" fmla="*/ 1 h 616"/>
                    <a:gd name="T62" fmla="*/ 1 w 1168"/>
                    <a:gd name="T63" fmla="*/ 1 h 616"/>
                    <a:gd name="T64" fmla="*/ 1 w 1168"/>
                    <a:gd name="T65" fmla="*/ 1 h 616"/>
                    <a:gd name="T66" fmla="*/ 1 w 1168"/>
                    <a:gd name="T67" fmla="*/ 1 h 616"/>
                    <a:gd name="T68" fmla="*/ 1 w 1168"/>
                    <a:gd name="T69" fmla="*/ 1 h 616"/>
                    <a:gd name="T70" fmla="*/ 1 w 1168"/>
                    <a:gd name="T71" fmla="*/ 1 h 616"/>
                    <a:gd name="T72" fmla="*/ 1 w 1168"/>
                    <a:gd name="T73" fmla="*/ 1 h 616"/>
                    <a:gd name="T74" fmla="*/ 1 w 1168"/>
                    <a:gd name="T75" fmla="*/ 1 h 616"/>
                    <a:gd name="T76" fmla="*/ 1 w 1168"/>
                    <a:gd name="T77" fmla="*/ 1 h 616"/>
                    <a:gd name="T78" fmla="*/ 1 w 1168"/>
                    <a:gd name="T79" fmla="*/ 1 h 616"/>
                    <a:gd name="T80" fmla="*/ 1 w 1168"/>
                    <a:gd name="T81" fmla="*/ 1 h 616"/>
                    <a:gd name="T82" fmla="*/ 1 w 1168"/>
                    <a:gd name="T83" fmla="*/ 1 h 616"/>
                    <a:gd name="T84" fmla="*/ 1 w 1168"/>
                    <a:gd name="T85" fmla="*/ 1 h 616"/>
                    <a:gd name="T86" fmla="*/ 1 w 1168"/>
                    <a:gd name="T87" fmla="*/ 1 h 616"/>
                    <a:gd name="T88" fmla="*/ 1 w 1168"/>
                    <a:gd name="T89" fmla="*/ 1 h 616"/>
                    <a:gd name="T90" fmla="*/ 1 w 1168"/>
                    <a:gd name="T91" fmla="*/ 1 h 616"/>
                    <a:gd name="T92" fmla="*/ 1 w 1168"/>
                    <a:gd name="T93" fmla="*/ 1 h 616"/>
                    <a:gd name="T94" fmla="*/ 1 w 1168"/>
                    <a:gd name="T95" fmla="*/ 1 h 616"/>
                    <a:gd name="T96" fmla="*/ 1 w 1168"/>
                    <a:gd name="T97" fmla="*/ 1 h 616"/>
                    <a:gd name="T98" fmla="*/ 1 w 1168"/>
                    <a:gd name="T99" fmla="*/ 0 h 616"/>
                    <a:gd name="T100" fmla="*/ 1 w 1168"/>
                    <a:gd name="T101" fmla="*/ 1 h 616"/>
                    <a:gd name="T102" fmla="*/ 1 w 1168"/>
                    <a:gd name="T103" fmla="*/ 1 h 616"/>
                    <a:gd name="T104" fmla="*/ 1 w 1168"/>
                    <a:gd name="T105" fmla="*/ 1 h 616"/>
                    <a:gd name="T106" fmla="*/ 1 w 1168"/>
                    <a:gd name="T107" fmla="*/ 1 h 616"/>
                    <a:gd name="T108" fmla="*/ 1 w 1168"/>
                    <a:gd name="T109" fmla="*/ 1 h 616"/>
                    <a:gd name="T110" fmla="*/ 1 w 1168"/>
                    <a:gd name="T111" fmla="*/ 1 h 616"/>
                    <a:gd name="T112" fmla="*/ 1 w 1168"/>
                    <a:gd name="T113" fmla="*/ 1 h 616"/>
                    <a:gd name="T114" fmla="*/ 1 w 1168"/>
                    <a:gd name="T115" fmla="*/ 1 h 616"/>
                    <a:gd name="T116" fmla="*/ 1 w 1168"/>
                    <a:gd name="T117" fmla="*/ 1 h 616"/>
                    <a:gd name="T118" fmla="*/ 1 w 1168"/>
                    <a:gd name="T119" fmla="*/ 1 h 616"/>
                    <a:gd name="T120" fmla="*/ 1 w 1168"/>
                    <a:gd name="T121" fmla="*/ 1 h 616"/>
                    <a:gd name="T122" fmla="*/ 1 w 1168"/>
                    <a:gd name="T123" fmla="*/ 1 h 61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168"/>
                    <a:gd name="T187" fmla="*/ 0 h 616"/>
                    <a:gd name="T188" fmla="*/ 1168 w 1168"/>
                    <a:gd name="T189" fmla="*/ 616 h 616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168" h="616">
                      <a:moveTo>
                        <a:pt x="152" y="448"/>
                      </a:moveTo>
                      <a:lnTo>
                        <a:pt x="168" y="440"/>
                      </a:lnTo>
                      <a:lnTo>
                        <a:pt x="200" y="440"/>
                      </a:lnTo>
                      <a:lnTo>
                        <a:pt x="232" y="456"/>
                      </a:lnTo>
                      <a:lnTo>
                        <a:pt x="264" y="472"/>
                      </a:lnTo>
                      <a:lnTo>
                        <a:pt x="272" y="472"/>
                      </a:lnTo>
                      <a:lnTo>
                        <a:pt x="320" y="472"/>
                      </a:lnTo>
                      <a:lnTo>
                        <a:pt x="336" y="472"/>
                      </a:lnTo>
                      <a:lnTo>
                        <a:pt x="344" y="456"/>
                      </a:lnTo>
                      <a:lnTo>
                        <a:pt x="360" y="456"/>
                      </a:lnTo>
                      <a:lnTo>
                        <a:pt x="376" y="464"/>
                      </a:lnTo>
                      <a:lnTo>
                        <a:pt x="400" y="480"/>
                      </a:lnTo>
                      <a:lnTo>
                        <a:pt x="408" y="480"/>
                      </a:lnTo>
                      <a:lnTo>
                        <a:pt x="416" y="488"/>
                      </a:lnTo>
                      <a:lnTo>
                        <a:pt x="416" y="504"/>
                      </a:lnTo>
                      <a:lnTo>
                        <a:pt x="432" y="520"/>
                      </a:lnTo>
                      <a:lnTo>
                        <a:pt x="448" y="528"/>
                      </a:lnTo>
                      <a:lnTo>
                        <a:pt x="448" y="520"/>
                      </a:lnTo>
                      <a:lnTo>
                        <a:pt x="448" y="512"/>
                      </a:lnTo>
                      <a:lnTo>
                        <a:pt x="464" y="504"/>
                      </a:lnTo>
                      <a:lnTo>
                        <a:pt x="488" y="520"/>
                      </a:lnTo>
                      <a:lnTo>
                        <a:pt x="520" y="560"/>
                      </a:lnTo>
                      <a:lnTo>
                        <a:pt x="520" y="576"/>
                      </a:lnTo>
                      <a:lnTo>
                        <a:pt x="544" y="592"/>
                      </a:lnTo>
                      <a:lnTo>
                        <a:pt x="560" y="600"/>
                      </a:lnTo>
                      <a:lnTo>
                        <a:pt x="560" y="584"/>
                      </a:lnTo>
                      <a:lnTo>
                        <a:pt x="560" y="576"/>
                      </a:lnTo>
                      <a:lnTo>
                        <a:pt x="568" y="568"/>
                      </a:lnTo>
                      <a:lnTo>
                        <a:pt x="568" y="552"/>
                      </a:lnTo>
                      <a:lnTo>
                        <a:pt x="592" y="528"/>
                      </a:lnTo>
                      <a:lnTo>
                        <a:pt x="608" y="528"/>
                      </a:lnTo>
                      <a:lnTo>
                        <a:pt x="624" y="520"/>
                      </a:lnTo>
                      <a:lnTo>
                        <a:pt x="640" y="512"/>
                      </a:lnTo>
                      <a:lnTo>
                        <a:pt x="648" y="512"/>
                      </a:lnTo>
                      <a:lnTo>
                        <a:pt x="672" y="512"/>
                      </a:lnTo>
                      <a:lnTo>
                        <a:pt x="680" y="512"/>
                      </a:lnTo>
                      <a:lnTo>
                        <a:pt x="696" y="528"/>
                      </a:lnTo>
                      <a:lnTo>
                        <a:pt x="712" y="520"/>
                      </a:lnTo>
                      <a:lnTo>
                        <a:pt x="720" y="528"/>
                      </a:lnTo>
                      <a:lnTo>
                        <a:pt x="728" y="528"/>
                      </a:lnTo>
                      <a:lnTo>
                        <a:pt x="736" y="520"/>
                      </a:lnTo>
                      <a:lnTo>
                        <a:pt x="728" y="512"/>
                      </a:lnTo>
                      <a:lnTo>
                        <a:pt x="728" y="504"/>
                      </a:lnTo>
                      <a:lnTo>
                        <a:pt x="736" y="496"/>
                      </a:lnTo>
                      <a:lnTo>
                        <a:pt x="760" y="496"/>
                      </a:lnTo>
                      <a:lnTo>
                        <a:pt x="784" y="496"/>
                      </a:lnTo>
                      <a:lnTo>
                        <a:pt x="792" y="496"/>
                      </a:lnTo>
                      <a:lnTo>
                        <a:pt x="808" y="504"/>
                      </a:lnTo>
                      <a:lnTo>
                        <a:pt x="816" y="512"/>
                      </a:lnTo>
                      <a:lnTo>
                        <a:pt x="824" y="512"/>
                      </a:lnTo>
                      <a:lnTo>
                        <a:pt x="824" y="504"/>
                      </a:lnTo>
                      <a:lnTo>
                        <a:pt x="832" y="504"/>
                      </a:lnTo>
                      <a:lnTo>
                        <a:pt x="848" y="512"/>
                      </a:lnTo>
                      <a:lnTo>
                        <a:pt x="856" y="520"/>
                      </a:lnTo>
                      <a:lnTo>
                        <a:pt x="864" y="528"/>
                      </a:lnTo>
                      <a:lnTo>
                        <a:pt x="864" y="536"/>
                      </a:lnTo>
                      <a:lnTo>
                        <a:pt x="864" y="544"/>
                      </a:lnTo>
                      <a:lnTo>
                        <a:pt x="864" y="560"/>
                      </a:lnTo>
                      <a:lnTo>
                        <a:pt x="872" y="568"/>
                      </a:lnTo>
                      <a:lnTo>
                        <a:pt x="872" y="584"/>
                      </a:lnTo>
                      <a:lnTo>
                        <a:pt x="880" y="600"/>
                      </a:lnTo>
                      <a:lnTo>
                        <a:pt x="888" y="616"/>
                      </a:lnTo>
                      <a:lnTo>
                        <a:pt x="896" y="616"/>
                      </a:lnTo>
                      <a:lnTo>
                        <a:pt x="912" y="616"/>
                      </a:lnTo>
                      <a:lnTo>
                        <a:pt x="912" y="584"/>
                      </a:lnTo>
                      <a:lnTo>
                        <a:pt x="904" y="544"/>
                      </a:lnTo>
                      <a:lnTo>
                        <a:pt x="896" y="520"/>
                      </a:lnTo>
                      <a:lnTo>
                        <a:pt x="888" y="496"/>
                      </a:lnTo>
                      <a:lnTo>
                        <a:pt x="888" y="480"/>
                      </a:lnTo>
                      <a:lnTo>
                        <a:pt x="896" y="456"/>
                      </a:lnTo>
                      <a:lnTo>
                        <a:pt x="904" y="448"/>
                      </a:lnTo>
                      <a:lnTo>
                        <a:pt x="912" y="448"/>
                      </a:lnTo>
                      <a:lnTo>
                        <a:pt x="936" y="416"/>
                      </a:lnTo>
                      <a:lnTo>
                        <a:pt x="952" y="416"/>
                      </a:lnTo>
                      <a:lnTo>
                        <a:pt x="968" y="400"/>
                      </a:lnTo>
                      <a:lnTo>
                        <a:pt x="976" y="392"/>
                      </a:lnTo>
                      <a:lnTo>
                        <a:pt x="976" y="384"/>
                      </a:lnTo>
                      <a:lnTo>
                        <a:pt x="992" y="376"/>
                      </a:lnTo>
                      <a:lnTo>
                        <a:pt x="992" y="368"/>
                      </a:lnTo>
                      <a:lnTo>
                        <a:pt x="984" y="360"/>
                      </a:lnTo>
                      <a:lnTo>
                        <a:pt x="992" y="352"/>
                      </a:lnTo>
                      <a:lnTo>
                        <a:pt x="992" y="344"/>
                      </a:lnTo>
                      <a:lnTo>
                        <a:pt x="984" y="328"/>
                      </a:lnTo>
                      <a:lnTo>
                        <a:pt x="984" y="304"/>
                      </a:lnTo>
                      <a:lnTo>
                        <a:pt x="976" y="288"/>
                      </a:lnTo>
                      <a:lnTo>
                        <a:pt x="976" y="272"/>
                      </a:lnTo>
                      <a:lnTo>
                        <a:pt x="992" y="272"/>
                      </a:lnTo>
                      <a:lnTo>
                        <a:pt x="992" y="288"/>
                      </a:lnTo>
                      <a:lnTo>
                        <a:pt x="992" y="304"/>
                      </a:lnTo>
                      <a:lnTo>
                        <a:pt x="992" y="320"/>
                      </a:lnTo>
                      <a:lnTo>
                        <a:pt x="1000" y="328"/>
                      </a:lnTo>
                      <a:lnTo>
                        <a:pt x="1008" y="304"/>
                      </a:lnTo>
                      <a:lnTo>
                        <a:pt x="1008" y="288"/>
                      </a:lnTo>
                      <a:lnTo>
                        <a:pt x="1008" y="280"/>
                      </a:lnTo>
                      <a:lnTo>
                        <a:pt x="1008" y="272"/>
                      </a:lnTo>
                      <a:lnTo>
                        <a:pt x="1016" y="280"/>
                      </a:lnTo>
                      <a:lnTo>
                        <a:pt x="1024" y="272"/>
                      </a:lnTo>
                      <a:lnTo>
                        <a:pt x="1032" y="256"/>
                      </a:lnTo>
                      <a:lnTo>
                        <a:pt x="1040" y="248"/>
                      </a:lnTo>
                      <a:lnTo>
                        <a:pt x="1040" y="240"/>
                      </a:lnTo>
                      <a:lnTo>
                        <a:pt x="1032" y="232"/>
                      </a:lnTo>
                      <a:lnTo>
                        <a:pt x="1040" y="232"/>
                      </a:lnTo>
                      <a:lnTo>
                        <a:pt x="1048" y="216"/>
                      </a:lnTo>
                      <a:lnTo>
                        <a:pt x="1056" y="216"/>
                      </a:lnTo>
                      <a:lnTo>
                        <a:pt x="1064" y="224"/>
                      </a:lnTo>
                      <a:lnTo>
                        <a:pt x="1072" y="224"/>
                      </a:lnTo>
                      <a:lnTo>
                        <a:pt x="1080" y="216"/>
                      </a:lnTo>
                      <a:lnTo>
                        <a:pt x="1088" y="224"/>
                      </a:lnTo>
                      <a:lnTo>
                        <a:pt x="1104" y="216"/>
                      </a:lnTo>
                      <a:lnTo>
                        <a:pt x="1112" y="208"/>
                      </a:lnTo>
                      <a:lnTo>
                        <a:pt x="1096" y="208"/>
                      </a:lnTo>
                      <a:lnTo>
                        <a:pt x="1096" y="200"/>
                      </a:lnTo>
                      <a:lnTo>
                        <a:pt x="1088" y="192"/>
                      </a:lnTo>
                      <a:lnTo>
                        <a:pt x="1104" y="176"/>
                      </a:lnTo>
                      <a:lnTo>
                        <a:pt x="1104" y="168"/>
                      </a:lnTo>
                      <a:lnTo>
                        <a:pt x="1112" y="160"/>
                      </a:lnTo>
                      <a:lnTo>
                        <a:pt x="1112" y="152"/>
                      </a:lnTo>
                      <a:lnTo>
                        <a:pt x="1128" y="152"/>
                      </a:lnTo>
                      <a:lnTo>
                        <a:pt x="1136" y="144"/>
                      </a:lnTo>
                      <a:lnTo>
                        <a:pt x="1136" y="136"/>
                      </a:lnTo>
                      <a:lnTo>
                        <a:pt x="1144" y="136"/>
                      </a:lnTo>
                      <a:lnTo>
                        <a:pt x="1152" y="136"/>
                      </a:lnTo>
                      <a:lnTo>
                        <a:pt x="1168" y="128"/>
                      </a:lnTo>
                      <a:lnTo>
                        <a:pt x="1168" y="104"/>
                      </a:lnTo>
                      <a:lnTo>
                        <a:pt x="1152" y="88"/>
                      </a:lnTo>
                      <a:lnTo>
                        <a:pt x="1152" y="56"/>
                      </a:lnTo>
                      <a:lnTo>
                        <a:pt x="1128" y="48"/>
                      </a:lnTo>
                      <a:lnTo>
                        <a:pt x="1120" y="56"/>
                      </a:lnTo>
                      <a:lnTo>
                        <a:pt x="1088" y="104"/>
                      </a:lnTo>
                      <a:lnTo>
                        <a:pt x="1056" y="112"/>
                      </a:lnTo>
                      <a:lnTo>
                        <a:pt x="1040" y="112"/>
                      </a:lnTo>
                      <a:lnTo>
                        <a:pt x="1024" y="112"/>
                      </a:lnTo>
                      <a:lnTo>
                        <a:pt x="1016" y="120"/>
                      </a:lnTo>
                      <a:lnTo>
                        <a:pt x="984" y="144"/>
                      </a:lnTo>
                      <a:lnTo>
                        <a:pt x="936" y="160"/>
                      </a:lnTo>
                      <a:lnTo>
                        <a:pt x="928" y="176"/>
                      </a:lnTo>
                      <a:lnTo>
                        <a:pt x="864" y="208"/>
                      </a:lnTo>
                      <a:lnTo>
                        <a:pt x="864" y="192"/>
                      </a:lnTo>
                      <a:lnTo>
                        <a:pt x="872" y="152"/>
                      </a:lnTo>
                      <a:lnTo>
                        <a:pt x="872" y="128"/>
                      </a:lnTo>
                      <a:lnTo>
                        <a:pt x="832" y="88"/>
                      </a:lnTo>
                      <a:lnTo>
                        <a:pt x="816" y="56"/>
                      </a:lnTo>
                      <a:lnTo>
                        <a:pt x="752" y="24"/>
                      </a:lnTo>
                      <a:lnTo>
                        <a:pt x="712" y="32"/>
                      </a:lnTo>
                      <a:lnTo>
                        <a:pt x="696" y="24"/>
                      </a:lnTo>
                      <a:lnTo>
                        <a:pt x="672" y="24"/>
                      </a:lnTo>
                      <a:lnTo>
                        <a:pt x="656" y="16"/>
                      </a:lnTo>
                      <a:lnTo>
                        <a:pt x="632" y="16"/>
                      </a:lnTo>
                      <a:lnTo>
                        <a:pt x="616" y="0"/>
                      </a:lnTo>
                      <a:lnTo>
                        <a:pt x="48" y="0"/>
                      </a:lnTo>
                      <a:lnTo>
                        <a:pt x="48" y="16"/>
                      </a:lnTo>
                      <a:lnTo>
                        <a:pt x="48" y="32"/>
                      </a:lnTo>
                      <a:lnTo>
                        <a:pt x="48" y="48"/>
                      </a:lnTo>
                      <a:lnTo>
                        <a:pt x="40" y="48"/>
                      </a:lnTo>
                      <a:lnTo>
                        <a:pt x="48" y="24"/>
                      </a:lnTo>
                      <a:lnTo>
                        <a:pt x="24" y="24"/>
                      </a:lnTo>
                      <a:lnTo>
                        <a:pt x="8" y="24"/>
                      </a:lnTo>
                      <a:lnTo>
                        <a:pt x="0" y="24"/>
                      </a:lnTo>
                      <a:lnTo>
                        <a:pt x="8" y="56"/>
                      </a:lnTo>
                      <a:lnTo>
                        <a:pt x="16" y="80"/>
                      </a:lnTo>
                      <a:lnTo>
                        <a:pt x="8" y="104"/>
                      </a:lnTo>
                      <a:lnTo>
                        <a:pt x="8" y="136"/>
                      </a:lnTo>
                      <a:lnTo>
                        <a:pt x="0" y="168"/>
                      </a:lnTo>
                      <a:lnTo>
                        <a:pt x="0" y="184"/>
                      </a:lnTo>
                      <a:lnTo>
                        <a:pt x="8" y="216"/>
                      </a:lnTo>
                      <a:lnTo>
                        <a:pt x="8" y="232"/>
                      </a:lnTo>
                      <a:lnTo>
                        <a:pt x="8" y="248"/>
                      </a:lnTo>
                      <a:lnTo>
                        <a:pt x="16" y="256"/>
                      </a:lnTo>
                      <a:lnTo>
                        <a:pt x="16" y="272"/>
                      </a:lnTo>
                      <a:lnTo>
                        <a:pt x="32" y="288"/>
                      </a:lnTo>
                      <a:lnTo>
                        <a:pt x="32" y="304"/>
                      </a:lnTo>
                      <a:lnTo>
                        <a:pt x="48" y="304"/>
                      </a:lnTo>
                      <a:lnTo>
                        <a:pt x="48" y="312"/>
                      </a:lnTo>
                      <a:lnTo>
                        <a:pt x="48" y="320"/>
                      </a:lnTo>
                      <a:lnTo>
                        <a:pt x="48" y="336"/>
                      </a:lnTo>
                      <a:lnTo>
                        <a:pt x="56" y="336"/>
                      </a:lnTo>
                      <a:lnTo>
                        <a:pt x="56" y="352"/>
                      </a:lnTo>
                      <a:lnTo>
                        <a:pt x="64" y="360"/>
                      </a:lnTo>
                      <a:lnTo>
                        <a:pt x="80" y="376"/>
                      </a:lnTo>
                      <a:lnTo>
                        <a:pt x="80" y="392"/>
                      </a:lnTo>
                      <a:lnTo>
                        <a:pt x="96" y="392"/>
                      </a:lnTo>
                      <a:lnTo>
                        <a:pt x="104" y="400"/>
                      </a:lnTo>
                      <a:lnTo>
                        <a:pt x="112" y="408"/>
                      </a:lnTo>
                      <a:lnTo>
                        <a:pt x="120" y="408"/>
                      </a:lnTo>
                      <a:lnTo>
                        <a:pt x="128" y="408"/>
                      </a:lnTo>
                      <a:lnTo>
                        <a:pt x="144" y="424"/>
                      </a:lnTo>
                      <a:lnTo>
                        <a:pt x="152" y="440"/>
                      </a:lnTo>
                      <a:lnTo>
                        <a:pt x="152" y="44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79" name="Freeform 75"/>
                <p:cNvSpPr>
                  <a:spLocks noChangeAspect="1"/>
                </p:cNvSpPr>
                <p:nvPr/>
              </p:nvSpPr>
              <p:spPr bwMode="auto">
                <a:xfrm>
                  <a:off x="1337" y="1412"/>
                  <a:ext cx="17" cy="6"/>
                </a:xfrm>
                <a:custGeom>
                  <a:avLst/>
                  <a:gdLst>
                    <a:gd name="T0" fmla="*/ 1 w 24"/>
                    <a:gd name="T1" fmla="*/ 2 h 8"/>
                    <a:gd name="T2" fmla="*/ 1 w 24"/>
                    <a:gd name="T3" fmla="*/ 0 h 8"/>
                    <a:gd name="T4" fmla="*/ 1 w 24"/>
                    <a:gd name="T5" fmla="*/ 0 h 8"/>
                    <a:gd name="T6" fmla="*/ 0 w 24"/>
                    <a:gd name="T7" fmla="*/ 0 h 8"/>
                    <a:gd name="T8" fmla="*/ 0 w 24"/>
                    <a:gd name="T9" fmla="*/ 2 h 8"/>
                    <a:gd name="T10" fmla="*/ 1 w 24"/>
                    <a:gd name="T11" fmla="*/ 2 h 8"/>
                    <a:gd name="T12" fmla="*/ 1 w 24"/>
                    <a:gd name="T13" fmla="*/ 2 h 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4"/>
                    <a:gd name="T22" fmla="*/ 0 h 8"/>
                    <a:gd name="T23" fmla="*/ 24 w 24"/>
                    <a:gd name="T24" fmla="*/ 8 h 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4" h="8">
                      <a:moveTo>
                        <a:pt x="16" y="8"/>
                      </a:moveTo>
                      <a:lnTo>
                        <a:pt x="24" y="0"/>
                      </a:ln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lnTo>
                        <a:pt x="8" y="8"/>
                      </a:lnTo>
                      <a:lnTo>
                        <a:pt x="16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80" name="Freeform 76"/>
                <p:cNvSpPr>
                  <a:spLocks noChangeAspect="1"/>
                </p:cNvSpPr>
                <p:nvPr/>
              </p:nvSpPr>
              <p:spPr bwMode="auto">
                <a:xfrm>
                  <a:off x="1602" y="1423"/>
                  <a:ext cx="67" cy="29"/>
                </a:xfrm>
                <a:custGeom>
                  <a:avLst/>
                  <a:gdLst>
                    <a:gd name="T0" fmla="*/ 1 w 96"/>
                    <a:gd name="T1" fmla="*/ 1 h 40"/>
                    <a:gd name="T2" fmla="*/ 1 w 96"/>
                    <a:gd name="T3" fmla="*/ 1 h 40"/>
                    <a:gd name="T4" fmla="*/ 1 w 96"/>
                    <a:gd name="T5" fmla="*/ 0 h 40"/>
                    <a:gd name="T6" fmla="*/ 1 w 96"/>
                    <a:gd name="T7" fmla="*/ 0 h 40"/>
                    <a:gd name="T8" fmla="*/ 1 w 96"/>
                    <a:gd name="T9" fmla="*/ 0 h 40"/>
                    <a:gd name="T10" fmla="*/ 0 w 96"/>
                    <a:gd name="T11" fmla="*/ 0 h 40"/>
                    <a:gd name="T12" fmla="*/ 0 w 96"/>
                    <a:gd name="T13" fmla="*/ 1 h 40"/>
                    <a:gd name="T14" fmla="*/ 1 w 96"/>
                    <a:gd name="T15" fmla="*/ 1 h 40"/>
                    <a:gd name="T16" fmla="*/ 1 w 96"/>
                    <a:gd name="T17" fmla="*/ 1 h 40"/>
                    <a:gd name="T18" fmla="*/ 1 w 96"/>
                    <a:gd name="T19" fmla="*/ 1 h 40"/>
                    <a:gd name="T20" fmla="*/ 1 w 96"/>
                    <a:gd name="T21" fmla="*/ 1 h 40"/>
                    <a:gd name="T22" fmla="*/ 1 w 96"/>
                    <a:gd name="T23" fmla="*/ 1 h 40"/>
                    <a:gd name="T24" fmla="*/ 1 w 96"/>
                    <a:gd name="T25" fmla="*/ 1 h 40"/>
                    <a:gd name="T26" fmla="*/ 1 w 96"/>
                    <a:gd name="T27" fmla="*/ 1 h 40"/>
                    <a:gd name="T28" fmla="*/ 1 w 96"/>
                    <a:gd name="T29" fmla="*/ 1 h 40"/>
                    <a:gd name="T30" fmla="*/ 1 w 96"/>
                    <a:gd name="T31" fmla="*/ 1 h 40"/>
                    <a:gd name="T32" fmla="*/ 1 w 96"/>
                    <a:gd name="T33" fmla="*/ 1 h 40"/>
                    <a:gd name="T34" fmla="*/ 1 w 96"/>
                    <a:gd name="T35" fmla="*/ 1 h 40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96"/>
                    <a:gd name="T55" fmla="*/ 0 h 40"/>
                    <a:gd name="T56" fmla="*/ 96 w 96"/>
                    <a:gd name="T57" fmla="*/ 40 h 40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96" h="40">
                      <a:moveTo>
                        <a:pt x="72" y="8"/>
                      </a:moveTo>
                      <a:lnTo>
                        <a:pt x="64" y="8"/>
                      </a:lnTo>
                      <a:lnTo>
                        <a:pt x="40" y="0"/>
                      </a:lnTo>
                      <a:lnTo>
                        <a:pt x="16" y="0"/>
                      </a:ln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lnTo>
                        <a:pt x="8" y="16"/>
                      </a:lnTo>
                      <a:lnTo>
                        <a:pt x="8" y="40"/>
                      </a:lnTo>
                      <a:lnTo>
                        <a:pt x="16" y="40"/>
                      </a:lnTo>
                      <a:lnTo>
                        <a:pt x="32" y="40"/>
                      </a:lnTo>
                      <a:lnTo>
                        <a:pt x="32" y="32"/>
                      </a:lnTo>
                      <a:lnTo>
                        <a:pt x="64" y="32"/>
                      </a:lnTo>
                      <a:lnTo>
                        <a:pt x="88" y="40"/>
                      </a:lnTo>
                      <a:lnTo>
                        <a:pt x="96" y="32"/>
                      </a:lnTo>
                      <a:lnTo>
                        <a:pt x="80" y="24"/>
                      </a:lnTo>
                      <a:lnTo>
                        <a:pt x="80" y="16"/>
                      </a:lnTo>
                      <a:lnTo>
                        <a:pt x="72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81" name="Freeform 77"/>
                <p:cNvSpPr>
                  <a:spLocks noChangeAspect="1"/>
                </p:cNvSpPr>
                <p:nvPr/>
              </p:nvSpPr>
              <p:spPr bwMode="auto">
                <a:xfrm>
                  <a:off x="1506" y="1632"/>
                  <a:ext cx="96" cy="90"/>
                </a:xfrm>
                <a:custGeom>
                  <a:avLst/>
                  <a:gdLst>
                    <a:gd name="T0" fmla="*/ 1 w 136"/>
                    <a:gd name="T1" fmla="*/ 1 h 128"/>
                    <a:gd name="T2" fmla="*/ 1 w 136"/>
                    <a:gd name="T3" fmla="*/ 1 h 128"/>
                    <a:gd name="T4" fmla="*/ 1 w 136"/>
                    <a:gd name="T5" fmla="*/ 1 h 128"/>
                    <a:gd name="T6" fmla="*/ 1 w 136"/>
                    <a:gd name="T7" fmla="*/ 1 h 128"/>
                    <a:gd name="T8" fmla="*/ 1 w 136"/>
                    <a:gd name="T9" fmla="*/ 1 h 128"/>
                    <a:gd name="T10" fmla="*/ 1 w 136"/>
                    <a:gd name="T11" fmla="*/ 1 h 128"/>
                    <a:gd name="T12" fmla="*/ 1 w 136"/>
                    <a:gd name="T13" fmla="*/ 1 h 128"/>
                    <a:gd name="T14" fmla="*/ 1 w 136"/>
                    <a:gd name="T15" fmla="*/ 1 h 128"/>
                    <a:gd name="T16" fmla="*/ 1 w 136"/>
                    <a:gd name="T17" fmla="*/ 1 h 128"/>
                    <a:gd name="T18" fmla="*/ 1 w 136"/>
                    <a:gd name="T19" fmla="*/ 1 h 128"/>
                    <a:gd name="T20" fmla="*/ 1 w 136"/>
                    <a:gd name="T21" fmla="*/ 0 h 128"/>
                    <a:gd name="T22" fmla="*/ 1 w 136"/>
                    <a:gd name="T23" fmla="*/ 0 h 128"/>
                    <a:gd name="T24" fmla="*/ 1 w 136"/>
                    <a:gd name="T25" fmla="*/ 1 h 128"/>
                    <a:gd name="T26" fmla="*/ 1 w 136"/>
                    <a:gd name="T27" fmla="*/ 1 h 128"/>
                    <a:gd name="T28" fmla="*/ 1 w 136"/>
                    <a:gd name="T29" fmla="*/ 1 h 128"/>
                    <a:gd name="T30" fmla="*/ 0 w 136"/>
                    <a:gd name="T31" fmla="*/ 1 h 128"/>
                    <a:gd name="T32" fmla="*/ 1 w 136"/>
                    <a:gd name="T33" fmla="*/ 1 h 128"/>
                    <a:gd name="T34" fmla="*/ 1 w 136"/>
                    <a:gd name="T35" fmla="*/ 1 h 128"/>
                    <a:gd name="T36" fmla="*/ 1 w 136"/>
                    <a:gd name="T37" fmla="*/ 1 h 128"/>
                    <a:gd name="T38" fmla="*/ 1 w 136"/>
                    <a:gd name="T39" fmla="*/ 1 h 128"/>
                    <a:gd name="T40" fmla="*/ 1 w 136"/>
                    <a:gd name="T41" fmla="*/ 1 h 128"/>
                    <a:gd name="T42" fmla="*/ 1 w 136"/>
                    <a:gd name="T43" fmla="*/ 1 h 128"/>
                    <a:gd name="T44" fmla="*/ 1 w 136"/>
                    <a:gd name="T45" fmla="*/ 1 h 128"/>
                    <a:gd name="T46" fmla="*/ 1 w 136"/>
                    <a:gd name="T47" fmla="*/ 1 h 128"/>
                    <a:gd name="T48" fmla="*/ 1 w 136"/>
                    <a:gd name="T49" fmla="*/ 1 h 128"/>
                    <a:gd name="T50" fmla="*/ 1 w 136"/>
                    <a:gd name="T51" fmla="*/ 1 h 128"/>
                    <a:gd name="T52" fmla="*/ 1 w 136"/>
                    <a:gd name="T53" fmla="*/ 1 h 128"/>
                    <a:gd name="T54" fmla="*/ 1 w 136"/>
                    <a:gd name="T55" fmla="*/ 1 h 128"/>
                    <a:gd name="T56" fmla="*/ 1 w 136"/>
                    <a:gd name="T57" fmla="*/ 1 h 128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36"/>
                    <a:gd name="T88" fmla="*/ 0 h 128"/>
                    <a:gd name="T89" fmla="*/ 136 w 136"/>
                    <a:gd name="T90" fmla="*/ 128 h 128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36" h="128">
                      <a:moveTo>
                        <a:pt x="136" y="96"/>
                      </a:moveTo>
                      <a:lnTo>
                        <a:pt x="136" y="88"/>
                      </a:lnTo>
                      <a:lnTo>
                        <a:pt x="104" y="88"/>
                      </a:lnTo>
                      <a:lnTo>
                        <a:pt x="112" y="72"/>
                      </a:lnTo>
                      <a:lnTo>
                        <a:pt x="104" y="56"/>
                      </a:lnTo>
                      <a:lnTo>
                        <a:pt x="80" y="40"/>
                      </a:lnTo>
                      <a:lnTo>
                        <a:pt x="72" y="32"/>
                      </a:lnTo>
                      <a:lnTo>
                        <a:pt x="56" y="24"/>
                      </a:lnTo>
                      <a:lnTo>
                        <a:pt x="48" y="32"/>
                      </a:lnTo>
                      <a:lnTo>
                        <a:pt x="40" y="16"/>
                      </a:lnTo>
                      <a:lnTo>
                        <a:pt x="40" y="0"/>
                      </a:lnTo>
                      <a:lnTo>
                        <a:pt x="32" y="0"/>
                      </a:lnTo>
                      <a:lnTo>
                        <a:pt x="24" y="8"/>
                      </a:lnTo>
                      <a:lnTo>
                        <a:pt x="24" y="16"/>
                      </a:lnTo>
                      <a:lnTo>
                        <a:pt x="24" y="56"/>
                      </a:lnTo>
                      <a:lnTo>
                        <a:pt x="0" y="96"/>
                      </a:lnTo>
                      <a:lnTo>
                        <a:pt x="8" y="104"/>
                      </a:lnTo>
                      <a:lnTo>
                        <a:pt x="32" y="104"/>
                      </a:lnTo>
                      <a:lnTo>
                        <a:pt x="32" y="128"/>
                      </a:lnTo>
                      <a:lnTo>
                        <a:pt x="48" y="120"/>
                      </a:lnTo>
                      <a:lnTo>
                        <a:pt x="56" y="104"/>
                      </a:lnTo>
                      <a:lnTo>
                        <a:pt x="72" y="104"/>
                      </a:lnTo>
                      <a:lnTo>
                        <a:pt x="80" y="88"/>
                      </a:lnTo>
                      <a:lnTo>
                        <a:pt x="88" y="88"/>
                      </a:lnTo>
                      <a:lnTo>
                        <a:pt x="96" y="88"/>
                      </a:lnTo>
                      <a:lnTo>
                        <a:pt x="96" y="104"/>
                      </a:lnTo>
                      <a:lnTo>
                        <a:pt x="104" y="104"/>
                      </a:lnTo>
                      <a:lnTo>
                        <a:pt x="136" y="112"/>
                      </a:lnTo>
                      <a:lnTo>
                        <a:pt x="136" y="9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82" name="Freeform 78"/>
                <p:cNvSpPr>
                  <a:spLocks noChangeAspect="1"/>
                </p:cNvSpPr>
                <p:nvPr/>
              </p:nvSpPr>
              <p:spPr bwMode="auto">
                <a:xfrm>
                  <a:off x="1388" y="1204"/>
                  <a:ext cx="11" cy="1"/>
                </a:xfrm>
                <a:custGeom>
                  <a:avLst/>
                  <a:gdLst>
                    <a:gd name="T0" fmla="*/ 1 w 16"/>
                    <a:gd name="T1" fmla="*/ 0 h 1"/>
                    <a:gd name="T2" fmla="*/ 1 w 16"/>
                    <a:gd name="T3" fmla="*/ 0 h 1"/>
                    <a:gd name="T4" fmla="*/ 0 w 16"/>
                    <a:gd name="T5" fmla="*/ 0 h 1"/>
                    <a:gd name="T6" fmla="*/ 1 w 16"/>
                    <a:gd name="T7" fmla="*/ 0 h 1"/>
                    <a:gd name="T8" fmla="*/ 1 w 16"/>
                    <a:gd name="T9" fmla="*/ 0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6"/>
                    <a:gd name="T16" fmla="*/ 0 h 1"/>
                    <a:gd name="T17" fmla="*/ 16 w 16"/>
                    <a:gd name="T18" fmla="*/ 1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6" h="1">
                      <a:moveTo>
                        <a:pt x="16" y="0"/>
                      </a:move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8" y="0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83" name="Freeform 79"/>
                <p:cNvSpPr>
                  <a:spLocks noChangeAspect="1"/>
                </p:cNvSpPr>
                <p:nvPr/>
              </p:nvSpPr>
              <p:spPr bwMode="auto">
                <a:xfrm>
                  <a:off x="1517" y="1260"/>
                  <a:ext cx="23" cy="6"/>
                </a:xfrm>
                <a:custGeom>
                  <a:avLst/>
                  <a:gdLst>
                    <a:gd name="T0" fmla="*/ 1 w 32"/>
                    <a:gd name="T1" fmla="*/ 2 h 8"/>
                    <a:gd name="T2" fmla="*/ 1 w 32"/>
                    <a:gd name="T3" fmla="*/ 0 h 8"/>
                    <a:gd name="T4" fmla="*/ 1 w 32"/>
                    <a:gd name="T5" fmla="*/ 2 h 8"/>
                    <a:gd name="T6" fmla="*/ 0 w 32"/>
                    <a:gd name="T7" fmla="*/ 2 h 8"/>
                    <a:gd name="T8" fmla="*/ 1 w 32"/>
                    <a:gd name="T9" fmla="*/ 2 h 8"/>
                    <a:gd name="T10" fmla="*/ 1 w 32"/>
                    <a:gd name="T11" fmla="*/ 2 h 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2"/>
                    <a:gd name="T19" fmla="*/ 0 h 8"/>
                    <a:gd name="T20" fmla="*/ 32 w 32"/>
                    <a:gd name="T21" fmla="*/ 8 h 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2" h="8">
                      <a:moveTo>
                        <a:pt x="32" y="8"/>
                      </a:moveTo>
                      <a:lnTo>
                        <a:pt x="24" y="0"/>
                      </a:lnTo>
                      <a:lnTo>
                        <a:pt x="8" y="8"/>
                      </a:lnTo>
                      <a:lnTo>
                        <a:pt x="0" y="8"/>
                      </a:lnTo>
                      <a:lnTo>
                        <a:pt x="16" y="8"/>
                      </a:lnTo>
                      <a:lnTo>
                        <a:pt x="32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84" name="Freeform 80"/>
                <p:cNvSpPr>
                  <a:spLocks noChangeAspect="1"/>
                </p:cNvSpPr>
                <p:nvPr/>
              </p:nvSpPr>
              <p:spPr bwMode="auto">
                <a:xfrm>
                  <a:off x="1900" y="2031"/>
                  <a:ext cx="96" cy="113"/>
                </a:xfrm>
                <a:custGeom>
                  <a:avLst/>
                  <a:gdLst>
                    <a:gd name="T0" fmla="*/ 1 w 136"/>
                    <a:gd name="T1" fmla="*/ 0 h 160"/>
                    <a:gd name="T2" fmla="*/ 1 w 136"/>
                    <a:gd name="T3" fmla="*/ 1 h 160"/>
                    <a:gd name="T4" fmla="*/ 1 w 136"/>
                    <a:gd name="T5" fmla="*/ 1 h 160"/>
                    <a:gd name="T6" fmla="*/ 1 w 136"/>
                    <a:gd name="T7" fmla="*/ 1 h 160"/>
                    <a:gd name="T8" fmla="*/ 1 w 136"/>
                    <a:gd name="T9" fmla="*/ 1 h 160"/>
                    <a:gd name="T10" fmla="*/ 1 w 136"/>
                    <a:gd name="T11" fmla="*/ 1 h 160"/>
                    <a:gd name="T12" fmla="*/ 1 w 136"/>
                    <a:gd name="T13" fmla="*/ 1 h 160"/>
                    <a:gd name="T14" fmla="*/ 0 w 136"/>
                    <a:gd name="T15" fmla="*/ 1 h 160"/>
                    <a:gd name="T16" fmla="*/ 0 w 136"/>
                    <a:gd name="T17" fmla="*/ 1 h 160"/>
                    <a:gd name="T18" fmla="*/ 1 w 136"/>
                    <a:gd name="T19" fmla="*/ 1 h 160"/>
                    <a:gd name="T20" fmla="*/ 0 w 136"/>
                    <a:gd name="T21" fmla="*/ 1 h 160"/>
                    <a:gd name="T22" fmla="*/ 1 w 136"/>
                    <a:gd name="T23" fmla="*/ 1 h 160"/>
                    <a:gd name="T24" fmla="*/ 1 w 136"/>
                    <a:gd name="T25" fmla="*/ 1 h 160"/>
                    <a:gd name="T26" fmla="*/ 1 w 136"/>
                    <a:gd name="T27" fmla="*/ 1 h 160"/>
                    <a:gd name="T28" fmla="*/ 1 w 136"/>
                    <a:gd name="T29" fmla="*/ 1 h 160"/>
                    <a:gd name="T30" fmla="*/ 1 w 136"/>
                    <a:gd name="T31" fmla="*/ 1 h 160"/>
                    <a:gd name="T32" fmla="*/ 1 w 136"/>
                    <a:gd name="T33" fmla="*/ 1 h 160"/>
                    <a:gd name="T34" fmla="*/ 1 w 136"/>
                    <a:gd name="T35" fmla="*/ 1 h 160"/>
                    <a:gd name="T36" fmla="*/ 1 w 136"/>
                    <a:gd name="T37" fmla="*/ 1 h 160"/>
                    <a:gd name="T38" fmla="*/ 1 w 136"/>
                    <a:gd name="T39" fmla="*/ 1 h 160"/>
                    <a:gd name="T40" fmla="*/ 1 w 136"/>
                    <a:gd name="T41" fmla="*/ 1 h 160"/>
                    <a:gd name="T42" fmla="*/ 1 w 136"/>
                    <a:gd name="T43" fmla="*/ 1 h 160"/>
                    <a:gd name="T44" fmla="*/ 1 w 136"/>
                    <a:gd name="T45" fmla="*/ 1 h 160"/>
                    <a:gd name="T46" fmla="*/ 1 w 136"/>
                    <a:gd name="T47" fmla="*/ 1 h 160"/>
                    <a:gd name="T48" fmla="*/ 1 w 136"/>
                    <a:gd name="T49" fmla="*/ 1 h 160"/>
                    <a:gd name="T50" fmla="*/ 1 w 136"/>
                    <a:gd name="T51" fmla="*/ 1 h 160"/>
                    <a:gd name="T52" fmla="*/ 1 w 136"/>
                    <a:gd name="T53" fmla="*/ 1 h 160"/>
                    <a:gd name="T54" fmla="*/ 1 w 136"/>
                    <a:gd name="T55" fmla="*/ 1 h 160"/>
                    <a:gd name="T56" fmla="*/ 1 w 136"/>
                    <a:gd name="T57" fmla="*/ 1 h 160"/>
                    <a:gd name="T58" fmla="*/ 1 w 136"/>
                    <a:gd name="T59" fmla="*/ 1 h 160"/>
                    <a:gd name="T60" fmla="*/ 1 w 136"/>
                    <a:gd name="T61" fmla="*/ 1 h 160"/>
                    <a:gd name="T62" fmla="*/ 1 w 136"/>
                    <a:gd name="T63" fmla="*/ 1 h 160"/>
                    <a:gd name="T64" fmla="*/ 1 w 136"/>
                    <a:gd name="T65" fmla="*/ 1 h 160"/>
                    <a:gd name="T66" fmla="*/ 1 w 136"/>
                    <a:gd name="T67" fmla="*/ 1 h 160"/>
                    <a:gd name="T68" fmla="*/ 1 w 136"/>
                    <a:gd name="T69" fmla="*/ 1 h 160"/>
                    <a:gd name="T70" fmla="*/ 1 w 136"/>
                    <a:gd name="T71" fmla="*/ 1 h 160"/>
                    <a:gd name="T72" fmla="*/ 1 w 136"/>
                    <a:gd name="T73" fmla="*/ 1 h 160"/>
                    <a:gd name="T74" fmla="*/ 1 w 136"/>
                    <a:gd name="T75" fmla="*/ 1 h 160"/>
                    <a:gd name="T76" fmla="*/ 1 w 136"/>
                    <a:gd name="T77" fmla="*/ 0 h 160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136"/>
                    <a:gd name="T118" fmla="*/ 0 h 160"/>
                    <a:gd name="T119" fmla="*/ 136 w 136"/>
                    <a:gd name="T120" fmla="*/ 160 h 160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136" h="160">
                      <a:moveTo>
                        <a:pt x="80" y="0"/>
                      </a:moveTo>
                      <a:lnTo>
                        <a:pt x="56" y="8"/>
                      </a:lnTo>
                      <a:lnTo>
                        <a:pt x="48" y="32"/>
                      </a:lnTo>
                      <a:lnTo>
                        <a:pt x="32" y="56"/>
                      </a:lnTo>
                      <a:lnTo>
                        <a:pt x="32" y="72"/>
                      </a:lnTo>
                      <a:lnTo>
                        <a:pt x="24" y="80"/>
                      </a:lnTo>
                      <a:lnTo>
                        <a:pt x="16" y="88"/>
                      </a:lnTo>
                      <a:lnTo>
                        <a:pt x="0" y="96"/>
                      </a:lnTo>
                      <a:lnTo>
                        <a:pt x="0" y="104"/>
                      </a:lnTo>
                      <a:lnTo>
                        <a:pt x="16" y="104"/>
                      </a:lnTo>
                      <a:lnTo>
                        <a:pt x="0" y="112"/>
                      </a:lnTo>
                      <a:lnTo>
                        <a:pt x="8" y="128"/>
                      </a:lnTo>
                      <a:lnTo>
                        <a:pt x="40" y="128"/>
                      </a:lnTo>
                      <a:lnTo>
                        <a:pt x="48" y="128"/>
                      </a:lnTo>
                      <a:lnTo>
                        <a:pt x="64" y="120"/>
                      </a:lnTo>
                      <a:lnTo>
                        <a:pt x="72" y="128"/>
                      </a:lnTo>
                      <a:lnTo>
                        <a:pt x="88" y="120"/>
                      </a:lnTo>
                      <a:lnTo>
                        <a:pt x="88" y="136"/>
                      </a:lnTo>
                      <a:lnTo>
                        <a:pt x="96" y="136"/>
                      </a:lnTo>
                      <a:lnTo>
                        <a:pt x="112" y="128"/>
                      </a:lnTo>
                      <a:lnTo>
                        <a:pt x="112" y="136"/>
                      </a:lnTo>
                      <a:lnTo>
                        <a:pt x="112" y="144"/>
                      </a:lnTo>
                      <a:lnTo>
                        <a:pt x="120" y="152"/>
                      </a:lnTo>
                      <a:lnTo>
                        <a:pt x="120" y="160"/>
                      </a:lnTo>
                      <a:lnTo>
                        <a:pt x="136" y="160"/>
                      </a:lnTo>
                      <a:lnTo>
                        <a:pt x="136" y="120"/>
                      </a:lnTo>
                      <a:lnTo>
                        <a:pt x="128" y="112"/>
                      </a:lnTo>
                      <a:lnTo>
                        <a:pt x="136" y="112"/>
                      </a:lnTo>
                      <a:lnTo>
                        <a:pt x="136" y="96"/>
                      </a:lnTo>
                      <a:lnTo>
                        <a:pt x="112" y="104"/>
                      </a:lnTo>
                      <a:lnTo>
                        <a:pt x="120" y="72"/>
                      </a:lnTo>
                      <a:lnTo>
                        <a:pt x="104" y="72"/>
                      </a:lnTo>
                      <a:lnTo>
                        <a:pt x="88" y="72"/>
                      </a:lnTo>
                      <a:lnTo>
                        <a:pt x="72" y="64"/>
                      </a:lnTo>
                      <a:lnTo>
                        <a:pt x="72" y="56"/>
                      </a:lnTo>
                      <a:lnTo>
                        <a:pt x="64" y="48"/>
                      </a:lnTo>
                      <a:lnTo>
                        <a:pt x="56" y="64"/>
                      </a:lnTo>
                      <a:lnTo>
                        <a:pt x="56" y="56"/>
                      </a:lnTo>
                      <a:lnTo>
                        <a:pt x="80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</p:grpSp>
        </p:grpSp>
        <p:grpSp>
          <p:nvGrpSpPr>
            <p:cNvPr id="17" name="Group 81"/>
            <p:cNvGrpSpPr>
              <a:grpSpLocks noChangeAspect="1"/>
            </p:cNvGrpSpPr>
            <p:nvPr/>
          </p:nvGrpSpPr>
          <p:grpSpPr bwMode="auto">
            <a:xfrm>
              <a:off x="3627" y="1969"/>
              <a:ext cx="1728" cy="1666"/>
              <a:chOff x="3627" y="1969"/>
              <a:chExt cx="1728" cy="1666"/>
            </a:xfrm>
            <a:grpFill/>
          </p:grpSpPr>
          <p:grpSp>
            <p:nvGrpSpPr>
              <p:cNvPr id="246" name="Group 82"/>
              <p:cNvGrpSpPr>
                <a:grpSpLocks noChangeAspect="1"/>
              </p:cNvGrpSpPr>
              <p:nvPr/>
            </p:nvGrpSpPr>
            <p:grpSpPr bwMode="auto">
              <a:xfrm>
                <a:off x="3627" y="2290"/>
                <a:ext cx="1728" cy="1345"/>
                <a:chOff x="3627" y="2290"/>
                <a:chExt cx="1728" cy="1345"/>
              </a:xfrm>
              <a:grpFill/>
            </p:grpSpPr>
            <p:sp>
              <p:nvSpPr>
                <p:cNvPr id="262" name="Freeform 83"/>
                <p:cNvSpPr>
                  <a:spLocks noChangeAspect="1"/>
                </p:cNvSpPr>
                <p:nvPr/>
              </p:nvSpPr>
              <p:spPr bwMode="auto">
                <a:xfrm>
                  <a:off x="4331" y="2594"/>
                  <a:ext cx="34" cy="28"/>
                </a:xfrm>
                <a:custGeom>
                  <a:avLst/>
                  <a:gdLst>
                    <a:gd name="T0" fmla="*/ 1 w 48"/>
                    <a:gd name="T1" fmla="*/ 0 h 40"/>
                    <a:gd name="T2" fmla="*/ 1 w 48"/>
                    <a:gd name="T3" fmla="*/ 0 h 40"/>
                    <a:gd name="T4" fmla="*/ 1 w 48"/>
                    <a:gd name="T5" fmla="*/ 0 h 40"/>
                    <a:gd name="T6" fmla="*/ 1 w 48"/>
                    <a:gd name="T7" fmla="*/ 0 h 40"/>
                    <a:gd name="T8" fmla="*/ 1 w 48"/>
                    <a:gd name="T9" fmla="*/ 0 h 40"/>
                    <a:gd name="T10" fmla="*/ 0 w 48"/>
                    <a:gd name="T11" fmla="*/ 1 h 40"/>
                    <a:gd name="T12" fmla="*/ 0 w 48"/>
                    <a:gd name="T13" fmla="*/ 1 h 40"/>
                    <a:gd name="T14" fmla="*/ 1 w 48"/>
                    <a:gd name="T15" fmla="*/ 1 h 40"/>
                    <a:gd name="T16" fmla="*/ 1 w 48"/>
                    <a:gd name="T17" fmla="*/ 1 h 40"/>
                    <a:gd name="T18" fmla="*/ 1 w 48"/>
                    <a:gd name="T19" fmla="*/ 1 h 40"/>
                    <a:gd name="T20" fmla="*/ 1 w 48"/>
                    <a:gd name="T21" fmla="*/ 1 h 40"/>
                    <a:gd name="T22" fmla="*/ 1 w 48"/>
                    <a:gd name="T23" fmla="*/ 0 h 40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48"/>
                    <a:gd name="T37" fmla="*/ 0 h 40"/>
                    <a:gd name="T38" fmla="*/ 48 w 48"/>
                    <a:gd name="T39" fmla="*/ 40 h 40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48" h="40">
                      <a:moveTo>
                        <a:pt x="48" y="0"/>
                      </a:moveTo>
                      <a:lnTo>
                        <a:pt x="32" y="0"/>
                      </a:lnTo>
                      <a:lnTo>
                        <a:pt x="24" y="0"/>
                      </a:lnTo>
                      <a:lnTo>
                        <a:pt x="16" y="0"/>
                      </a:lnTo>
                      <a:lnTo>
                        <a:pt x="8" y="0"/>
                      </a:lnTo>
                      <a:lnTo>
                        <a:pt x="0" y="16"/>
                      </a:lnTo>
                      <a:lnTo>
                        <a:pt x="0" y="32"/>
                      </a:lnTo>
                      <a:lnTo>
                        <a:pt x="8" y="40"/>
                      </a:lnTo>
                      <a:lnTo>
                        <a:pt x="24" y="40"/>
                      </a:lnTo>
                      <a:lnTo>
                        <a:pt x="32" y="24"/>
                      </a:lnTo>
                      <a:lnTo>
                        <a:pt x="40" y="8"/>
                      </a:lnTo>
                      <a:lnTo>
                        <a:pt x="48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63" name="Freeform 84"/>
                <p:cNvSpPr>
                  <a:spLocks noChangeAspect="1"/>
                </p:cNvSpPr>
                <p:nvPr/>
              </p:nvSpPr>
              <p:spPr bwMode="auto">
                <a:xfrm>
                  <a:off x="4134" y="2808"/>
                  <a:ext cx="152" cy="157"/>
                </a:xfrm>
                <a:custGeom>
                  <a:avLst/>
                  <a:gdLst>
                    <a:gd name="T0" fmla="*/ 0 w 216"/>
                    <a:gd name="T1" fmla="*/ 0 h 224"/>
                    <a:gd name="T2" fmla="*/ 1 w 216"/>
                    <a:gd name="T3" fmla="*/ 1 h 224"/>
                    <a:gd name="T4" fmla="*/ 1 w 216"/>
                    <a:gd name="T5" fmla="*/ 1 h 224"/>
                    <a:gd name="T6" fmla="*/ 1 w 216"/>
                    <a:gd name="T7" fmla="*/ 1 h 224"/>
                    <a:gd name="T8" fmla="*/ 1 w 216"/>
                    <a:gd name="T9" fmla="*/ 1 h 224"/>
                    <a:gd name="T10" fmla="*/ 1 w 216"/>
                    <a:gd name="T11" fmla="*/ 1 h 224"/>
                    <a:gd name="T12" fmla="*/ 1 w 216"/>
                    <a:gd name="T13" fmla="*/ 1 h 224"/>
                    <a:gd name="T14" fmla="*/ 1 w 216"/>
                    <a:gd name="T15" fmla="*/ 1 h 224"/>
                    <a:gd name="T16" fmla="*/ 1 w 216"/>
                    <a:gd name="T17" fmla="*/ 1 h 224"/>
                    <a:gd name="T18" fmla="*/ 1 w 216"/>
                    <a:gd name="T19" fmla="*/ 1 h 224"/>
                    <a:gd name="T20" fmla="*/ 1 w 216"/>
                    <a:gd name="T21" fmla="*/ 1 h 224"/>
                    <a:gd name="T22" fmla="*/ 1 w 216"/>
                    <a:gd name="T23" fmla="*/ 1 h 224"/>
                    <a:gd name="T24" fmla="*/ 1 w 216"/>
                    <a:gd name="T25" fmla="*/ 1 h 224"/>
                    <a:gd name="T26" fmla="*/ 1 w 216"/>
                    <a:gd name="T27" fmla="*/ 1 h 224"/>
                    <a:gd name="T28" fmla="*/ 1 w 216"/>
                    <a:gd name="T29" fmla="*/ 1 h 224"/>
                    <a:gd name="T30" fmla="*/ 1 w 216"/>
                    <a:gd name="T31" fmla="*/ 1 h 224"/>
                    <a:gd name="T32" fmla="*/ 1 w 216"/>
                    <a:gd name="T33" fmla="*/ 1 h 224"/>
                    <a:gd name="T34" fmla="*/ 1 w 216"/>
                    <a:gd name="T35" fmla="*/ 1 h 224"/>
                    <a:gd name="T36" fmla="*/ 1 w 216"/>
                    <a:gd name="T37" fmla="*/ 1 h 224"/>
                    <a:gd name="T38" fmla="*/ 1 w 216"/>
                    <a:gd name="T39" fmla="*/ 1 h 224"/>
                    <a:gd name="T40" fmla="*/ 1 w 216"/>
                    <a:gd name="T41" fmla="*/ 1 h 224"/>
                    <a:gd name="T42" fmla="*/ 1 w 216"/>
                    <a:gd name="T43" fmla="*/ 1 h 224"/>
                    <a:gd name="T44" fmla="*/ 1 w 216"/>
                    <a:gd name="T45" fmla="*/ 1 h 224"/>
                    <a:gd name="T46" fmla="*/ 1 w 216"/>
                    <a:gd name="T47" fmla="*/ 1 h 224"/>
                    <a:gd name="T48" fmla="*/ 1 w 216"/>
                    <a:gd name="T49" fmla="*/ 1 h 224"/>
                    <a:gd name="T50" fmla="*/ 1 w 216"/>
                    <a:gd name="T51" fmla="*/ 1 h 224"/>
                    <a:gd name="T52" fmla="*/ 1 w 216"/>
                    <a:gd name="T53" fmla="*/ 1 h 224"/>
                    <a:gd name="T54" fmla="*/ 1 w 216"/>
                    <a:gd name="T55" fmla="*/ 1 h 224"/>
                    <a:gd name="T56" fmla="*/ 1 w 216"/>
                    <a:gd name="T57" fmla="*/ 1 h 224"/>
                    <a:gd name="T58" fmla="*/ 1 w 216"/>
                    <a:gd name="T59" fmla="*/ 1 h 224"/>
                    <a:gd name="T60" fmla="*/ 1 w 216"/>
                    <a:gd name="T61" fmla="*/ 1 h 224"/>
                    <a:gd name="T62" fmla="*/ 1 w 216"/>
                    <a:gd name="T63" fmla="*/ 1 h 224"/>
                    <a:gd name="T64" fmla="*/ 1 w 216"/>
                    <a:gd name="T65" fmla="*/ 1 h 224"/>
                    <a:gd name="T66" fmla="*/ 0 w 216"/>
                    <a:gd name="T67" fmla="*/ 1 h 224"/>
                    <a:gd name="T68" fmla="*/ 0 w 216"/>
                    <a:gd name="T69" fmla="*/ 0 h 224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216"/>
                    <a:gd name="T106" fmla="*/ 0 h 224"/>
                    <a:gd name="T107" fmla="*/ 216 w 216"/>
                    <a:gd name="T108" fmla="*/ 224 h 224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216" h="224">
                      <a:moveTo>
                        <a:pt x="0" y="0"/>
                      </a:moveTo>
                      <a:lnTo>
                        <a:pt x="16" y="8"/>
                      </a:lnTo>
                      <a:lnTo>
                        <a:pt x="40" y="8"/>
                      </a:lnTo>
                      <a:lnTo>
                        <a:pt x="48" y="8"/>
                      </a:lnTo>
                      <a:lnTo>
                        <a:pt x="56" y="24"/>
                      </a:lnTo>
                      <a:lnTo>
                        <a:pt x="64" y="32"/>
                      </a:lnTo>
                      <a:lnTo>
                        <a:pt x="80" y="48"/>
                      </a:lnTo>
                      <a:lnTo>
                        <a:pt x="96" y="48"/>
                      </a:lnTo>
                      <a:lnTo>
                        <a:pt x="112" y="72"/>
                      </a:lnTo>
                      <a:lnTo>
                        <a:pt x="136" y="88"/>
                      </a:lnTo>
                      <a:lnTo>
                        <a:pt x="136" y="96"/>
                      </a:lnTo>
                      <a:lnTo>
                        <a:pt x="152" y="104"/>
                      </a:lnTo>
                      <a:lnTo>
                        <a:pt x="168" y="112"/>
                      </a:lnTo>
                      <a:lnTo>
                        <a:pt x="168" y="128"/>
                      </a:lnTo>
                      <a:lnTo>
                        <a:pt x="184" y="136"/>
                      </a:lnTo>
                      <a:lnTo>
                        <a:pt x="192" y="160"/>
                      </a:lnTo>
                      <a:lnTo>
                        <a:pt x="200" y="160"/>
                      </a:lnTo>
                      <a:lnTo>
                        <a:pt x="216" y="176"/>
                      </a:lnTo>
                      <a:lnTo>
                        <a:pt x="216" y="224"/>
                      </a:lnTo>
                      <a:lnTo>
                        <a:pt x="208" y="224"/>
                      </a:lnTo>
                      <a:lnTo>
                        <a:pt x="192" y="216"/>
                      </a:lnTo>
                      <a:lnTo>
                        <a:pt x="168" y="208"/>
                      </a:lnTo>
                      <a:lnTo>
                        <a:pt x="136" y="184"/>
                      </a:lnTo>
                      <a:lnTo>
                        <a:pt x="112" y="152"/>
                      </a:lnTo>
                      <a:lnTo>
                        <a:pt x="112" y="136"/>
                      </a:lnTo>
                      <a:lnTo>
                        <a:pt x="88" y="112"/>
                      </a:lnTo>
                      <a:lnTo>
                        <a:pt x="80" y="112"/>
                      </a:lnTo>
                      <a:lnTo>
                        <a:pt x="72" y="80"/>
                      </a:lnTo>
                      <a:lnTo>
                        <a:pt x="56" y="64"/>
                      </a:lnTo>
                      <a:lnTo>
                        <a:pt x="48" y="64"/>
                      </a:lnTo>
                      <a:lnTo>
                        <a:pt x="40" y="48"/>
                      </a:lnTo>
                      <a:lnTo>
                        <a:pt x="32" y="40"/>
                      </a:lnTo>
                      <a:lnTo>
                        <a:pt x="24" y="40"/>
                      </a:lnTo>
                      <a:lnTo>
                        <a:pt x="0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64" name="Freeform 85"/>
                <p:cNvSpPr>
                  <a:spLocks noChangeAspect="1"/>
                </p:cNvSpPr>
                <p:nvPr/>
              </p:nvSpPr>
              <p:spPr bwMode="auto">
                <a:xfrm>
                  <a:off x="4280" y="2909"/>
                  <a:ext cx="23" cy="17"/>
                </a:xfrm>
                <a:custGeom>
                  <a:avLst/>
                  <a:gdLst>
                    <a:gd name="T0" fmla="*/ 0 w 32"/>
                    <a:gd name="T1" fmla="*/ 1 h 24"/>
                    <a:gd name="T2" fmla="*/ 1 w 32"/>
                    <a:gd name="T3" fmla="*/ 1 h 24"/>
                    <a:gd name="T4" fmla="*/ 1 w 32"/>
                    <a:gd name="T5" fmla="*/ 1 h 24"/>
                    <a:gd name="T6" fmla="*/ 1 w 32"/>
                    <a:gd name="T7" fmla="*/ 0 h 24"/>
                    <a:gd name="T8" fmla="*/ 0 w 32"/>
                    <a:gd name="T9" fmla="*/ 0 h 24"/>
                    <a:gd name="T10" fmla="*/ 0 w 32"/>
                    <a:gd name="T11" fmla="*/ 1 h 2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2"/>
                    <a:gd name="T19" fmla="*/ 0 h 24"/>
                    <a:gd name="T20" fmla="*/ 32 w 32"/>
                    <a:gd name="T21" fmla="*/ 24 h 2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2" h="24">
                      <a:moveTo>
                        <a:pt x="0" y="8"/>
                      </a:moveTo>
                      <a:lnTo>
                        <a:pt x="16" y="24"/>
                      </a:lnTo>
                      <a:lnTo>
                        <a:pt x="32" y="24"/>
                      </a:ln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65" name="Freeform 86"/>
                <p:cNvSpPr>
                  <a:spLocks noChangeAspect="1"/>
                </p:cNvSpPr>
                <p:nvPr/>
              </p:nvSpPr>
              <p:spPr bwMode="auto">
                <a:xfrm>
                  <a:off x="4286" y="2971"/>
                  <a:ext cx="124" cy="39"/>
                </a:xfrm>
                <a:custGeom>
                  <a:avLst/>
                  <a:gdLst>
                    <a:gd name="T0" fmla="*/ 1 w 176"/>
                    <a:gd name="T1" fmla="*/ 1 h 56"/>
                    <a:gd name="T2" fmla="*/ 1 w 176"/>
                    <a:gd name="T3" fmla="*/ 1 h 56"/>
                    <a:gd name="T4" fmla="*/ 1 w 176"/>
                    <a:gd name="T5" fmla="*/ 1 h 56"/>
                    <a:gd name="T6" fmla="*/ 1 w 176"/>
                    <a:gd name="T7" fmla="*/ 1 h 56"/>
                    <a:gd name="T8" fmla="*/ 1 w 176"/>
                    <a:gd name="T9" fmla="*/ 1 h 56"/>
                    <a:gd name="T10" fmla="*/ 1 w 176"/>
                    <a:gd name="T11" fmla="*/ 1 h 56"/>
                    <a:gd name="T12" fmla="*/ 1 w 176"/>
                    <a:gd name="T13" fmla="*/ 1 h 56"/>
                    <a:gd name="T14" fmla="*/ 1 w 176"/>
                    <a:gd name="T15" fmla="*/ 1 h 56"/>
                    <a:gd name="T16" fmla="*/ 1 w 176"/>
                    <a:gd name="T17" fmla="*/ 1 h 56"/>
                    <a:gd name="T18" fmla="*/ 1 w 176"/>
                    <a:gd name="T19" fmla="*/ 1 h 56"/>
                    <a:gd name="T20" fmla="*/ 1 w 176"/>
                    <a:gd name="T21" fmla="*/ 1 h 56"/>
                    <a:gd name="T22" fmla="*/ 1 w 176"/>
                    <a:gd name="T23" fmla="*/ 1 h 56"/>
                    <a:gd name="T24" fmla="*/ 1 w 176"/>
                    <a:gd name="T25" fmla="*/ 0 h 56"/>
                    <a:gd name="T26" fmla="*/ 0 w 176"/>
                    <a:gd name="T27" fmla="*/ 1 h 56"/>
                    <a:gd name="T28" fmla="*/ 1 w 176"/>
                    <a:gd name="T29" fmla="*/ 1 h 56"/>
                    <a:gd name="T30" fmla="*/ 1 w 176"/>
                    <a:gd name="T31" fmla="*/ 1 h 56"/>
                    <a:gd name="T32" fmla="*/ 1 w 176"/>
                    <a:gd name="T33" fmla="*/ 1 h 56"/>
                    <a:gd name="T34" fmla="*/ 1 w 176"/>
                    <a:gd name="T35" fmla="*/ 1 h 56"/>
                    <a:gd name="T36" fmla="*/ 1 w 176"/>
                    <a:gd name="T37" fmla="*/ 1 h 56"/>
                    <a:gd name="T38" fmla="*/ 1 w 176"/>
                    <a:gd name="T39" fmla="*/ 1 h 56"/>
                    <a:gd name="T40" fmla="*/ 1 w 176"/>
                    <a:gd name="T41" fmla="*/ 1 h 56"/>
                    <a:gd name="T42" fmla="*/ 1 w 176"/>
                    <a:gd name="T43" fmla="*/ 1 h 56"/>
                    <a:gd name="T44" fmla="*/ 1 w 176"/>
                    <a:gd name="T45" fmla="*/ 1 h 5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76"/>
                    <a:gd name="T70" fmla="*/ 0 h 56"/>
                    <a:gd name="T71" fmla="*/ 176 w 176"/>
                    <a:gd name="T72" fmla="*/ 56 h 56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76" h="56">
                      <a:moveTo>
                        <a:pt x="176" y="40"/>
                      </a:moveTo>
                      <a:lnTo>
                        <a:pt x="168" y="40"/>
                      </a:lnTo>
                      <a:lnTo>
                        <a:pt x="160" y="40"/>
                      </a:lnTo>
                      <a:lnTo>
                        <a:pt x="136" y="32"/>
                      </a:lnTo>
                      <a:lnTo>
                        <a:pt x="136" y="16"/>
                      </a:lnTo>
                      <a:lnTo>
                        <a:pt x="104" y="8"/>
                      </a:lnTo>
                      <a:lnTo>
                        <a:pt x="96" y="16"/>
                      </a:lnTo>
                      <a:lnTo>
                        <a:pt x="96" y="24"/>
                      </a:lnTo>
                      <a:lnTo>
                        <a:pt x="56" y="16"/>
                      </a:lnTo>
                      <a:lnTo>
                        <a:pt x="56" y="8"/>
                      </a:lnTo>
                      <a:lnTo>
                        <a:pt x="32" y="8"/>
                      </a:lnTo>
                      <a:lnTo>
                        <a:pt x="24" y="8"/>
                      </a:lnTo>
                      <a:lnTo>
                        <a:pt x="8" y="0"/>
                      </a:lnTo>
                      <a:lnTo>
                        <a:pt x="0" y="16"/>
                      </a:lnTo>
                      <a:lnTo>
                        <a:pt x="8" y="32"/>
                      </a:lnTo>
                      <a:lnTo>
                        <a:pt x="48" y="32"/>
                      </a:lnTo>
                      <a:lnTo>
                        <a:pt x="48" y="40"/>
                      </a:lnTo>
                      <a:lnTo>
                        <a:pt x="80" y="40"/>
                      </a:lnTo>
                      <a:lnTo>
                        <a:pt x="96" y="48"/>
                      </a:lnTo>
                      <a:lnTo>
                        <a:pt x="136" y="48"/>
                      </a:lnTo>
                      <a:lnTo>
                        <a:pt x="160" y="56"/>
                      </a:lnTo>
                      <a:lnTo>
                        <a:pt x="176" y="56"/>
                      </a:lnTo>
                      <a:lnTo>
                        <a:pt x="176" y="4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66" name="Freeform 87"/>
                <p:cNvSpPr>
                  <a:spLocks noChangeAspect="1"/>
                </p:cNvSpPr>
                <p:nvPr/>
              </p:nvSpPr>
              <p:spPr bwMode="auto">
                <a:xfrm>
                  <a:off x="4415" y="2999"/>
                  <a:ext cx="11" cy="11"/>
                </a:xfrm>
                <a:custGeom>
                  <a:avLst/>
                  <a:gdLst>
                    <a:gd name="T0" fmla="*/ 0 w 16"/>
                    <a:gd name="T1" fmla="*/ 0 h 16"/>
                    <a:gd name="T2" fmla="*/ 0 w 16"/>
                    <a:gd name="T3" fmla="*/ 1 h 16"/>
                    <a:gd name="T4" fmla="*/ 1 w 16"/>
                    <a:gd name="T5" fmla="*/ 1 h 16"/>
                    <a:gd name="T6" fmla="*/ 1 w 16"/>
                    <a:gd name="T7" fmla="*/ 1 h 16"/>
                    <a:gd name="T8" fmla="*/ 1 w 16"/>
                    <a:gd name="T9" fmla="*/ 0 h 16"/>
                    <a:gd name="T10" fmla="*/ 0 w 16"/>
                    <a:gd name="T11" fmla="*/ 0 h 1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6"/>
                    <a:gd name="T19" fmla="*/ 0 h 16"/>
                    <a:gd name="T20" fmla="*/ 16 w 16"/>
                    <a:gd name="T21" fmla="*/ 16 h 1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6" h="16">
                      <a:moveTo>
                        <a:pt x="0" y="0"/>
                      </a:moveTo>
                      <a:lnTo>
                        <a:pt x="0" y="16"/>
                      </a:lnTo>
                      <a:lnTo>
                        <a:pt x="8" y="16"/>
                      </a:lnTo>
                      <a:lnTo>
                        <a:pt x="16" y="16"/>
                      </a:lnTo>
                      <a:lnTo>
                        <a:pt x="16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67" name="Freeform 88"/>
                <p:cNvSpPr>
                  <a:spLocks noChangeAspect="1"/>
                </p:cNvSpPr>
                <p:nvPr/>
              </p:nvSpPr>
              <p:spPr bwMode="auto">
                <a:xfrm>
                  <a:off x="4432" y="3004"/>
                  <a:ext cx="51" cy="12"/>
                </a:xfrm>
                <a:custGeom>
                  <a:avLst/>
                  <a:gdLst>
                    <a:gd name="T0" fmla="*/ 0 w 72"/>
                    <a:gd name="T1" fmla="*/ 2 h 16"/>
                    <a:gd name="T2" fmla="*/ 1 w 72"/>
                    <a:gd name="T3" fmla="*/ 0 h 16"/>
                    <a:gd name="T4" fmla="*/ 1 w 72"/>
                    <a:gd name="T5" fmla="*/ 2 h 16"/>
                    <a:gd name="T6" fmla="*/ 1 w 72"/>
                    <a:gd name="T7" fmla="*/ 0 h 16"/>
                    <a:gd name="T8" fmla="*/ 1 w 72"/>
                    <a:gd name="T9" fmla="*/ 0 h 16"/>
                    <a:gd name="T10" fmla="*/ 1 w 72"/>
                    <a:gd name="T11" fmla="*/ 0 h 16"/>
                    <a:gd name="T12" fmla="*/ 1 w 72"/>
                    <a:gd name="T13" fmla="*/ 2 h 16"/>
                    <a:gd name="T14" fmla="*/ 1 w 72"/>
                    <a:gd name="T15" fmla="*/ 2 h 16"/>
                    <a:gd name="T16" fmla="*/ 1 w 72"/>
                    <a:gd name="T17" fmla="*/ 2 h 16"/>
                    <a:gd name="T18" fmla="*/ 1 w 72"/>
                    <a:gd name="T19" fmla="*/ 2 h 16"/>
                    <a:gd name="T20" fmla="*/ 0 w 72"/>
                    <a:gd name="T21" fmla="*/ 2 h 1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72"/>
                    <a:gd name="T34" fmla="*/ 0 h 16"/>
                    <a:gd name="T35" fmla="*/ 72 w 72"/>
                    <a:gd name="T36" fmla="*/ 16 h 1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72" h="16">
                      <a:moveTo>
                        <a:pt x="0" y="8"/>
                      </a:moveTo>
                      <a:lnTo>
                        <a:pt x="8" y="0"/>
                      </a:lnTo>
                      <a:lnTo>
                        <a:pt x="16" y="8"/>
                      </a:lnTo>
                      <a:lnTo>
                        <a:pt x="32" y="0"/>
                      </a:lnTo>
                      <a:lnTo>
                        <a:pt x="40" y="0"/>
                      </a:lnTo>
                      <a:lnTo>
                        <a:pt x="64" y="0"/>
                      </a:lnTo>
                      <a:lnTo>
                        <a:pt x="72" y="8"/>
                      </a:lnTo>
                      <a:lnTo>
                        <a:pt x="64" y="8"/>
                      </a:lnTo>
                      <a:lnTo>
                        <a:pt x="24" y="16"/>
                      </a:lnTo>
                      <a:lnTo>
                        <a:pt x="8" y="8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68" name="Freeform 89"/>
                <p:cNvSpPr>
                  <a:spLocks noChangeAspect="1"/>
                </p:cNvSpPr>
                <p:nvPr/>
              </p:nvSpPr>
              <p:spPr bwMode="auto">
                <a:xfrm>
                  <a:off x="4488" y="3004"/>
                  <a:ext cx="34" cy="12"/>
                </a:xfrm>
                <a:custGeom>
                  <a:avLst/>
                  <a:gdLst>
                    <a:gd name="T0" fmla="*/ 0 w 48"/>
                    <a:gd name="T1" fmla="*/ 2 h 16"/>
                    <a:gd name="T2" fmla="*/ 1 w 48"/>
                    <a:gd name="T3" fmla="*/ 0 h 16"/>
                    <a:gd name="T4" fmla="*/ 1 w 48"/>
                    <a:gd name="T5" fmla="*/ 0 h 16"/>
                    <a:gd name="T6" fmla="*/ 1 w 48"/>
                    <a:gd name="T7" fmla="*/ 2 h 16"/>
                    <a:gd name="T8" fmla="*/ 1 w 48"/>
                    <a:gd name="T9" fmla="*/ 2 h 16"/>
                    <a:gd name="T10" fmla="*/ 0 w 48"/>
                    <a:gd name="T11" fmla="*/ 2 h 16"/>
                    <a:gd name="T12" fmla="*/ 0 w 48"/>
                    <a:gd name="T13" fmla="*/ 2 h 1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8"/>
                    <a:gd name="T22" fmla="*/ 0 h 16"/>
                    <a:gd name="T23" fmla="*/ 48 w 48"/>
                    <a:gd name="T24" fmla="*/ 16 h 1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8" h="16">
                      <a:moveTo>
                        <a:pt x="0" y="8"/>
                      </a:moveTo>
                      <a:lnTo>
                        <a:pt x="16" y="0"/>
                      </a:lnTo>
                      <a:lnTo>
                        <a:pt x="48" y="0"/>
                      </a:lnTo>
                      <a:lnTo>
                        <a:pt x="48" y="8"/>
                      </a:lnTo>
                      <a:lnTo>
                        <a:pt x="40" y="8"/>
                      </a:lnTo>
                      <a:lnTo>
                        <a:pt x="0" y="16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69" name="Freeform 90"/>
                <p:cNvSpPr>
                  <a:spLocks noChangeAspect="1"/>
                </p:cNvSpPr>
                <p:nvPr/>
              </p:nvSpPr>
              <p:spPr bwMode="auto">
                <a:xfrm>
                  <a:off x="4545" y="3004"/>
                  <a:ext cx="50" cy="29"/>
                </a:xfrm>
                <a:custGeom>
                  <a:avLst/>
                  <a:gdLst>
                    <a:gd name="T0" fmla="*/ 1 w 72"/>
                    <a:gd name="T1" fmla="*/ 0 h 40"/>
                    <a:gd name="T2" fmla="*/ 1 w 72"/>
                    <a:gd name="T3" fmla="*/ 1 h 40"/>
                    <a:gd name="T4" fmla="*/ 1 w 72"/>
                    <a:gd name="T5" fmla="*/ 1 h 40"/>
                    <a:gd name="T6" fmla="*/ 1 w 72"/>
                    <a:gd name="T7" fmla="*/ 1 h 40"/>
                    <a:gd name="T8" fmla="*/ 1 w 72"/>
                    <a:gd name="T9" fmla="*/ 1 h 40"/>
                    <a:gd name="T10" fmla="*/ 1 w 72"/>
                    <a:gd name="T11" fmla="*/ 1 h 40"/>
                    <a:gd name="T12" fmla="*/ 1 w 72"/>
                    <a:gd name="T13" fmla="*/ 1 h 40"/>
                    <a:gd name="T14" fmla="*/ 0 w 72"/>
                    <a:gd name="T15" fmla="*/ 1 h 40"/>
                    <a:gd name="T16" fmla="*/ 0 w 72"/>
                    <a:gd name="T17" fmla="*/ 1 h 40"/>
                    <a:gd name="T18" fmla="*/ 1 w 72"/>
                    <a:gd name="T19" fmla="*/ 1 h 40"/>
                    <a:gd name="T20" fmla="*/ 1 w 72"/>
                    <a:gd name="T21" fmla="*/ 1 h 40"/>
                    <a:gd name="T22" fmla="*/ 1 w 72"/>
                    <a:gd name="T23" fmla="*/ 1 h 40"/>
                    <a:gd name="T24" fmla="*/ 1 w 72"/>
                    <a:gd name="T25" fmla="*/ 0 h 40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72"/>
                    <a:gd name="T40" fmla="*/ 0 h 40"/>
                    <a:gd name="T41" fmla="*/ 72 w 72"/>
                    <a:gd name="T42" fmla="*/ 40 h 40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72" h="40">
                      <a:moveTo>
                        <a:pt x="64" y="0"/>
                      </a:moveTo>
                      <a:lnTo>
                        <a:pt x="72" y="8"/>
                      </a:lnTo>
                      <a:lnTo>
                        <a:pt x="64" y="16"/>
                      </a:lnTo>
                      <a:lnTo>
                        <a:pt x="48" y="16"/>
                      </a:lnTo>
                      <a:lnTo>
                        <a:pt x="32" y="24"/>
                      </a:lnTo>
                      <a:lnTo>
                        <a:pt x="24" y="32"/>
                      </a:lnTo>
                      <a:lnTo>
                        <a:pt x="8" y="40"/>
                      </a:lnTo>
                      <a:lnTo>
                        <a:pt x="0" y="40"/>
                      </a:lnTo>
                      <a:lnTo>
                        <a:pt x="0" y="32"/>
                      </a:lnTo>
                      <a:lnTo>
                        <a:pt x="8" y="24"/>
                      </a:lnTo>
                      <a:lnTo>
                        <a:pt x="16" y="16"/>
                      </a:lnTo>
                      <a:lnTo>
                        <a:pt x="32" y="8"/>
                      </a:lnTo>
                      <a:lnTo>
                        <a:pt x="64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70" name="Freeform 91"/>
                <p:cNvSpPr>
                  <a:spLocks noChangeAspect="1"/>
                </p:cNvSpPr>
                <p:nvPr/>
              </p:nvSpPr>
              <p:spPr bwMode="auto">
                <a:xfrm>
                  <a:off x="4477" y="2864"/>
                  <a:ext cx="85" cy="101"/>
                </a:xfrm>
                <a:custGeom>
                  <a:avLst/>
                  <a:gdLst>
                    <a:gd name="T0" fmla="*/ 1 w 120"/>
                    <a:gd name="T1" fmla="*/ 0 h 144"/>
                    <a:gd name="T2" fmla="*/ 1 w 120"/>
                    <a:gd name="T3" fmla="*/ 1 h 144"/>
                    <a:gd name="T4" fmla="*/ 1 w 120"/>
                    <a:gd name="T5" fmla="*/ 1 h 144"/>
                    <a:gd name="T6" fmla="*/ 1 w 120"/>
                    <a:gd name="T7" fmla="*/ 1 h 144"/>
                    <a:gd name="T8" fmla="*/ 1 w 120"/>
                    <a:gd name="T9" fmla="*/ 0 h 144"/>
                    <a:gd name="T10" fmla="*/ 1 w 120"/>
                    <a:gd name="T11" fmla="*/ 0 h 144"/>
                    <a:gd name="T12" fmla="*/ 1 w 120"/>
                    <a:gd name="T13" fmla="*/ 1 h 144"/>
                    <a:gd name="T14" fmla="*/ 1 w 120"/>
                    <a:gd name="T15" fmla="*/ 1 h 144"/>
                    <a:gd name="T16" fmla="*/ 1 w 120"/>
                    <a:gd name="T17" fmla="*/ 1 h 144"/>
                    <a:gd name="T18" fmla="*/ 1 w 120"/>
                    <a:gd name="T19" fmla="*/ 1 h 144"/>
                    <a:gd name="T20" fmla="*/ 1 w 120"/>
                    <a:gd name="T21" fmla="*/ 1 h 144"/>
                    <a:gd name="T22" fmla="*/ 1 w 120"/>
                    <a:gd name="T23" fmla="*/ 1 h 144"/>
                    <a:gd name="T24" fmla="*/ 0 w 120"/>
                    <a:gd name="T25" fmla="*/ 1 h 144"/>
                    <a:gd name="T26" fmla="*/ 0 w 120"/>
                    <a:gd name="T27" fmla="*/ 1 h 144"/>
                    <a:gd name="T28" fmla="*/ 1 w 120"/>
                    <a:gd name="T29" fmla="*/ 1 h 144"/>
                    <a:gd name="T30" fmla="*/ 1 w 120"/>
                    <a:gd name="T31" fmla="*/ 1 h 144"/>
                    <a:gd name="T32" fmla="*/ 1 w 120"/>
                    <a:gd name="T33" fmla="*/ 1 h 144"/>
                    <a:gd name="T34" fmla="*/ 1 w 120"/>
                    <a:gd name="T35" fmla="*/ 1 h 144"/>
                    <a:gd name="T36" fmla="*/ 1 w 120"/>
                    <a:gd name="T37" fmla="*/ 1 h 144"/>
                    <a:gd name="T38" fmla="*/ 1 w 120"/>
                    <a:gd name="T39" fmla="*/ 1 h 144"/>
                    <a:gd name="T40" fmla="*/ 1 w 120"/>
                    <a:gd name="T41" fmla="*/ 1 h 144"/>
                    <a:gd name="T42" fmla="*/ 1 w 120"/>
                    <a:gd name="T43" fmla="*/ 1 h 144"/>
                    <a:gd name="T44" fmla="*/ 1 w 120"/>
                    <a:gd name="T45" fmla="*/ 1 h 144"/>
                    <a:gd name="T46" fmla="*/ 1 w 120"/>
                    <a:gd name="T47" fmla="*/ 1 h 144"/>
                    <a:gd name="T48" fmla="*/ 1 w 120"/>
                    <a:gd name="T49" fmla="*/ 1 h 144"/>
                    <a:gd name="T50" fmla="*/ 1 w 120"/>
                    <a:gd name="T51" fmla="*/ 1 h 144"/>
                    <a:gd name="T52" fmla="*/ 1 w 120"/>
                    <a:gd name="T53" fmla="*/ 1 h 144"/>
                    <a:gd name="T54" fmla="*/ 1 w 120"/>
                    <a:gd name="T55" fmla="*/ 1 h 144"/>
                    <a:gd name="T56" fmla="*/ 1 w 120"/>
                    <a:gd name="T57" fmla="*/ 1 h 144"/>
                    <a:gd name="T58" fmla="*/ 1 w 120"/>
                    <a:gd name="T59" fmla="*/ 1 h 144"/>
                    <a:gd name="T60" fmla="*/ 1 w 120"/>
                    <a:gd name="T61" fmla="*/ 1 h 144"/>
                    <a:gd name="T62" fmla="*/ 1 w 120"/>
                    <a:gd name="T63" fmla="*/ 1 h 144"/>
                    <a:gd name="T64" fmla="*/ 1 w 120"/>
                    <a:gd name="T65" fmla="*/ 1 h 144"/>
                    <a:gd name="T66" fmla="*/ 1 w 120"/>
                    <a:gd name="T67" fmla="*/ 1 h 144"/>
                    <a:gd name="T68" fmla="*/ 1 w 120"/>
                    <a:gd name="T69" fmla="*/ 1 h 144"/>
                    <a:gd name="T70" fmla="*/ 1 w 120"/>
                    <a:gd name="T71" fmla="*/ 1 h 144"/>
                    <a:gd name="T72" fmla="*/ 1 w 120"/>
                    <a:gd name="T73" fmla="*/ 1 h 144"/>
                    <a:gd name="T74" fmla="*/ 1 w 120"/>
                    <a:gd name="T75" fmla="*/ 1 h 144"/>
                    <a:gd name="T76" fmla="*/ 1 w 120"/>
                    <a:gd name="T77" fmla="*/ 1 h 144"/>
                    <a:gd name="T78" fmla="*/ 1 w 120"/>
                    <a:gd name="T79" fmla="*/ 1 h 144"/>
                    <a:gd name="T80" fmla="*/ 1 w 120"/>
                    <a:gd name="T81" fmla="*/ 1 h 144"/>
                    <a:gd name="T82" fmla="*/ 1 w 120"/>
                    <a:gd name="T83" fmla="*/ 1 h 144"/>
                    <a:gd name="T84" fmla="*/ 1 w 120"/>
                    <a:gd name="T85" fmla="*/ 1 h 144"/>
                    <a:gd name="T86" fmla="*/ 1 w 120"/>
                    <a:gd name="T87" fmla="*/ 1 h 144"/>
                    <a:gd name="T88" fmla="*/ 1 w 120"/>
                    <a:gd name="T89" fmla="*/ 1 h 144"/>
                    <a:gd name="T90" fmla="*/ 1 w 120"/>
                    <a:gd name="T91" fmla="*/ 1 h 144"/>
                    <a:gd name="T92" fmla="*/ 1 w 120"/>
                    <a:gd name="T93" fmla="*/ 1 h 144"/>
                    <a:gd name="T94" fmla="*/ 1 w 120"/>
                    <a:gd name="T95" fmla="*/ 1 h 144"/>
                    <a:gd name="T96" fmla="*/ 1 w 120"/>
                    <a:gd name="T97" fmla="*/ 1 h 144"/>
                    <a:gd name="T98" fmla="*/ 1 w 120"/>
                    <a:gd name="T99" fmla="*/ 1 h 144"/>
                    <a:gd name="T100" fmla="*/ 1 w 120"/>
                    <a:gd name="T101" fmla="*/ 0 h 144"/>
                    <a:gd name="T102" fmla="*/ 1 w 120"/>
                    <a:gd name="T103" fmla="*/ 0 h 144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120"/>
                    <a:gd name="T157" fmla="*/ 0 h 144"/>
                    <a:gd name="T158" fmla="*/ 120 w 120"/>
                    <a:gd name="T159" fmla="*/ 144 h 144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120" h="144">
                      <a:moveTo>
                        <a:pt x="112" y="0"/>
                      </a:moveTo>
                      <a:lnTo>
                        <a:pt x="104" y="8"/>
                      </a:lnTo>
                      <a:lnTo>
                        <a:pt x="96" y="16"/>
                      </a:lnTo>
                      <a:lnTo>
                        <a:pt x="64" y="16"/>
                      </a:lnTo>
                      <a:lnTo>
                        <a:pt x="48" y="0"/>
                      </a:lnTo>
                      <a:lnTo>
                        <a:pt x="40" y="0"/>
                      </a:lnTo>
                      <a:lnTo>
                        <a:pt x="32" y="16"/>
                      </a:lnTo>
                      <a:lnTo>
                        <a:pt x="24" y="16"/>
                      </a:lnTo>
                      <a:lnTo>
                        <a:pt x="16" y="32"/>
                      </a:lnTo>
                      <a:lnTo>
                        <a:pt x="8" y="48"/>
                      </a:lnTo>
                      <a:lnTo>
                        <a:pt x="8" y="56"/>
                      </a:lnTo>
                      <a:lnTo>
                        <a:pt x="8" y="72"/>
                      </a:lnTo>
                      <a:lnTo>
                        <a:pt x="0" y="80"/>
                      </a:lnTo>
                      <a:lnTo>
                        <a:pt x="0" y="104"/>
                      </a:lnTo>
                      <a:lnTo>
                        <a:pt x="8" y="104"/>
                      </a:lnTo>
                      <a:lnTo>
                        <a:pt x="16" y="112"/>
                      </a:lnTo>
                      <a:lnTo>
                        <a:pt x="16" y="128"/>
                      </a:lnTo>
                      <a:lnTo>
                        <a:pt x="8" y="144"/>
                      </a:lnTo>
                      <a:lnTo>
                        <a:pt x="16" y="144"/>
                      </a:lnTo>
                      <a:lnTo>
                        <a:pt x="24" y="128"/>
                      </a:lnTo>
                      <a:lnTo>
                        <a:pt x="24" y="96"/>
                      </a:lnTo>
                      <a:lnTo>
                        <a:pt x="24" y="88"/>
                      </a:lnTo>
                      <a:lnTo>
                        <a:pt x="32" y="88"/>
                      </a:lnTo>
                      <a:lnTo>
                        <a:pt x="32" y="80"/>
                      </a:lnTo>
                      <a:lnTo>
                        <a:pt x="40" y="88"/>
                      </a:lnTo>
                      <a:lnTo>
                        <a:pt x="40" y="104"/>
                      </a:lnTo>
                      <a:lnTo>
                        <a:pt x="56" y="120"/>
                      </a:lnTo>
                      <a:lnTo>
                        <a:pt x="48" y="128"/>
                      </a:lnTo>
                      <a:lnTo>
                        <a:pt x="56" y="136"/>
                      </a:lnTo>
                      <a:lnTo>
                        <a:pt x="64" y="120"/>
                      </a:lnTo>
                      <a:lnTo>
                        <a:pt x="72" y="120"/>
                      </a:lnTo>
                      <a:lnTo>
                        <a:pt x="72" y="112"/>
                      </a:lnTo>
                      <a:lnTo>
                        <a:pt x="64" y="96"/>
                      </a:lnTo>
                      <a:lnTo>
                        <a:pt x="64" y="80"/>
                      </a:lnTo>
                      <a:lnTo>
                        <a:pt x="48" y="72"/>
                      </a:lnTo>
                      <a:lnTo>
                        <a:pt x="48" y="64"/>
                      </a:lnTo>
                      <a:lnTo>
                        <a:pt x="64" y="64"/>
                      </a:lnTo>
                      <a:lnTo>
                        <a:pt x="72" y="56"/>
                      </a:lnTo>
                      <a:lnTo>
                        <a:pt x="88" y="56"/>
                      </a:lnTo>
                      <a:lnTo>
                        <a:pt x="96" y="48"/>
                      </a:lnTo>
                      <a:lnTo>
                        <a:pt x="80" y="40"/>
                      </a:lnTo>
                      <a:lnTo>
                        <a:pt x="64" y="40"/>
                      </a:lnTo>
                      <a:lnTo>
                        <a:pt x="48" y="48"/>
                      </a:lnTo>
                      <a:lnTo>
                        <a:pt x="40" y="56"/>
                      </a:lnTo>
                      <a:lnTo>
                        <a:pt x="24" y="40"/>
                      </a:lnTo>
                      <a:lnTo>
                        <a:pt x="24" y="32"/>
                      </a:lnTo>
                      <a:lnTo>
                        <a:pt x="32" y="24"/>
                      </a:lnTo>
                      <a:lnTo>
                        <a:pt x="80" y="24"/>
                      </a:lnTo>
                      <a:lnTo>
                        <a:pt x="96" y="24"/>
                      </a:lnTo>
                      <a:lnTo>
                        <a:pt x="112" y="16"/>
                      </a:lnTo>
                      <a:lnTo>
                        <a:pt x="120" y="0"/>
                      </a:lnTo>
                      <a:lnTo>
                        <a:pt x="112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71" name="Freeform 92"/>
                <p:cNvSpPr>
                  <a:spLocks noChangeAspect="1"/>
                </p:cNvSpPr>
                <p:nvPr/>
              </p:nvSpPr>
              <p:spPr bwMode="auto">
                <a:xfrm>
                  <a:off x="4488" y="2616"/>
                  <a:ext cx="40" cy="73"/>
                </a:xfrm>
                <a:custGeom>
                  <a:avLst/>
                  <a:gdLst>
                    <a:gd name="T0" fmla="*/ 1 w 56"/>
                    <a:gd name="T1" fmla="*/ 0 h 104"/>
                    <a:gd name="T2" fmla="*/ 1 w 56"/>
                    <a:gd name="T3" fmla="*/ 1 h 104"/>
                    <a:gd name="T4" fmla="*/ 1 w 56"/>
                    <a:gd name="T5" fmla="*/ 0 h 104"/>
                    <a:gd name="T6" fmla="*/ 1 w 56"/>
                    <a:gd name="T7" fmla="*/ 0 h 104"/>
                    <a:gd name="T8" fmla="*/ 1 w 56"/>
                    <a:gd name="T9" fmla="*/ 1 h 104"/>
                    <a:gd name="T10" fmla="*/ 1 w 56"/>
                    <a:gd name="T11" fmla="*/ 1 h 104"/>
                    <a:gd name="T12" fmla="*/ 1 w 56"/>
                    <a:gd name="T13" fmla="*/ 1 h 104"/>
                    <a:gd name="T14" fmla="*/ 1 w 56"/>
                    <a:gd name="T15" fmla="*/ 1 h 104"/>
                    <a:gd name="T16" fmla="*/ 1 w 56"/>
                    <a:gd name="T17" fmla="*/ 1 h 104"/>
                    <a:gd name="T18" fmla="*/ 1 w 56"/>
                    <a:gd name="T19" fmla="*/ 1 h 104"/>
                    <a:gd name="T20" fmla="*/ 1 w 56"/>
                    <a:gd name="T21" fmla="*/ 1 h 104"/>
                    <a:gd name="T22" fmla="*/ 1 w 56"/>
                    <a:gd name="T23" fmla="*/ 1 h 104"/>
                    <a:gd name="T24" fmla="*/ 1 w 56"/>
                    <a:gd name="T25" fmla="*/ 1 h 104"/>
                    <a:gd name="T26" fmla="*/ 1 w 56"/>
                    <a:gd name="T27" fmla="*/ 1 h 104"/>
                    <a:gd name="T28" fmla="*/ 1 w 56"/>
                    <a:gd name="T29" fmla="*/ 1 h 104"/>
                    <a:gd name="T30" fmla="*/ 0 w 56"/>
                    <a:gd name="T31" fmla="*/ 1 h 104"/>
                    <a:gd name="T32" fmla="*/ 0 w 56"/>
                    <a:gd name="T33" fmla="*/ 1 h 104"/>
                    <a:gd name="T34" fmla="*/ 1 w 56"/>
                    <a:gd name="T35" fmla="*/ 1 h 104"/>
                    <a:gd name="T36" fmla="*/ 1 w 56"/>
                    <a:gd name="T37" fmla="*/ 1 h 104"/>
                    <a:gd name="T38" fmla="*/ 1 w 56"/>
                    <a:gd name="T39" fmla="*/ 1 h 104"/>
                    <a:gd name="T40" fmla="*/ 1 w 56"/>
                    <a:gd name="T41" fmla="*/ 0 h 104"/>
                    <a:gd name="T42" fmla="*/ 1 w 56"/>
                    <a:gd name="T43" fmla="*/ 0 h 104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56"/>
                    <a:gd name="T67" fmla="*/ 0 h 104"/>
                    <a:gd name="T68" fmla="*/ 56 w 56"/>
                    <a:gd name="T69" fmla="*/ 104 h 104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56" h="104">
                      <a:moveTo>
                        <a:pt x="24" y="0"/>
                      </a:moveTo>
                      <a:lnTo>
                        <a:pt x="32" y="8"/>
                      </a:lnTo>
                      <a:lnTo>
                        <a:pt x="48" y="0"/>
                      </a:lnTo>
                      <a:lnTo>
                        <a:pt x="56" y="0"/>
                      </a:lnTo>
                      <a:lnTo>
                        <a:pt x="48" y="24"/>
                      </a:lnTo>
                      <a:lnTo>
                        <a:pt x="56" y="32"/>
                      </a:lnTo>
                      <a:lnTo>
                        <a:pt x="56" y="40"/>
                      </a:lnTo>
                      <a:lnTo>
                        <a:pt x="40" y="56"/>
                      </a:lnTo>
                      <a:lnTo>
                        <a:pt x="32" y="64"/>
                      </a:lnTo>
                      <a:lnTo>
                        <a:pt x="40" y="88"/>
                      </a:lnTo>
                      <a:lnTo>
                        <a:pt x="40" y="96"/>
                      </a:lnTo>
                      <a:lnTo>
                        <a:pt x="32" y="104"/>
                      </a:lnTo>
                      <a:lnTo>
                        <a:pt x="24" y="96"/>
                      </a:lnTo>
                      <a:lnTo>
                        <a:pt x="24" y="80"/>
                      </a:lnTo>
                      <a:lnTo>
                        <a:pt x="8" y="72"/>
                      </a:lnTo>
                      <a:lnTo>
                        <a:pt x="0" y="56"/>
                      </a:lnTo>
                      <a:lnTo>
                        <a:pt x="0" y="48"/>
                      </a:lnTo>
                      <a:lnTo>
                        <a:pt x="8" y="48"/>
                      </a:lnTo>
                      <a:lnTo>
                        <a:pt x="16" y="16"/>
                      </a:lnTo>
                      <a:lnTo>
                        <a:pt x="16" y="8"/>
                      </a:lnTo>
                      <a:lnTo>
                        <a:pt x="16" y="0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72" name="Freeform 93"/>
                <p:cNvSpPr>
                  <a:spLocks noChangeAspect="1"/>
                </p:cNvSpPr>
                <p:nvPr/>
              </p:nvSpPr>
              <p:spPr bwMode="auto">
                <a:xfrm>
                  <a:off x="4494" y="2689"/>
                  <a:ext cx="17" cy="17"/>
                </a:xfrm>
                <a:custGeom>
                  <a:avLst/>
                  <a:gdLst>
                    <a:gd name="T0" fmla="*/ 1 w 24"/>
                    <a:gd name="T1" fmla="*/ 0 h 24"/>
                    <a:gd name="T2" fmla="*/ 1 w 24"/>
                    <a:gd name="T3" fmla="*/ 1 h 24"/>
                    <a:gd name="T4" fmla="*/ 1 w 24"/>
                    <a:gd name="T5" fmla="*/ 1 h 24"/>
                    <a:gd name="T6" fmla="*/ 1 w 24"/>
                    <a:gd name="T7" fmla="*/ 1 h 24"/>
                    <a:gd name="T8" fmla="*/ 1 w 24"/>
                    <a:gd name="T9" fmla="*/ 1 h 24"/>
                    <a:gd name="T10" fmla="*/ 0 w 24"/>
                    <a:gd name="T11" fmla="*/ 0 h 24"/>
                    <a:gd name="T12" fmla="*/ 1 w 24"/>
                    <a:gd name="T13" fmla="*/ 0 h 24"/>
                    <a:gd name="T14" fmla="*/ 1 w 24"/>
                    <a:gd name="T15" fmla="*/ 0 h 2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4"/>
                    <a:gd name="T25" fmla="*/ 0 h 24"/>
                    <a:gd name="T26" fmla="*/ 24 w 24"/>
                    <a:gd name="T27" fmla="*/ 24 h 2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4" h="24">
                      <a:moveTo>
                        <a:pt x="16" y="0"/>
                      </a:moveTo>
                      <a:lnTo>
                        <a:pt x="24" y="8"/>
                      </a:lnTo>
                      <a:lnTo>
                        <a:pt x="24" y="24"/>
                      </a:lnTo>
                      <a:lnTo>
                        <a:pt x="16" y="24"/>
                      </a:lnTo>
                      <a:lnTo>
                        <a:pt x="8" y="8"/>
                      </a:lnTo>
                      <a:lnTo>
                        <a:pt x="0" y="0"/>
                      </a:lnTo>
                      <a:lnTo>
                        <a:pt x="8" y="0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73" name="Freeform 94"/>
                <p:cNvSpPr>
                  <a:spLocks noChangeAspect="1"/>
                </p:cNvSpPr>
                <p:nvPr/>
              </p:nvSpPr>
              <p:spPr bwMode="auto">
                <a:xfrm>
                  <a:off x="4517" y="2678"/>
                  <a:ext cx="33" cy="23"/>
                </a:xfrm>
                <a:custGeom>
                  <a:avLst/>
                  <a:gdLst>
                    <a:gd name="T0" fmla="*/ 0 w 48"/>
                    <a:gd name="T1" fmla="*/ 1 h 32"/>
                    <a:gd name="T2" fmla="*/ 1 w 48"/>
                    <a:gd name="T3" fmla="*/ 0 h 32"/>
                    <a:gd name="T4" fmla="*/ 1 w 48"/>
                    <a:gd name="T5" fmla="*/ 0 h 32"/>
                    <a:gd name="T6" fmla="*/ 1 w 48"/>
                    <a:gd name="T7" fmla="*/ 1 h 32"/>
                    <a:gd name="T8" fmla="*/ 1 w 48"/>
                    <a:gd name="T9" fmla="*/ 1 h 32"/>
                    <a:gd name="T10" fmla="*/ 1 w 48"/>
                    <a:gd name="T11" fmla="*/ 1 h 32"/>
                    <a:gd name="T12" fmla="*/ 1 w 48"/>
                    <a:gd name="T13" fmla="*/ 1 h 32"/>
                    <a:gd name="T14" fmla="*/ 1 w 48"/>
                    <a:gd name="T15" fmla="*/ 1 h 32"/>
                    <a:gd name="T16" fmla="*/ 1 w 48"/>
                    <a:gd name="T17" fmla="*/ 1 h 32"/>
                    <a:gd name="T18" fmla="*/ 1 w 48"/>
                    <a:gd name="T19" fmla="*/ 1 h 32"/>
                    <a:gd name="T20" fmla="*/ 1 w 48"/>
                    <a:gd name="T21" fmla="*/ 1 h 32"/>
                    <a:gd name="T22" fmla="*/ 0 w 48"/>
                    <a:gd name="T23" fmla="*/ 1 h 32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48"/>
                    <a:gd name="T37" fmla="*/ 0 h 32"/>
                    <a:gd name="T38" fmla="*/ 48 w 48"/>
                    <a:gd name="T39" fmla="*/ 32 h 32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48" h="32">
                      <a:moveTo>
                        <a:pt x="0" y="8"/>
                      </a:moveTo>
                      <a:lnTo>
                        <a:pt x="8" y="0"/>
                      </a:lnTo>
                      <a:lnTo>
                        <a:pt x="16" y="0"/>
                      </a:lnTo>
                      <a:lnTo>
                        <a:pt x="24" y="8"/>
                      </a:lnTo>
                      <a:lnTo>
                        <a:pt x="32" y="8"/>
                      </a:lnTo>
                      <a:lnTo>
                        <a:pt x="40" y="16"/>
                      </a:lnTo>
                      <a:lnTo>
                        <a:pt x="40" y="24"/>
                      </a:lnTo>
                      <a:lnTo>
                        <a:pt x="48" y="32"/>
                      </a:lnTo>
                      <a:lnTo>
                        <a:pt x="32" y="24"/>
                      </a:lnTo>
                      <a:lnTo>
                        <a:pt x="16" y="16"/>
                      </a:lnTo>
                      <a:lnTo>
                        <a:pt x="16" y="24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74" name="Freeform 95"/>
                <p:cNvSpPr>
                  <a:spLocks noChangeAspect="1"/>
                </p:cNvSpPr>
                <p:nvPr/>
              </p:nvSpPr>
              <p:spPr bwMode="auto">
                <a:xfrm>
                  <a:off x="4556" y="2706"/>
                  <a:ext cx="17" cy="17"/>
                </a:xfrm>
                <a:custGeom>
                  <a:avLst/>
                  <a:gdLst>
                    <a:gd name="T0" fmla="*/ 0 w 24"/>
                    <a:gd name="T1" fmla="*/ 0 h 24"/>
                    <a:gd name="T2" fmla="*/ 1 w 24"/>
                    <a:gd name="T3" fmla="*/ 0 h 24"/>
                    <a:gd name="T4" fmla="*/ 1 w 24"/>
                    <a:gd name="T5" fmla="*/ 0 h 24"/>
                    <a:gd name="T6" fmla="*/ 1 w 24"/>
                    <a:gd name="T7" fmla="*/ 1 h 24"/>
                    <a:gd name="T8" fmla="*/ 1 w 24"/>
                    <a:gd name="T9" fmla="*/ 1 h 24"/>
                    <a:gd name="T10" fmla="*/ 1 w 24"/>
                    <a:gd name="T11" fmla="*/ 1 h 24"/>
                    <a:gd name="T12" fmla="*/ 1 w 24"/>
                    <a:gd name="T13" fmla="*/ 1 h 24"/>
                    <a:gd name="T14" fmla="*/ 0 w 24"/>
                    <a:gd name="T15" fmla="*/ 1 h 24"/>
                    <a:gd name="T16" fmla="*/ 0 w 24"/>
                    <a:gd name="T17" fmla="*/ 0 h 2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24"/>
                    <a:gd name="T28" fmla="*/ 0 h 24"/>
                    <a:gd name="T29" fmla="*/ 24 w 24"/>
                    <a:gd name="T30" fmla="*/ 24 h 24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24" h="24">
                      <a:moveTo>
                        <a:pt x="0" y="0"/>
                      </a:moveTo>
                      <a:lnTo>
                        <a:pt x="8" y="0"/>
                      </a:lnTo>
                      <a:lnTo>
                        <a:pt x="16" y="0"/>
                      </a:lnTo>
                      <a:lnTo>
                        <a:pt x="24" y="8"/>
                      </a:lnTo>
                      <a:lnTo>
                        <a:pt x="16" y="24"/>
                      </a:lnTo>
                      <a:lnTo>
                        <a:pt x="8" y="24"/>
                      </a:lnTo>
                      <a:lnTo>
                        <a:pt x="8" y="8"/>
                      </a:lnTo>
                      <a:lnTo>
                        <a:pt x="0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75" name="Freeform 96"/>
                <p:cNvSpPr>
                  <a:spLocks noChangeAspect="1"/>
                </p:cNvSpPr>
                <p:nvPr/>
              </p:nvSpPr>
              <p:spPr bwMode="auto">
                <a:xfrm>
                  <a:off x="4522" y="2718"/>
                  <a:ext cx="11" cy="16"/>
                </a:xfrm>
                <a:custGeom>
                  <a:avLst/>
                  <a:gdLst>
                    <a:gd name="T0" fmla="*/ 0 w 16"/>
                    <a:gd name="T1" fmla="*/ 0 h 24"/>
                    <a:gd name="T2" fmla="*/ 0 w 16"/>
                    <a:gd name="T3" fmla="*/ 1 h 24"/>
                    <a:gd name="T4" fmla="*/ 1 w 16"/>
                    <a:gd name="T5" fmla="*/ 1 h 24"/>
                    <a:gd name="T6" fmla="*/ 1 w 16"/>
                    <a:gd name="T7" fmla="*/ 1 h 24"/>
                    <a:gd name="T8" fmla="*/ 1 w 16"/>
                    <a:gd name="T9" fmla="*/ 0 h 24"/>
                    <a:gd name="T10" fmla="*/ 0 w 16"/>
                    <a:gd name="T11" fmla="*/ 0 h 2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6"/>
                    <a:gd name="T19" fmla="*/ 0 h 24"/>
                    <a:gd name="T20" fmla="*/ 16 w 16"/>
                    <a:gd name="T21" fmla="*/ 24 h 2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6" h="24">
                      <a:moveTo>
                        <a:pt x="0" y="0"/>
                      </a:moveTo>
                      <a:lnTo>
                        <a:pt x="0" y="24"/>
                      </a:lnTo>
                      <a:lnTo>
                        <a:pt x="16" y="16"/>
                      </a:lnTo>
                      <a:lnTo>
                        <a:pt x="16" y="8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76" name="Freeform 97"/>
                <p:cNvSpPr>
                  <a:spLocks noChangeAspect="1"/>
                </p:cNvSpPr>
                <p:nvPr/>
              </p:nvSpPr>
              <p:spPr bwMode="auto">
                <a:xfrm>
                  <a:off x="4528" y="2729"/>
                  <a:ext cx="17" cy="22"/>
                </a:xfrm>
                <a:custGeom>
                  <a:avLst/>
                  <a:gdLst>
                    <a:gd name="T0" fmla="*/ 1 w 24"/>
                    <a:gd name="T1" fmla="*/ 1 h 32"/>
                    <a:gd name="T2" fmla="*/ 1 w 24"/>
                    <a:gd name="T3" fmla="*/ 1 h 32"/>
                    <a:gd name="T4" fmla="*/ 1 w 24"/>
                    <a:gd name="T5" fmla="*/ 1 h 32"/>
                    <a:gd name="T6" fmla="*/ 1 w 24"/>
                    <a:gd name="T7" fmla="*/ 1 h 32"/>
                    <a:gd name="T8" fmla="*/ 0 w 24"/>
                    <a:gd name="T9" fmla="*/ 1 h 32"/>
                    <a:gd name="T10" fmla="*/ 0 w 24"/>
                    <a:gd name="T11" fmla="*/ 1 h 32"/>
                    <a:gd name="T12" fmla="*/ 1 w 24"/>
                    <a:gd name="T13" fmla="*/ 1 h 32"/>
                    <a:gd name="T14" fmla="*/ 1 w 24"/>
                    <a:gd name="T15" fmla="*/ 1 h 32"/>
                    <a:gd name="T16" fmla="*/ 1 w 24"/>
                    <a:gd name="T17" fmla="*/ 0 h 32"/>
                    <a:gd name="T18" fmla="*/ 1 w 24"/>
                    <a:gd name="T19" fmla="*/ 1 h 3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24"/>
                    <a:gd name="T31" fmla="*/ 0 h 32"/>
                    <a:gd name="T32" fmla="*/ 24 w 24"/>
                    <a:gd name="T33" fmla="*/ 32 h 32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24" h="32">
                      <a:moveTo>
                        <a:pt x="24" y="8"/>
                      </a:moveTo>
                      <a:lnTo>
                        <a:pt x="24" y="24"/>
                      </a:lnTo>
                      <a:lnTo>
                        <a:pt x="16" y="32"/>
                      </a:lnTo>
                      <a:lnTo>
                        <a:pt x="8" y="32"/>
                      </a:lnTo>
                      <a:lnTo>
                        <a:pt x="0" y="24"/>
                      </a:lnTo>
                      <a:lnTo>
                        <a:pt x="0" y="16"/>
                      </a:lnTo>
                      <a:lnTo>
                        <a:pt x="16" y="16"/>
                      </a:lnTo>
                      <a:lnTo>
                        <a:pt x="8" y="8"/>
                      </a:lnTo>
                      <a:lnTo>
                        <a:pt x="8" y="0"/>
                      </a:lnTo>
                      <a:lnTo>
                        <a:pt x="24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77" name="Freeform 98"/>
                <p:cNvSpPr>
                  <a:spLocks noChangeAspect="1"/>
                </p:cNvSpPr>
                <p:nvPr/>
              </p:nvSpPr>
              <p:spPr bwMode="auto">
                <a:xfrm>
                  <a:off x="4550" y="2723"/>
                  <a:ext cx="17" cy="17"/>
                </a:xfrm>
                <a:custGeom>
                  <a:avLst/>
                  <a:gdLst>
                    <a:gd name="T0" fmla="*/ 0 w 24"/>
                    <a:gd name="T1" fmla="*/ 0 h 24"/>
                    <a:gd name="T2" fmla="*/ 1 w 24"/>
                    <a:gd name="T3" fmla="*/ 0 h 24"/>
                    <a:gd name="T4" fmla="*/ 1 w 24"/>
                    <a:gd name="T5" fmla="*/ 1 h 24"/>
                    <a:gd name="T6" fmla="*/ 1 w 24"/>
                    <a:gd name="T7" fmla="*/ 1 h 24"/>
                    <a:gd name="T8" fmla="*/ 1 w 24"/>
                    <a:gd name="T9" fmla="*/ 1 h 24"/>
                    <a:gd name="T10" fmla="*/ 1 w 24"/>
                    <a:gd name="T11" fmla="*/ 1 h 24"/>
                    <a:gd name="T12" fmla="*/ 0 w 24"/>
                    <a:gd name="T13" fmla="*/ 0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4"/>
                    <a:gd name="T22" fmla="*/ 0 h 24"/>
                    <a:gd name="T23" fmla="*/ 24 w 24"/>
                    <a:gd name="T24" fmla="*/ 24 h 2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4" h="24">
                      <a:moveTo>
                        <a:pt x="0" y="0"/>
                      </a:moveTo>
                      <a:lnTo>
                        <a:pt x="16" y="0"/>
                      </a:lnTo>
                      <a:lnTo>
                        <a:pt x="24" y="16"/>
                      </a:lnTo>
                      <a:lnTo>
                        <a:pt x="24" y="24"/>
                      </a:lnTo>
                      <a:lnTo>
                        <a:pt x="16" y="24"/>
                      </a:lnTo>
                      <a:lnTo>
                        <a:pt x="16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78" name="Freeform 99"/>
                <p:cNvSpPr>
                  <a:spLocks noChangeAspect="1"/>
                </p:cNvSpPr>
                <p:nvPr/>
              </p:nvSpPr>
              <p:spPr bwMode="auto">
                <a:xfrm>
                  <a:off x="4522" y="2751"/>
                  <a:ext cx="62" cy="57"/>
                </a:xfrm>
                <a:custGeom>
                  <a:avLst/>
                  <a:gdLst>
                    <a:gd name="T0" fmla="*/ 1 w 88"/>
                    <a:gd name="T1" fmla="*/ 1 h 80"/>
                    <a:gd name="T2" fmla="*/ 1 w 88"/>
                    <a:gd name="T3" fmla="*/ 1 h 80"/>
                    <a:gd name="T4" fmla="*/ 1 w 88"/>
                    <a:gd name="T5" fmla="*/ 1 h 80"/>
                    <a:gd name="T6" fmla="*/ 1 w 88"/>
                    <a:gd name="T7" fmla="*/ 1 h 80"/>
                    <a:gd name="T8" fmla="*/ 1 w 88"/>
                    <a:gd name="T9" fmla="*/ 1 h 80"/>
                    <a:gd name="T10" fmla="*/ 1 w 88"/>
                    <a:gd name="T11" fmla="*/ 1 h 80"/>
                    <a:gd name="T12" fmla="*/ 1 w 88"/>
                    <a:gd name="T13" fmla="*/ 1 h 80"/>
                    <a:gd name="T14" fmla="*/ 1 w 88"/>
                    <a:gd name="T15" fmla="*/ 1 h 80"/>
                    <a:gd name="T16" fmla="*/ 1 w 88"/>
                    <a:gd name="T17" fmla="*/ 1 h 80"/>
                    <a:gd name="T18" fmla="*/ 1 w 88"/>
                    <a:gd name="T19" fmla="*/ 1 h 80"/>
                    <a:gd name="T20" fmla="*/ 1 w 88"/>
                    <a:gd name="T21" fmla="*/ 1 h 80"/>
                    <a:gd name="T22" fmla="*/ 1 w 88"/>
                    <a:gd name="T23" fmla="*/ 1 h 80"/>
                    <a:gd name="T24" fmla="*/ 1 w 88"/>
                    <a:gd name="T25" fmla="*/ 1 h 80"/>
                    <a:gd name="T26" fmla="*/ 1 w 88"/>
                    <a:gd name="T27" fmla="*/ 1 h 80"/>
                    <a:gd name="T28" fmla="*/ 1 w 88"/>
                    <a:gd name="T29" fmla="*/ 1 h 80"/>
                    <a:gd name="T30" fmla="*/ 1 w 88"/>
                    <a:gd name="T31" fmla="*/ 1 h 80"/>
                    <a:gd name="T32" fmla="*/ 1 w 88"/>
                    <a:gd name="T33" fmla="*/ 1 h 80"/>
                    <a:gd name="T34" fmla="*/ 1 w 88"/>
                    <a:gd name="T35" fmla="*/ 1 h 80"/>
                    <a:gd name="T36" fmla="*/ 1 w 88"/>
                    <a:gd name="T37" fmla="*/ 1 h 80"/>
                    <a:gd name="T38" fmla="*/ 1 w 88"/>
                    <a:gd name="T39" fmla="*/ 0 h 80"/>
                    <a:gd name="T40" fmla="*/ 1 w 88"/>
                    <a:gd name="T41" fmla="*/ 1 h 80"/>
                    <a:gd name="T42" fmla="*/ 1 w 88"/>
                    <a:gd name="T43" fmla="*/ 1 h 80"/>
                    <a:gd name="T44" fmla="*/ 1 w 88"/>
                    <a:gd name="T45" fmla="*/ 1 h 80"/>
                    <a:gd name="T46" fmla="*/ 1 w 88"/>
                    <a:gd name="T47" fmla="*/ 1 h 80"/>
                    <a:gd name="T48" fmla="*/ 1 w 88"/>
                    <a:gd name="T49" fmla="*/ 1 h 80"/>
                    <a:gd name="T50" fmla="*/ 1 w 88"/>
                    <a:gd name="T51" fmla="*/ 1 h 80"/>
                    <a:gd name="T52" fmla="*/ 1 w 88"/>
                    <a:gd name="T53" fmla="*/ 1 h 80"/>
                    <a:gd name="T54" fmla="*/ 1 w 88"/>
                    <a:gd name="T55" fmla="*/ 1 h 80"/>
                    <a:gd name="T56" fmla="*/ 1 w 88"/>
                    <a:gd name="T57" fmla="*/ 1 h 80"/>
                    <a:gd name="T58" fmla="*/ 1 w 88"/>
                    <a:gd name="T59" fmla="*/ 1 h 80"/>
                    <a:gd name="T60" fmla="*/ 0 w 88"/>
                    <a:gd name="T61" fmla="*/ 1 h 80"/>
                    <a:gd name="T62" fmla="*/ 0 w 88"/>
                    <a:gd name="T63" fmla="*/ 1 h 80"/>
                    <a:gd name="T64" fmla="*/ 0 w 88"/>
                    <a:gd name="T65" fmla="*/ 1 h 80"/>
                    <a:gd name="T66" fmla="*/ 1 w 88"/>
                    <a:gd name="T67" fmla="*/ 1 h 80"/>
                    <a:gd name="T68" fmla="*/ 1 w 88"/>
                    <a:gd name="T69" fmla="*/ 1 h 80"/>
                    <a:gd name="T70" fmla="*/ 1 w 88"/>
                    <a:gd name="T71" fmla="*/ 1 h 80"/>
                    <a:gd name="T72" fmla="*/ 1 w 88"/>
                    <a:gd name="T73" fmla="*/ 1 h 80"/>
                    <a:gd name="T74" fmla="*/ 1 w 88"/>
                    <a:gd name="T75" fmla="*/ 1 h 80"/>
                    <a:gd name="T76" fmla="*/ 1 w 88"/>
                    <a:gd name="T77" fmla="*/ 1 h 80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88"/>
                    <a:gd name="T118" fmla="*/ 0 h 80"/>
                    <a:gd name="T119" fmla="*/ 88 w 88"/>
                    <a:gd name="T120" fmla="*/ 80 h 80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88" h="80">
                      <a:moveTo>
                        <a:pt x="40" y="40"/>
                      </a:moveTo>
                      <a:lnTo>
                        <a:pt x="48" y="40"/>
                      </a:lnTo>
                      <a:lnTo>
                        <a:pt x="40" y="56"/>
                      </a:lnTo>
                      <a:lnTo>
                        <a:pt x="56" y="72"/>
                      </a:lnTo>
                      <a:lnTo>
                        <a:pt x="64" y="72"/>
                      </a:lnTo>
                      <a:lnTo>
                        <a:pt x="64" y="64"/>
                      </a:lnTo>
                      <a:lnTo>
                        <a:pt x="64" y="72"/>
                      </a:lnTo>
                      <a:lnTo>
                        <a:pt x="72" y="80"/>
                      </a:lnTo>
                      <a:lnTo>
                        <a:pt x="72" y="72"/>
                      </a:lnTo>
                      <a:lnTo>
                        <a:pt x="72" y="64"/>
                      </a:lnTo>
                      <a:lnTo>
                        <a:pt x="64" y="56"/>
                      </a:lnTo>
                      <a:lnTo>
                        <a:pt x="64" y="48"/>
                      </a:lnTo>
                      <a:lnTo>
                        <a:pt x="72" y="48"/>
                      </a:lnTo>
                      <a:lnTo>
                        <a:pt x="80" y="56"/>
                      </a:lnTo>
                      <a:lnTo>
                        <a:pt x="88" y="48"/>
                      </a:lnTo>
                      <a:lnTo>
                        <a:pt x="88" y="32"/>
                      </a:lnTo>
                      <a:lnTo>
                        <a:pt x="88" y="24"/>
                      </a:lnTo>
                      <a:lnTo>
                        <a:pt x="88" y="16"/>
                      </a:lnTo>
                      <a:lnTo>
                        <a:pt x="80" y="8"/>
                      </a:lnTo>
                      <a:lnTo>
                        <a:pt x="64" y="0"/>
                      </a:lnTo>
                      <a:lnTo>
                        <a:pt x="72" y="8"/>
                      </a:lnTo>
                      <a:lnTo>
                        <a:pt x="64" y="8"/>
                      </a:lnTo>
                      <a:lnTo>
                        <a:pt x="56" y="8"/>
                      </a:lnTo>
                      <a:lnTo>
                        <a:pt x="56" y="16"/>
                      </a:lnTo>
                      <a:lnTo>
                        <a:pt x="48" y="16"/>
                      </a:lnTo>
                      <a:lnTo>
                        <a:pt x="48" y="24"/>
                      </a:lnTo>
                      <a:lnTo>
                        <a:pt x="40" y="32"/>
                      </a:lnTo>
                      <a:lnTo>
                        <a:pt x="40" y="16"/>
                      </a:lnTo>
                      <a:lnTo>
                        <a:pt x="24" y="16"/>
                      </a:lnTo>
                      <a:lnTo>
                        <a:pt x="8" y="32"/>
                      </a:lnTo>
                      <a:lnTo>
                        <a:pt x="0" y="32"/>
                      </a:lnTo>
                      <a:lnTo>
                        <a:pt x="0" y="40"/>
                      </a:lnTo>
                      <a:lnTo>
                        <a:pt x="0" y="48"/>
                      </a:lnTo>
                      <a:lnTo>
                        <a:pt x="8" y="40"/>
                      </a:lnTo>
                      <a:lnTo>
                        <a:pt x="16" y="32"/>
                      </a:lnTo>
                      <a:lnTo>
                        <a:pt x="16" y="40"/>
                      </a:lnTo>
                      <a:lnTo>
                        <a:pt x="24" y="40"/>
                      </a:lnTo>
                      <a:lnTo>
                        <a:pt x="32" y="40"/>
                      </a:lnTo>
                      <a:lnTo>
                        <a:pt x="40" y="4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79" name="Freeform 100"/>
                <p:cNvSpPr>
                  <a:spLocks noChangeAspect="1"/>
                </p:cNvSpPr>
                <p:nvPr/>
              </p:nvSpPr>
              <p:spPr bwMode="auto">
                <a:xfrm>
                  <a:off x="4584" y="2926"/>
                  <a:ext cx="11" cy="11"/>
                </a:xfrm>
                <a:custGeom>
                  <a:avLst/>
                  <a:gdLst>
                    <a:gd name="T0" fmla="*/ 0 w 16"/>
                    <a:gd name="T1" fmla="*/ 1 h 16"/>
                    <a:gd name="T2" fmla="*/ 0 w 16"/>
                    <a:gd name="T3" fmla="*/ 0 h 16"/>
                    <a:gd name="T4" fmla="*/ 1 w 16"/>
                    <a:gd name="T5" fmla="*/ 0 h 16"/>
                    <a:gd name="T6" fmla="*/ 1 w 16"/>
                    <a:gd name="T7" fmla="*/ 1 h 16"/>
                    <a:gd name="T8" fmla="*/ 1 w 16"/>
                    <a:gd name="T9" fmla="*/ 1 h 16"/>
                    <a:gd name="T10" fmla="*/ 1 w 16"/>
                    <a:gd name="T11" fmla="*/ 1 h 16"/>
                    <a:gd name="T12" fmla="*/ 0 w 16"/>
                    <a:gd name="T13" fmla="*/ 1 h 1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6"/>
                    <a:gd name="T22" fmla="*/ 0 h 16"/>
                    <a:gd name="T23" fmla="*/ 16 w 16"/>
                    <a:gd name="T24" fmla="*/ 16 h 1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6" h="16">
                      <a:moveTo>
                        <a:pt x="0" y="8"/>
                      </a:moveTo>
                      <a:lnTo>
                        <a:pt x="0" y="0"/>
                      </a:lnTo>
                      <a:lnTo>
                        <a:pt x="16" y="0"/>
                      </a:lnTo>
                      <a:lnTo>
                        <a:pt x="16" y="8"/>
                      </a:lnTo>
                      <a:lnTo>
                        <a:pt x="16" y="16"/>
                      </a:lnTo>
                      <a:lnTo>
                        <a:pt x="8" y="16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80" name="Freeform 101"/>
                <p:cNvSpPr>
                  <a:spLocks noChangeAspect="1"/>
                </p:cNvSpPr>
                <p:nvPr/>
              </p:nvSpPr>
              <p:spPr bwMode="auto">
                <a:xfrm>
                  <a:off x="4607" y="2926"/>
                  <a:ext cx="45" cy="17"/>
                </a:xfrm>
                <a:custGeom>
                  <a:avLst/>
                  <a:gdLst>
                    <a:gd name="T0" fmla="*/ 0 w 64"/>
                    <a:gd name="T1" fmla="*/ 1 h 24"/>
                    <a:gd name="T2" fmla="*/ 1 w 64"/>
                    <a:gd name="T3" fmla="*/ 0 h 24"/>
                    <a:gd name="T4" fmla="*/ 1 w 64"/>
                    <a:gd name="T5" fmla="*/ 0 h 24"/>
                    <a:gd name="T6" fmla="*/ 1 w 64"/>
                    <a:gd name="T7" fmla="*/ 0 h 24"/>
                    <a:gd name="T8" fmla="*/ 1 w 64"/>
                    <a:gd name="T9" fmla="*/ 1 h 24"/>
                    <a:gd name="T10" fmla="*/ 1 w 64"/>
                    <a:gd name="T11" fmla="*/ 1 h 24"/>
                    <a:gd name="T12" fmla="*/ 1 w 64"/>
                    <a:gd name="T13" fmla="*/ 1 h 24"/>
                    <a:gd name="T14" fmla="*/ 1 w 64"/>
                    <a:gd name="T15" fmla="*/ 1 h 24"/>
                    <a:gd name="T16" fmla="*/ 1 w 64"/>
                    <a:gd name="T17" fmla="*/ 1 h 24"/>
                    <a:gd name="T18" fmla="*/ 1 w 64"/>
                    <a:gd name="T19" fmla="*/ 1 h 24"/>
                    <a:gd name="T20" fmla="*/ 1 w 64"/>
                    <a:gd name="T21" fmla="*/ 1 h 24"/>
                    <a:gd name="T22" fmla="*/ 1 w 64"/>
                    <a:gd name="T23" fmla="*/ 1 h 24"/>
                    <a:gd name="T24" fmla="*/ 0 w 64"/>
                    <a:gd name="T25" fmla="*/ 1 h 24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64"/>
                    <a:gd name="T40" fmla="*/ 0 h 24"/>
                    <a:gd name="T41" fmla="*/ 64 w 64"/>
                    <a:gd name="T42" fmla="*/ 24 h 24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64" h="24">
                      <a:moveTo>
                        <a:pt x="0" y="8"/>
                      </a:moveTo>
                      <a:lnTo>
                        <a:pt x="16" y="0"/>
                      </a:lnTo>
                      <a:lnTo>
                        <a:pt x="40" y="0"/>
                      </a:lnTo>
                      <a:lnTo>
                        <a:pt x="48" y="0"/>
                      </a:lnTo>
                      <a:lnTo>
                        <a:pt x="56" y="8"/>
                      </a:lnTo>
                      <a:lnTo>
                        <a:pt x="64" y="8"/>
                      </a:lnTo>
                      <a:lnTo>
                        <a:pt x="64" y="16"/>
                      </a:lnTo>
                      <a:lnTo>
                        <a:pt x="56" y="24"/>
                      </a:lnTo>
                      <a:lnTo>
                        <a:pt x="40" y="8"/>
                      </a:lnTo>
                      <a:lnTo>
                        <a:pt x="24" y="8"/>
                      </a:lnTo>
                      <a:lnTo>
                        <a:pt x="16" y="8"/>
                      </a:lnTo>
                      <a:lnTo>
                        <a:pt x="8" y="16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81" name="Freeform 102"/>
                <p:cNvSpPr>
                  <a:spLocks noChangeAspect="1"/>
                </p:cNvSpPr>
                <p:nvPr/>
              </p:nvSpPr>
              <p:spPr bwMode="auto">
                <a:xfrm>
                  <a:off x="4556" y="2909"/>
                  <a:ext cx="22" cy="5"/>
                </a:xfrm>
                <a:custGeom>
                  <a:avLst/>
                  <a:gdLst>
                    <a:gd name="T0" fmla="*/ 0 w 32"/>
                    <a:gd name="T1" fmla="*/ 1 h 8"/>
                    <a:gd name="T2" fmla="*/ 0 w 32"/>
                    <a:gd name="T3" fmla="*/ 0 h 8"/>
                    <a:gd name="T4" fmla="*/ 1 w 32"/>
                    <a:gd name="T5" fmla="*/ 0 h 8"/>
                    <a:gd name="T6" fmla="*/ 1 w 32"/>
                    <a:gd name="T7" fmla="*/ 0 h 8"/>
                    <a:gd name="T8" fmla="*/ 1 w 32"/>
                    <a:gd name="T9" fmla="*/ 0 h 8"/>
                    <a:gd name="T10" fmla="*/ 1 w 32"/>
                    <a:gd name="T11" fmla="*/ 1 h 8"/>
                    <a:gd name="T12" fmla="*/ 0 w 32"/>
                    <a:gd name="T13" fmla="*/ 1 h 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2"/>
                    <a:gd name="T22" fmla="*/ 0 h 8"/>
                    <a:gd name="T23" fmla="*/ 32 w 32"/>
                    <a:gd name="T24" fmla="*/ 8 h 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2" h="8">
                      <a:moveTo>
                        <a:pt x="0" y="8"/>
                      </a:moveTo>
                      <a:lnTo>
                        <a:pt x="0" y="0"/>
                      </a:lnTo>
                      <a:lnTo>
                        <a:pt x="8" y="0"/>
                      </a:lnTo>
                      <a:lnTo>
                        <a:pt x="16" y="0"/>
                      </a:lnTo>
                      <a:lnTo>
                        <a:pt x="32" y="0"/>
                      </a:lnTo>
                      <a:lnTo>
                        <a:pt x="32" y="8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82" name="Freeform 103"/>
                <p:cNvSpPr>
                  <a:spLocks noChangeAspect="1"/>
                </p:cNvSpPr>
                <p:nvPr/>
              </p:nvSpPr>
              <p:spPr bwMode="auto">
                <a:xfrm>
                  <a:off x="4792" y="2920"/>
                  <a:ext cx="141" cy="118"/>
                </a:xfrm>
                <a:custGeom>
                  <a:avLst/>
                  <a:gdLst>
                    <a:gd name="T0" fmla="*/ 0 w 200"/>
                    <a:gd name="T1" fmla="*/ 0 h 168"/>
                    <a:gd name="T2" fmla="*/ 1 w 200"/>
                    <a:gd name="T3" fmla="*/ 1 h 168"/>
                    <a:gd name="T4" fmla="*/ 1 w 200"/>
                    <a:gd name="T5" fmla="*/ 1 h 168"/>
                    <a:gd name="T6" fmla="*/ 1 w 200"/>
                    <a:gd name="T7" fmla="*/ 1 h 168"/>
                    <a:gd name="T8" fmla="*/ 1 w 200"/>
                    <a:gd name="T9" fmla="*/ 1 h 168"/>
                    <a:gd name="T10" fmla="*/ 1 w 200"/>
                    <a:gd name="T11" fmla="*/ 1 h 168"/>
                    <a:gd name="T12" fmla="*/ 1 w 200"/>
                    <a:gd name="T13" fmla="*/ 1 h 168"/>
                    <a:gd name="T14" fmla="*/ 1 w 200"/>
                    <a:gd name="T15" fmla="*/ 1 h 168"/>
                    <a:gd name="T16" fmla="*/ 1 w 200"/>
                    <a:gd name="T17" fmla="*/ 1 h 168"/>
                    <a:gd name="T18" fmla="*/ 1 w 200"/>
                    <a:gd name="T19" fmla="*/ 1 h 168"/>
                    <a:gd name="T20" fmla="*/ 1 w 200"/>
                    <a:gd name="T21" fmla="*/ 1 h 168"/>
                    <a:gd name="T22" fmla="*/ 1 w 200"/>
                    <a:gd name="T23" fmla="*/ 1 h 168"/>
                    <a:gd name="T24" fmla="*/ 1 w 200"/>
                    <a:gd name="T25" fmla="*/ 1 h 168"/>
                    <a:gd name="T26" fmla="*/ 1 w 200"/>
                    <a:gd name="T27" fmla="*/ 1 h 168"/>
                    <a:gd name="T28" fmla="*/ 1 w 200"/>
                    <a:gd name="T29" fmla="*/ 1 h 168"/>
                    <a:gd name="T30" fmla="*/ 1 w 200"/>
                    <a:gd name="T31" fmla="*/ 1 h 168"/>
                    <a:gd name="T32" fmla="*/ 1 w 200"/>
                    <a:gd name="T33" fmla="*/ 1 h 168"/>
                    <a:gd name="T34" fmla="*/ 1 w 200"/>
                    <a:gd name="T35" fmla="*/ 1 h 168"/>
                    <a:gd name="T36" fmla="*/ 1 w 200"/>
                    <a:gd name="T37" fmla="*/ 1 h 168"/>
                    <a:gd name="T38" fmla="*/ 1 w 200"/>
                    <a:gd name="T39" fmla="*/ 1 h 168"/>
                    <a:gd name="T40" fmla="*/ 1 w 200"/>
                    <a:gd name="T41" fmla="*/ 1 h 168"/>
                    <a:gd name="T42" fmla="*/ 1 w 200"/>
                    <a:gd name="T43" fmla="*/ 1 h 168"/>
                    <a:gd name="T44" fmla="*/ 1 w 200"/>
                    <a:gd name="T45" fmla="*/ 1 h 168"/>
                    <a:gd name="T46" fmla="*/ 1 w 200"/>
                    <a:gd name="T47" fmla="*/ 1 h 168"/>
                    <a:gd name="T48" fmla="*/ 1 w 200"/>
                    <a:gd name="T49" fmla="*/ 1 h 168"/>
                    <a:gd name="T50" fmla="*/ 1 w 200"/>
                    <a:gd name="T51" fmla="*/ 1 h 168"/>
                    <a:gd name="T52" fmla="*/ 1 w 200"/>
                    <a:gd name="T53" fmla="*/ 1 h 168"/>
                    <a:gd name="T54" fmla="*/ 1 w 200"/>
                    <a:gd name="T55" fmla="*/ 1 h 168"/>
                    <a:gd name="T56" fmla="*/ 1 w 200"/>
                    <a:gd name="T57" fmla="*/ 1 h 168"/>
                    <a:gd name="T58" fmla="*/ 1 w 200"/>
                    <a:gd name="T59" fmla="*/ 1 h 168"/>
                    <a:gd name="T60" fmla="*/ 1 w 200"/>
                    <a:gd name="T61" fmla="*/ 1 h 168"/>
                    <a:gd name="T62" fmla="*/ 1 w 200"/>
                    <a:gd name="T63" fmla="*/ 1 h 168"/>
                    <a:gd name="T64" fmla="*/ 1 w 200"/>
                    <a:gd name="T65" fmla="*/ 1 h 168"/>
                    <a:gd name="T66" fmla="*/ 1 w 200"/>
                    <a:gd name="T67" fmla="*/ 1 h 168"/>
                    <a:gd name="T68" fmla="*/ 1 w 200"/>
                    <a:gd name="T69" fmla="*/ 1 h 168"/>
                    <a:gd name="T70" fmla="*/ 0 w 200"/>
                    <a:gd name="T71" fmla="*/ 1 h 168"/>
                    <a:gd name="T72" fmla="*/ 0 w 200"/>
                    <a:gd name="T73" fmla="*/ 1 h 168"/>
                    <a:gd name="T74" fmla="*/ 1 w 200"/>
                    <a:gd name="T75" fmla="*/ 1 h 168"/>
                    <a:gd name="T76" fmla="*/ 0 w 200"/>
                    <a:gd name="T77" fmla="*/ 0 h 168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200"/>
                    <a:gd name="T118" fmla="*/ 0 h 168"/>
                    <a:gd name="T119" fmla="*/ 200 w 200"/>
                    <a:gd name="T120" fmla="*/ 168 h 168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200" h="168">
                      <a:moveTo>
                        <a:pt x="0" y="0"/>
                      </a:moveTo>
                      <a:lnTo>
                        <a:pt x="24" y="8"/>
                      </a:lnTo>
                      <a:lnTo>
                        <a:pt x="56" y="24"/>
                      </a:lnTo>
                      <a:lnTo>
                        <a:pt x="64" y="24"/>
                      </a:lnTo>
                      <a:lnTo>
                        <a:pt x="88" y="40"/>
                      </a:lnTo>
                      <a:lnTo>
                        <a:pt x="96" y="48"/>
                      </a:lnTo>
                      <a:lnTo>
                        <a:pt x="104" y="64"/>
                      </a:lnTo>
                      <a:lnTo>
                        <a:pt x="136" y="72"/>
                      </a:lnTo>
                      <a:lnTo>
                        <a:pt x="144" y="80"/>
                      </a:lnTo>
                      <a:lnTo>
                        <a:pt x="136" y="88"/>
                      </a:lnTo>
                      <a:lnTo>
                        <a:pt x="128" y="88"/>
                      </a:lnTo>
                      <a:lnTo>
                        <a:pt x="128" y="96"/>
                      </a:lnTo>
                      <a:lnTo>
                        <a:pt x="136" y="112"/>
                      </a:lnTo>
                      <a:lnTo>
                        <a:pt x="152" y="112"/>
                      </a:lnTo>
                      <a:lnTo>
                        <a:pt x="152" y="120"/>
                      </a:lnTo>
                      <a:lnTo>
                        <a:pt x="160" y="136"/>
                      </a:lnTo>
                      <a:lnTo>
                        <a:pt x="176" y="144"/>
                      </a:lnTo>
                      <a:lnTo>
                        <a:pt x="200" y="160"/>
                      </a:lnTo>
                      <a:lnTo>
                        <a:pt x="200" y="168"/>
                      </a:lnTo>
                      <a:lnTo>
                        <a:pt x="176" y="160"/>
                      </a:lnTo>
                      <a:lnTo>
                        <a:pt x="160" y="160"/>
                      </a:lnTo>
                      <a:lnTo>
                        <a:pt x="144" y="160"/>
                      </a:lnTo>
                      <a:lnTo>
                        <a:pt x="128" y="152"/>
                      </a:lnTo>
                      <a:lnTo>
                        <a:pt x="128" y="136"/>
                      </a:lnTo>
                      <a:lnTo>
                        <a:pt x="120" y="128"/>
                      </a:lnTo>
                      <a:lnTo>
                        <a:pt x="112" y="120"/>
                      </a:lnTo>
                      <a:lnTo>
                        <a:pt x="96" y="112"/>
                      </a:lnTo>
                      <a:lnTo>
                        <a:pt x="80" y="104"/>
                      </a:lnTo>
                      <a:lnTo>
                        <a:pt x="64" y="104"/>
                      </a:lnTo>
                      <a:lnTo>
                        <a:pt x="64" y="120"/>
                      </a:lnTo>
                      <a:lnTo>
                        <a:pt x="48" y="120"/>
                      </a:lnTo>
                      <a:lnTo>
                        <a:pt x="56" y="136"/>
                      </a:lnTo>
                      <a:lnTo>
                        <a:pt x="48" y="136"/>
                      </a:lnTo>
                      <a:lnTo>
                        <a:pt x="8" y="136"/>
                      </a:lnTo>
                      <a:lnTo>
                        <a:pt x="8" y="96"/>
                      </a:lnTo>
                      <a:lnTo>
                        <a:pt x="0" y="88"/>
                      </a:lnTo>
                      <a:lnTo>
                        <a:pt x="0" y="80"/>
                      </a:lnTo>
                      <a:lnTo>
                        <a:pt x="8" y="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83" name="Freeform 104"/>
                <p:cNvSpPr>
                  <a:spLocks noChangeAspect="1"/>
                </p:cNvSpPr>
                <p:nvPr/>
              </p:nvSpPr>
              <p:spPr bwMode="auto">
                <a:xfrm>
                  <a:off x="4747" y="2988"/>
                  <a:ext cx="17" cy="16"/>
                </a:xfrm>
                <a:custGeom>
                  <a:avLst/>
                  <a:gdLst>
                    <a:gd name="T0" fmla="*/ 1 w 24"/>
                    <a:gd name="T1" fmla="*/ 0 h 24"/>
                    <a:gd name="T2" fmla="*/ 1 w 24"/>
                    <a:gd name="T3" fmla="*/ 1 h 24"/>
                    <a:gd name="T4" fmla="*/ 1 w 24"/>
                    <a:gd name="T5" fmla="*/ 1 h 24"/>
                    <a:gd name="T6" fmla="*/ 0 w 24"/>
                    <a:gd name="T7" fmla="*/ 1 h 24"/>
                    <a:gd name="T8" fmla="*/ 0 w 24"/>
                    <a:gd name="T9" fmla="*/ 1 h 24"/>
                    <a:gd name="T10" fmla="*/ 1 w 24"/>
                    <a:gd name="T11" fmla="*/ 0 h 24"/>
                    <a:gd name="T12" fmla="*/ 1 w 24"/>
                    <a:gd name="T13" fmla="*/ 0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4"/>
                    <a:gd name="T22" fmla="*/ 0 h 24"/>
                    <a:gd name="T23" fmla="*/ 24 w 24"/>
                    <a:gd name="T24" fmla="*/ 24 h 2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4" h="24">
                      <a:moveTo>
                        <a:pt x="16" y="0"/>
                      </a:moveTo>
                      <a:lnTo>
                        <a:pt x="24" y="8"/>
                      </a:lnTo>
                      <a:lnTo>
                        <a:pt x="24" y="24"/>
                      </a:lnTo>
                      <a:lnTo>
                        <a:pt x="0" y="24"/>
                      </a:lnTo>
                      <a:lnTo>
                        <a:pt x="0" y="16"/>
                      </a:lnTo>
                      <a:lnTo>
                        <a:pt x="8" y="0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84" name="Freeform 105"/>
                <p:cNvSpPr>
                  <a:spLocks noChangeAspect="1"/>
                </p:cNvSpPr>
                <p:nvPr/>
              </p:nvSpPr>
              <p:spPr bwMode="auto">
                <a:xfrm>
                  <a:off x="4713" y="2892"/>
                  <a:ext cx="17" cy="11"/>
                </a:xfrm>
                <a:custGeom>
                  <a:avLst/>
                  <a:gdLst>
                    <a:gd name="T0" fmla="*/ 0 w 24"/>
                    <a:gd name="T1" fmla="*/ 0 h 16"/>
                    <a:gd name="T2" fmla="*/ 1 w 24"/>
                    <a:gd name="T3" fmla="*/ 1 h 16"/>
                    <a:gd name="T4" fmla="*/ 1 w 24"/>
                    <a:gd name="T5" fmla="*/ 1 h 16"/>
                    <a:gd name="T6" fmla="*/ 1 w 24"/>
                    <a:gd name="T7" fmla="*/ 0 h 16"/>
                    <a:gd name="T8" fmla="*/ 0 w 24"/>
                    <a:gd name="T9" fmla="*/ 0 h 1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4"/>
                    <a:gd name="T16" fmla="*/ 0 h 16"/>
                    <a:gd name="T17" fmla="*/ 24 w 24"/>
                    <a:gd name="T18" fmla="*/ 16 h 1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4" h="16">
                      <a:moveTo>
                        <a:pt x="0" y="0"/>
                      </a:moveTo>
                      <a:lnTo>
                        <a:pt x="16" y="16"/>
                      </a:lnTo>
                      <a:lnTo>
                        <a:pt x="24" y="16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85" name="Freeform 106"/>
                <p:cNvSpPr>
                  <a:spLocks noChangeAspect="1"/>
                </p:cNvSpPr>
                <p:nvPr/>
              </p:nvSpPr>
              <p:spPr bwMode="auto">
                <a:xfrm>
                  <a:off x="4899" y="2943"/>
                  <a:ext cx="56" cy="28"/>
                </a:xfrm>
                <a:custGeom>
                  <a:avLst/>
                  <a:gdLst>
                    <a:gd name="T0" fmla="*/ 1 w 80"/>
                    <a:gd name="T1" fmla="*/ 0 h 40"/>
                    <a:gd name="T2" fmla="*/ 1 w 80"/>
                    <a:gd name="T3" fmla="*/ 1 h 40"/>
                    <a:gd name="T4" fmla="*/ 1 w 80"/>
                    <a:gd name="T5" fmla="*/ 1 h 40"/>
                    <a:gd name="T6" fmla="*/ 1 w 80"/>
                    <a:gd name="T7" fmla="*/ 1 h 40"/>
                    <a:gd name="T8" fmla="*/ 1 w 80"/>
                    <a:gd name="T9" fmla="*/ 1 h 40"/>
                    <a:gd name="T10" fmla="*/ 0 w 80"/>
                    <a:gd name="T11" fmla="*/ 1 h 40"/>
                    <a:gd name="T12" fmla="*/ 0 w 80"/>
                    <a:gd name="T13" fmla="*/ 1 h 40"/>
                    <a:gd name="T14" fmla="*/ 1 w 80"/>
                    <a:gd name="T15" fmla="*/ 1 h 40"/>
                    <a:gd name="T16" fmla="*/ 1 w 80"/>
                    <a:gd name="T17" fmla="*/ 1 h 40"/>
                    <a:gd name="T18" fmla="*/ 1 w 80"/>
                    <a:gd name="T19" fmla="*/ 1 h 40"/>
                    <a:gd name="T20" fmla="*/ 1 w 80"/>
                    <a:gd name="T21" fmla="*/ 1 h 40"/>
                    <a:gd name="T22" fmla="*/ 1 w 80"/>
                    <a:gd name="T23" fmla="*/ 1 h 40"/>
                    <a:gd name="T24" fmla="*/ 1 w 80"/>
                    <a:gd name="T25" fmla="*/ 0 h 40"/>
                    <a:gd name="T26" fmla="*/ 1 w 80"/>
                    <a:gd name="T27" fmla="*/ 0 h 40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80"/>
                    <a:gd name="T43" fmla="*/ 0 h 40"/>
                    <a:gd name="T44" fmla="*/ 80 w 80"/>
                    <a:gd name="T45" fmla="*/ 40 h 40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80" h="40">
                      <a:moveTo>
                        <a:pt x="72" y="0"/>
                      </a:moveTo>
                      <a:lnTo>
                        <a:pt x="64" y="16"/>
                      </a:lnTo>
                      <a:lnTo>
                        <a:pt x="48" y="32"/>
                      </a:lnTo>
                      <a:lnTo>
                        <a:pt x="32" y="32"/>
                      </a:lnTo>
                      <a:lnTo>
                        <a:pt x="16" y="24"/>
                      </a:lnTo>
                      <a:lnTo>
                        <a:pt x="0" y="24"/>
                      </a:lnTo>
                      <a:lnTo>
                        <a:pt x="0" y="32"/>
                      </a:lnTo>
                      <a:lnTo>
                        <a:pt x="16" y="40"/>
                      </a:lnTo>
                      <a:lnTo>
                        <a:pt x="40" y="40"/>
                      </a:lnTo>
                      <a:lnTo>
                        <a:pt x="72" y="32"/>
                      </a:lnTo>
                      <a:lnTo>
                        <a:pt x="80" y="32"/>
                      </a:lnTo>
                      <a:lnTo>
                        <a:pt x="80" y="8"/>
                      </a:lnTo>
                      <a:lnTo>
                        <a:pt x="80" y="0"/>
                      </a:lnTo>
                      <a:lnTo>
                        <a:pt x="72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86" name="Freeform 107"/>
                <p:cNvSpPr>
                  <a:spLocks noChangeAspect="1"/>
                </p:cNvSpPr>
                <p:nvPr/>
              </p:nvSpPr>
              <p:spPr bwMode="auto">
                <a:xfrm>
                  <a:off x="4922" y="2920"/>
                  <a:ext cx="45" cy="28"/>
                </a:xfrm>
                <a:custGeom>
                  <a:avLst/>
                  <a:gdLst>
                    <a:gd name="T0" fmla="*/ 1 w 64"/>
                    <a:gd name="T1" fmla="*/ 0 h 40"/>
                    <a:gd name="T2" fmla="*/ 1 w 64"/>
                    <a:gd name="T3" fmla="*/ 0 h 40"/>
                    <a:gd name="T4" fmla="*/ 1 w 64"/>
                    <a:gd name="T5" fmla="*/ 0 h 40"/>
                    <a:gd name="T6" fmla="*/ 1 w 64"/>
                    <a:gd name="T7" fmla="*/ 1 h 40"/>
                    <a:gd name="T8" fmla="*/ 1 w 64"/>
                    <a:gd name="T9" fmla="*/ 1 h 40"/>
                    <a:gd name="T10" fmla="*/ 1 w 64"/>
                    <a:gd name="T11" fmla="*/ 1 h 40"/>
                    <a:gd name="T12" fmla="*/ 1 w 64"/>
                    <a:gd name="T13" fmla="*/ 1 h 40"/>
                    <a:gd name="T14" fmla="*/ 1 w 64"/>
                    <a:gd name="T15" fmla="*/ 1 h 40"/>
                    <a:gd name="T16" fmla="*/ 1 w 64"/>
                    <a:gd name="T17" fmla="*/ 1 h 40"/>
                    <a:gd name="T18" fmla="*/ 1 w 64"/>
                    <a:gd name="T19" fmla="*/ 1 h 40"/>
                    <a:gd name="T20" fmla="*/ 1 w 64"/>
                    <a:gd name="T21" fmla="*/ 1 h 40"/>
                    <a:gd name="T22" fmla="*/ 1 w 64"/>
                    <a:gd name="T23" fmla="*/ 1 h 40"/>
                    <a:gd name="T24" fmla="*/ 0 w 64"/>
                    <a:gd name="T25" fmla="*/ 0 h 40"/>
                    <a:gd name="T26" fmla="*/ 1 w 64"/>
                    <a:gd name="T27" fmla="*/ 0 h 40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64"/>
                    <a:gd name="T43" fmla="*/ 0 h 40"/>
                    <a:gd name="T44" fmla="*/ 64 w 64"/>
                    <a:gd name="T45" fmla="*/ 40 h 40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64" h="40">
                      <a:moveTo>
                        <a:pt x="8" y="0"/>
                      </a:moveTo>
                      <a:lnTo>
                        <a:pt x="16" y="0"/>
                      </a:lnTo>
                      <a:lnTo>
                        <a:pt x="32" y="0"/>
                      </a:lnTo>
                      <a:lnTo>
                        <a:pt x="40" y="8"/>
                      </a:lnTo>
                      <a:lnTo>
                        <a:pt x="56" y="24"/>
                      </a:lnTo>
                      <a:lnTo>
                        <a:pt x="64" y="24"/>
                      </a:lnTo>
                      <a:lnTo>
                        <a:pt x="64" y="40"/>
                      </a:lnTo>
                      <a:lnTo>
                        <a:pt x="56" y="40"/>
                      </a:lnTo>
                      <a:lnTo>
                        <a:pt x="48" y="24"/>
                      </a:lnTo>
                      <a:lnTo>
                        <a:pt x="40" y="24"/>
                      </a:lnTo>
                      <a:lnTo>
                        <a:pt x="32" y="8"/>
                      </a:lnTo>
                      <a:lnTo>
                        <a:pt x="16" y="8"/>
                      </a:lnTo>
                      <a:lnTo>
                        <a:pt x="0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87" name="Freeform 108"/>
                <p:cNvSpPr>
                  <a:spLocks noChangeAspect="1"/>
                </p:cNvSpPr>
                <p:nvPr/>
              </p:nvSpPr>
              <p:spPr bwMode="auto">
                <a:xfrm>
                  <a:off x="4989" y="2959"/>
                  <a:ext cx="17" cy="23"/>
                </a:xfrm>
                <a:custGeom>
                  <a:avLst/>
                  <a:gdLst>
                    <a:gd name="T0" fmla="*/ 0 w 24"/>
                    <a:gd name="T1" fmla="*/ 1 h 32"/>
                    <a:gd name="T2" fmla="*/ 1 w 24"/>
                    <a:gd name="T3" fmla="*/ 0 h 32"/>
                    <a:gd name="T4" fmla="*/ 1 w 24"/>
                    <a:gd name="T5" fmla="*/ 1 h 32"/>
                    <a:gd name="T6" fmla="*/ 1 w 24"/>
                    <a:gd name="T7" fmla="*/ 1 h 32"/>
                    <a:gd name="T8" fmla="*/ 1 w 24"/>
                    <a:gd name="T9" fmla="*/ 1 h 32"/>
                    <a:gd name="T10" fmla="*/ 1 w 24"/>
                    <a:gd name="T11" fmla="*/ 1 h 32"/>
                    <a:gd name="T12" fmla="*/ 1 w 24"/>
                    <a:gd name="T13" fmla="*/ 1 h 32"/>
                    <a:gd name="T14" fmla="*/ 0 w 24"/>
                    <a:gd name="T15" fmla="*/ 1 h 3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4"/>
                    <a:gd name="T25" fmla="*/ 0 h 32"/>
                    <a:gd name="T26" fmla="*/ 24 w 24"/>
                    <a:gd name="T27" fmla="*/ 32 h 32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4" h="32">
                      <a:moveTo>
                        <a:pt x="0" y="8"/>
                      </a:moveTo>
                      <a:lnTo>
                        <a:pt x="8" y="0"/>
                      </a:lnTo>
                      <a:lnTo>
                        <a:pt x="24" y="16"/>
                      </a:lnTo>
                      <a:lnTo>
                        <a:pt x="24" y="24"/>
                      </a:lnTo>
                      <a:lnTo>
                        <a:pt x="24" y="32"/>
                      </a:lnTo>
                      <a:lnTo>
                        <a:pt x="16" y="24"/>
                      </a:lnTo>
                      <a:lnTo>
                        <a:pt x="8" y="8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88" name="Freeform 109"/>
                <p:cNvSpPr>
                  <a:spLocks noChangeAspect="1"/>
                </p:cNvSpPr>
                <p:nvPr/>
              </p:nvSpPr>
              <p:spPr bwMode="auto">
                <a:xfrm>
                  <a:off x="5017" y="2976"/>
                  <a:ext cx="12" cy="12"/>
                </a:xfrm>
                <a:custGeom>
                  <a:avLst/>
                  <a:gdLst>
                    <a:gd name="T0" fmla="*/ 0 w 16"/>
                    <a:gd name="T1" fmla="*/ 2 h 16"/>
                    <a:gd name="T2" fmla="*/ 0 w 16"/>
                    <a:gd name="T3" fmla="*/ 0 h 16"/>
                    <a:gd name="T4" fmla="*/ 2 w 16"/>
                    <a:gd name="T5" fmla="*/ 0 h 16"/>
                    <a:gd name="T6" fmla="*/ 2 w 16"/>
                    <a:gd name="T7" fmla="*/ 2 h 16"/>
                    <a:gd name="T8" fmla="*/ 0 w 16"/>
                    <a:gd name="T9" fmla="*/ 2 h 1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6"/>
                    <a:gd name="T16" fmla="*/ 0 h 16"/>
                    <a:gd name="T17" fmla="*/ 16 w 16"/>
                    <a:gd name="T18" fmla="*/ 16 h 1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6" h="16">
                      <a:moveTo>
                        <a:pt x="0" y="8"/>
                      </a:moveTo>
                      <a:lnTo>
                        <a:pt x="0" y="0"/>
                      </a:lnTo>
                      <a:lnTo>
                        <a:pt x="8" y="0"/>
                      </a:lnTo>
                      <a:lnTo>
                        <a:pt x="16" y="16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89" name="Freeform 110"/>
                <p:cNvSpPr>
                  <a:spLocks noChangeAspect="1"/>
                </p:cNvSpPr>
                <p:nvPr/>
              </p:nvSpPr>
              <p:spPr bwMode="auto">
                <a:xfrm>
                  <a:off x="5045" y="2988"/>
                  <a:ext cx="23" cy="16"/>
                </a:xfrm>
                <a:custGeom>
                  <a:avLst/>
                  <a:gdLst>
                    <a:gd name="T0" fmla="*/ 0 w 32"/>
                    <a:gd name="T1" fmla="*/ 1 h 24"/>
                    <a:gd name="T2" fmla="*/ 0 w 32"/>
                    <a:gd name="T3" fmla="*/ 1 h 24"/>
                    <a:gd name="T4" fmla="*/ 0 w 32"/>
                    <a:gd name="T5" fmla="*/ 0 h 24"/>
                    <a:gd name="T6" fmla="*/ 1 w 32"/>
                    <a:gd name="T7" fmla="*/ 1 h 24"/>
                    <a:gd name="T8" fmla="*/ 1 w 32"/>
                    <a:gd name="T9" fmla="*/ 1 h 24"/>
                    <a:gd name="T10" fmla="*/ 1 w 32"/>
                    <a:gd name="T11" fmla="*/ 1 h 24"/>
                    <a:gd name="T12" fmla="*/ 0 w 32"/>
                    <a:gd name="T13" fmla="*/ 1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2"/>
                    <a:gd name="T22" fmla="*/ 0 h 24"/>
                    <a:gd name="T23" fmla="*/ 32 w 32"/>
                    <a:gd name="T24" fmla="*/ 24 h 2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2" h="24">
                      <a:moveTo>
                        <a:pt x="0" y="16"/>
                      </a:move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24" y="16"/>
                      </a:lnTo>
                      <a:lnTo>
                        <a:pt x="32" y="24"/>
                      </a:lnTo>
                      <a:lnTo>
                        <a:pt x="24" y="24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90" name="Freeform 111"/>
                <p:cNvSpPr>
                  <a:spLocks noChangeAspect="1"/>
                </p:cNvSpPr>
                <p:nvPr/>
              </p:nvSpPr>
              <p:spPr bwMode="auto">
                <a:xfrm>
                  <a:off x="5074" y="3004"/>
                  <a:ext cx="16" cy="17"/>
                </a:xfrm>
                <a:custGeom>
                  <a:avLst/>
                  <a:gdLst>
                    <a:gd name="T0" fmla="*/ 1 w 24"/>
                    <a:gd name="T1" fmla="*/ 1 h 24"/>
                    <a:gd name="T2" fmla="*/ 0 w 24"/>
                    <a:gd name="T3" fmla="*/ 1 h 24"/>
                    <a:gd name="T4" fmla="*/ 1 w 24"/>
                    <a:gd name="T5" fmla="*/ 0 h 24"/>
                    <a:gd name="T6" fmla="*/ 1 w 24"/>
                    <a:gd name="T7" fmla="*/ 0 h 24"/>
                    <a:gd name="T8" fmla="*/ 1 w 24"/>
                    <a:gd name="T9" fmla="*/ 1 h 24"/>
                    <a:gd name="T10" fmla="*/ 1 w 24"/>
                    <a:gd name="T11" fmla="*/ 1 h 24"/>
                    <a:gd name="T12" fmla="*/ 1 w 24"/>
                    <a:gd name="T13" fmla="*/ 1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4"/>
                    <a:gd name="T22" fmla="*/ 0 h 24"/>
                    <a:gd name="T23" fmla="*/ 24 w 24"/>
                    <a:gd name="T24" fmla="*/ 24 h 2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4" h="24">
                      <a:moveTo>
                        <a:pt x="8" y="16"/>
                      </a:moveTo>
                      <a:lnTo>
                        <a:pt x="0" y="8"/>
                      </a:lnTo>
                      <a:lnTo>
                        <a:pt x="8" y="0"/>
                      </a:lnTo>
                      <a:lnTo>
                        <a:pt x="16" y="0"/>
                      </a:lnTo>
                      <a:lnTo>
                        <a:pt x="24" y="24"/>
                      </a:lnTo>
                      <a:lnTo>
                        <a:pt x="16" y="24"/>
                      </a:lnTo>
                      <a:lnTo>
                        <a:pt x="8" y="1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91" name="Freeform 112"/>
                <p:cNvSpPr>
                  <a:spLocks noChangeAspect="1"/>
                </p:cNvSpPr>
                <p:nvPr/>
              </p:nvSpPr>
              <p:spPr bwMode="auto">
                <a:xfrm>
                  <a:off x="5164" y="3100"/>
                  <a:ext cx="5" cy="11"/>
                </a:xfrm>
                <a:custGeom>
                  <a:avLst/>
                  <a:gdLst>
                    <a:gd name="T0" fmla="*/ 1 w 8"/>
                    <a:gd name="T1" fmla="*/ 1 h 16"/>
                    <a:gd name="T2" fmla="*/ 1 w 8"/>
                    <a:gd name="T3" fmla="*/ 0 h 16"/>
                    <a:gd name="T4" fmla="*/ 0 w 8"/>
                    <a:gd name="T5" fmla="*/ 0 h 16"/>
                    <a:gd name="T6" fmla="*/ 0 w 8"/>
                    <a:gd name="T7" fmla="*/ 1 h 16"/>
                    <a:gd name="T8" fmla="*/ 0 w 8"/>
                    <a:gd name="T9" fmla="*/ 1 h 16"/>
                    <a:gd name="T10" fmla="*/ 1 w 8"/>
                    <a:gd name="T11" fmla="*/ 1 h 1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8"/>
                    <a:gd name="T19" fmla="*/ 0 h 16"/>
                    <a:gd name="T20" fmla="*/ 8 w 8"/>
                    <a:gd name="T21" fmla="*/ 16 h 1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8" h="16">
                      <a:moveTo>
                        <a:pt x="8" y="16"/>
                      </a:move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lnTo>
                        <a:pt x="0" y="16"/>
                      </a:lnTo>
                      <a:lnTo>
                        <a:pt x="8" y="1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92" name="Freeform 113"/>
                <p:cNvSpPr>
                  <a:spLocks noChangeAspect="1"/>
                </p:cNvSpPr>
                <p:nvPr/>
              </p:nvSpPr>
              <p:spPr bwMode="auto">
                <a:xfrm>
                  <a:off x="5169" y="3117"/>
                  <a:ext cx="11" cy="6"/>
                </a:xfrm>
                <a:custGeom>
                  <a:avLst/>
                  <a:gdLst>
                    <a:gd name="T0" fmla="*/ 0 w 16"/>
                    <a:gd name="T1" fmla="*/ 0 h 8"/>
                    <a:gd name="T2" fmla="*/ 1 w 16"/>
                    <a:gd name="T3" fmla="*/ 0 h 8"/>
                    <a:gd name="T4" fmla="*/ 1 w 16"/>
                    <a:gd name="T5" fmla="*/ 0 h 8"/>
                    <a:gd name="T6" fmla="*/ 1 w 16"/>
                    <a:gd name="T7" fmla="*/ 2 h 8"/>
                    <a:gd name="T8" fmla="*/ 0 w 16"/>
                    <a:gd name="T9" fmla="*/ 0 h 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6"/>
                    <a:gd name="T16" fmla="*/ 0 h 8"/>
                    <a:gd name="T17" fmla="*/ 16 w 16"/>
                    <a:gd name="T18" fmla="*/ 8 h 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6" h="8">
                      <a:moveTo>
                        <a:pt x="0" y="0"/>
                      </a:moveTo>
                      <a:lnTo>
                        <a:pt x="8" y="0"/>
                      </a:lnTo>
                      <a:lnTo>
                        <a:pt x="16" y="0"/>
                      </a:lnTo>
                      <a:lnTo>
                        <a:pt x="16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93" name="Freeform 114"/>
                <p:cNvSpPr>
                  <a:spLocks noChangeAspect="1"/>
                </p:cNvSpPr>
                <p:nvPr/>
              </p:nvSpPr>
              <p:spPr bwMode="auto">
                <a:xfrm>
                  <a:off x="5130" y="3179"/>
                  <a:ext cx="39" cy="28"/>
                </a:xfrm>
                <a:custGeom>
                  <a:avLst/>
                  <a:gdLst>
                    <a:gd name="T0" fmla="*/ 0 w 56"/>
                    <a:gd name="T1" fmla="*/ 0 h 40"/>
                    <a:gd name="T2" fmla="*/ 1 w 56"/>
                    <a:gd name="T3" fmla="*/ 1 h 40"/>
                    <a:gd name="T4" fmla="*/ 1 w 56"/>
                    <a:gd name="T5" fmla="*/ 1 h 40"/>
                    <a:gd name="T6" fmla="*/ 1 w 56"/>
                    <a:gd name="T7" fmla="*/ 1 h 40"/>
                    <a:gd name="T8" fmla="*/ 1 w 56"/>
                    <a:gd name="T9" fmla="*/ 1 h 40"/>
                    <a:gd name="T10" fmla="*/ 1 w 56"/>
                    <a:gd name="T11" fmla="*/ 1 h 40"/>
                    <a:gd name="T12" fmla="*/ 1 w 56"/>
                    <a:gd name="T13" fmla="*/ 1 h 40"/>
                    <a:gd name="T14" fmla="*/ 1 w 56"/>
                    <a:gd name="T15" fmla="*/ 1 h 40"/>
                    <a:gd name="T16" fmla="*/ 1 w 56"/>
                    <a:gd name="T17" fmla="*/ 1 h 40"/>
                    <a:gd name="T18" fmla="*/ 1 w 56"/>
                    <a:gd name="T19" fmla="*/ 1 h 40"/>
                    <a:gd name="T20" fmla="*/ 1 w 56"/>
                    <a:gd name="T21" fmla="*/ 1 h 40"/>
                    <a:gd name="T22" fmla="*/ 0 w 56"/>
                    <a:gd name="T23" fmla="*/ 1 h 40"/>
                    <a:gd name="T24" fmla="*/ 0 w 56"/>
                    <a:gd name="T25" fmla="*/ 1 h 40"/>
                    <a:gd name="T26" fmla="*/ 0 w 56"/>
                    <a:gd name="T27" fmla="*/ 1 h 40"/>
                    <a:gd name="T28" fmla="*/ 0 w 56"/>
                    <a:gd name="T29" fmla="*/ 0 h 40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56"/>
                    <a:gd name="T46" fmla="*/ 0 h 40"/>
                    <a:gd name="T47" fmla="*/ 56 w 56"/>
                    <a:gd name="T48" fmla="*/ 40 h 40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56" h="40">
                      <a:moveTo>
                        <a:pt x="0" y="0"/>
                      </a:moveTo>
                      <a:lnTo>
                        <a:pt x="8" y="8"/>
                      </a:lnTo>
                      <a:lnTo>
                        <a:pt x="16" y="8"/>
                      </a:lnTo>
                      <a:lnTo>
                        <a:pt x="24" y="16"/>
                      </a:lnTo>
                      <a:lnTo>
                        <a:pt x="32" y="24"/>
                      </a:lnTo>
                      <a:lnTo>
                        <a:pt x="48" y="32"/>
                      </a:lnTo>
                      <a:lnTo>
                        <a:pt x="56" y="40"/>
                      </a:lnTo>
                      <a:lnTo>
                        <a:pt x="48" y="40"/>
                      </a:lnTo>
                      <a:lnTo>
                        <a:pt x="40" y="40"/>
                      </a:lnTo>
                      <a:lnTo>
                        <a:pt x="16" y="24"/>
                      </a:lnTo>
                      <a:lnTo>
                        <a:pt x="8" y="24"/>
                      </a:lnTo>
                      <a:lnTo>
                        <a:pt x="0" y="16"/>
                      </a:lnTo>
                      <a:lnTo>
                        <a:pt x="0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94" name="Freeform 115"/>
                <p:cNvSpPr>
                  <a:spLocks noChangeAspect="1"/>
                </p:cNvSpPr>
                <p:nvPr/>
              </p:nvSpPr>
              <p:spPr bwMode="auto">
                <a:xfrm>
                  <a:off x="5316" y="3134"/>
                  <a:ext cx="16" cy="17"/>
                </a:xfrm>
                <a:custGeom>
                  <a:avLst/>
                  <a:gdLst>
                    <a:gd name="T0" fmla="*/ 1 w 24"/>
                    <a:gd name="T1" fmla="*/ 1 h 24"/>
                    <a:gd name="T2" fmla="*/ 1 w 24"/>
                    <a:gd name="T3" fmla="*/ 1 h 24"/>
                    <a:gd name="T4" fmla="*/ 1 w 24"/>
                    <a:gd name="T5" fmla="*/ 1 h 24"/>
                    <a:gd name="T6" fmla="*/ 1 w 24"/>
                    <a:gd name="T7" fmla="*/ 0 h 24"/>
                    <a:gd name="T8" fmla="*/ 0 w 24"/>
                    <a:gd name="T9" fmla="*/ 1 h 24"/>
                    <a:gd name="T10" fmla="*/ 0 w 24"/>
                    <a:gd name="T11" fmla="*/ 1 h 24"/>
                    <a:gd name="T12" fmla="*/ 1 w 24"/>
                    <a:gd name="T13" fmla="*/ 1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4"/>
                    <a:gd name="T22" fmla="*/ 0 h 24"/>
                    <a:gd name="T23" fmla="*/ 24 w 24"/>
                    <a:gd name="T24" fmla="*/ 24 h 2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4" h="24">
                      <a:moveTo>
                        <a:pt x="8" y="24"/>
                      </a:moveTo>
                      <a:lnTo>
                        <a:pt x="24" y="16"/>
                      </a:lnTo>
                      <a:lnTo>
                        <a:pt x="24" y="8"/>
                      </a:lnTo>
                      <a:lnTo>
                        <a:pt x="24" y="0"/>
                      </a:lnTo>
                      <a:lnTo>
                        <a:pt x="0" y="8"/>
                      </a:lnTo>
                      <a:lnTo>
                        <a:pt x="0" y="16"/>
                      </a:lnTo>
                      <a:lnTo>
                        <a:pt x="8" y="24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95" name="Freeform 116"/>
                <p:cNvSpPr>
                  <a:spLocks noChangeAspect="1"/>
                </p:cNvSpPr>
                <p:nvPr/>
              </p:nvSpPr>
              <p:spPr bwMode="auto">
                <a:xfrm>
                  <a:off x="5332" y="3117"/>
                  <a:ext cx="23" cy="11"/>
                </a:xfrm>
                <a:custGeom>
                  <a:avLst/>
                  <a:gdLst>
                    <a:gd name="T0" fmla="*/ 1 w 32"/>
                    <a:gd name="T1" fmla="*/ 1 h 16"/>
                    <a:gd name="T2" fmla="*/ 1 w 32"/>
                    <a:gd name="T3" fmla="*/ 0 h 16"/>
                    <a:gd name="T4" fmla="*/ 1 w 32"/>
                    <a:gd name="T5" fmla="*/ 0 h 16"/>
                    <a:gd name="T6" fmla="*/ 1 w 32"/>
                    <a:gd name="T7" fmla="*/ 0 h 16"/>
                    <a:gd name="T8" fmla="*/ 0 w 32"/>
                    <a:gd name="T9" fmla="*/ 1 h 16"/>
                    <a:gd name="T10" fmla="*/ 1 w 32"/>
                    <a:gd name="T11" fmla="*/ 1 h 1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2"/>
                    <a:gd name="T19" fmla="*/ 0 h 16"/>
                    <a:gd name="T20" fmla="*/ 32 w 32"/>
                    <a:gd name="T21" fmla="*/ 16 h 1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2" h="16">
                      <a:moveTo>
                        <a:pt x="8" y="16"/>
                      </a:moveTo>
                      <a:lnTo>
                        <a:pt x="32" y="0"/>
                      </a:lnTo>
                      <a:lnTo>
                        <a:pt x="24" y="0"/>
                      </a:lnTo>
                      <a:lnTo>
                        <a:pt x="16" y="0"/>
                      </a:lnTo>
                      <a:lnTo>
                        <a:pt x="0" y="8"/>
                      </a:lnTo>
                      <a:lnTo>
                        <a:pt x="8" y="1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96" name="Freeform 117"/>
                <p:cNvSpPr>
                  <a:spLocks noChangeAspect="1"/>
                </p:cNvSpPr>
                <p:nvPr/>
              </p:nvSpPr>
              <p:spPr bwMode="auto">
                <a:xfrm>
                  <a:off x="5254" y="3404"/>
                  <a:ext cx="78" cy="129"/>
                </a:xfrm>
                <a:custGeom>
                  <a:avLst/>
                  <a:gdLst>
                    <a:gd name="T0" fmla="*/ 1 w 112"/>
                    <a:gd name="T1" fmla="*/ 1 h 184"/>
                    <a:gd name="T2" fmla="*/ 0 w 112"/>
                    <a:gd name="T3" fmla="*/ 1 h 184"/>
                    <a:gd name="T4" fmla="*/ 0 w 112"/>
                    <a:gd name="T5" fmla="*/ 0 h 184"/>
                    <a:gd name="T6" fmla="*/ 1 w 112"/>
                    <a:gd name="T7" fmla="*/ 1 h 184"/>
                    <a:gd name="T8" fmla="*/ 1 w 112"/>
                    <a:gd name="T9" fmla="*/ 1 h 184"/>
                    <a:gd name="T10" fmla="*/ 1 w 112"/>
                    <a:gd name="T11" fmla="*/ 1 h 184"/>
                    <a:gd name="T12" fmla="*/ 1 w 112"/>
                    <a:gd name="T13" fmla="*/ 1 h 184"/>
                    <a:gd name="T14" fmla="*/ 1 w 112"/>
                    <a:gd name="T15" fmla="*/ 1 h 184"/>
                    <a:gd name="T16" fmla="*/ 1 w 112"/>
                    <a:gd name="T17" fmla="*/ 1 h 184"/>
                    <a:gd name="T18" fmla="*/ 1 w 112"/>
                    <a:gd name="T19" fmla="*/ 1 h 184"/>
                    <a:gd name="T20" fmla="*/ 1 w 112"/>
                    <a:gd name="T21" fmla="*/ 1 h 184"/>
                    <a:gd name="T22" fmla="*/ 1 w 112"/>
                    <a:gd name="T23" fmla="*/ 1 h 184"/>
                    <a:gd name="T24" fmla="*/ 1 w 112"/>
                    <a:gd name="T25" fmla="*/ 1 h 184"/>
                    <a:gd name="T26" fmla="*/ 1 w 112"/>
                    <a:gd name="T27" fmla="*/ 1 h 184"/>
                    <a:gd name="T28" fmla="*/ 1 w 112"/>
                    <a:gd name="T29" fmla="*/ 1 h 184"/>
                    <a:gd name="T30" fmla="*/ 1 w 112"/>
                    <a:gd name="T31" fmla="*/ 1 h 184"/>
                    <a:gd name="T32" fmla="*/ 1 w 112"/>
                    <a:gd name="T33" fmla="*/ 1 h 184"/>
                    <a:gd name="T34" fmla="*/ 1 w 112"/>
                    <a:gd name="T35" fmla="*/ 1 h 184"/>
                    <a:gd name="T36" fmla="*/ 1 w 112"/>
                    <a:gd name="T37" fmla="*/ 1 h 184"/>
                    <a:gd name="T38" fmla="*/ 1 w 112"/>
                    <a:gd name="T39" fmla="*/ 1 h 184"/>
                    <a:gd name="T40" fmla="*/ 1 w 112"/>
                    <a:gd name="T41" fmla="*/ 1 h 184"/>
                    <a:gd name="T42" fmla="*/ 1 w 112"/>
                    <a:gd name="T43" fmla="*/ 1 h 184"/>
                    <a:gd name="T44" fmla="*/ 1 w 112"/>
                    <a:gd name="T45" fmla="*/ 1 h 184"/>
                    <a:gd name="T46" fmla="*/ 1 w 112"/>
                    <a:gd name="T47" fmla="*/ 1 h 184"/>
                    <a:gd name="T48" fmla="*/ 1 w 112"/>
                    <a:gd name="T49" fmla="*/ 1 h 184"/>
                    <a:gd name="T50" fmla="*/ 1 w 112"/>
                    <a:gd name="T51" fmla="*/ 1 h 184"/>
                    <a:gd name="T52" fmla="*/ 1 w 112"/>
                    <a:gd name="T53" fmla="*/ 1 h 184"/>
                    <a:gd name="T54" fmla="*/ 1 w 112"/>
                    <a:gd name="T55" fmla="*/ 1 h 184"/>
                    <a:gd name="T56" fmla="*/ 1 w 112"/>
                    <a:gd name="T57" fmla="*/ 1 h 184"/>
                    <a:gd name="T58" fmla="*/ 1 w 112"/>
                    <a:gd name="T59" fmla="*/ 1 h 184"/>
                    <a:gd name="T60" fmla="*/ 1 w 112"/>
                    <a:gd name="T61" fmla="*/ 1 h 184"/>
                    <a:gd name="T62" fmla="*/ 1 w 112"/>
                    <a:gd name="T63" fmla="*/ 1 h 184"/>
                    <a:gd name="T64" fmla="*/ 1 w 112"/>
                    <a:gd name="T65" fmla="*/ 1 h 184"/>
                    <a:gd name="T66" fmla="*/ 1 w 112"/>
                    <a:gd name="T67" fmla="*/ 1 h 184"/>
                    <a:gd name="T68" fmla="*/ 1 w 112"/>
                    <a:gd name="T69" fmla="*/ 1 h 184"/>
                    <a:gd name="T70" fmla="*/ 1 w 112"/>
                    <a:gd name="T71" fmla="*/ 1 h 184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112"/>
                    <a:gd name="T109" fmla="*/ 0 h 184"/>
                    <a:gd name="T110" fmla="*/ 112 w 112"/>
                    <a:gd name="T111" fmla="*/ 184 h 184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112" h="184">
                      <a:moveTo>
                        <a:pt x="8" y="24"/>
                      </a:move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24" y="24"/>
                      </a:lnTo>
                      <a:lnTo>
                        <a:pt x="40" y="32"/>
                      </a:lnTo>
                      <a:lnTo>
                        <a:pt x="40" y="40"/>
                      </a:lnTo>
                      <a:lnTo>
                        <a:pt x="48" y="56"/>
                      </a:lnTo>
                      <a:lnTo>
                        <a:pt x="56" y="64"/>
                      </a:lnTo>
                      <a:lnTo>
                        <a:pt x="56" y="56"/>
                      </a:lnTo>
                      <a:lnTo>
                        <a:pt x="64" y="64"/>
                      </a:lnTo>
                      <a:lnTo>
                        <a:pt x="64" y="80"/>
                      </a:lnTo>
                      <a:lnTo>
                        <a:pt x="80" y="88"/>
                      </a:lnTo>
                      <a:lnTo>
                        <a:pt x="96" y="88"/>
                      </a:lnTo>
                      <a:lnTo>
                        <a:pt x="104" y="72"/>
                      </a:lnTo>
                      <a:lnTo>
                        <a:pt x="112" y="72"/>
                      </a:lnTo>
                      <a:lnTo>
                        <a:pt x="112" y="88"/>
                      </a:lnTo>
                      <a:lnTo>
                        <a:pt x="112" y="96"/>
                      </a:lnTo>
                      <a:lnTo>
                        <a:pt x="104" y="120"/>
                      </a:lnTo>
                      <a:lnTo>
                        <a:pt x="96" y="120"/>
                      </a:lnTo>
                      <a:lnTo>
                        <a:pt x="80" y="120"/>
                      </a:lnTo>
                      <a:lnTo>
                        <a:pt x="80" y="128"/>
                      </a:lnTo>
                      <a:lnTo>
                        <a:pt x="88" y="136"/>
                      </a:lnTo>
                      <a:lnTo>
                        <a:pt x="80" y="144"/>
                      </a:lnTo>
                      <a:lnTo>
                        <a:pt x="64" y="176"/>
                      </a:lnTo>
                      <a:lnTo>
                        <a:pt x="48" y="184"/>
                      </a:lnTo>
                      <a:lnTo>
                        <a:pt x="32" y="176"/>
                      </a:lnTo>
                      <a:lnTo>
                        <a:pt x="48" y="168"/>
                      </a:lnTo>
                      <a:lnTo>
                        <a:pt x="48" y="152"/>
                      </a:lnTo>
                      <a:lnTo>
                        <a:pt x="32" y="136"/>
                      </a:lnTo>
                      <a:lnTo>
                        <a:pt x="24" y="128"/>
                      </a:lnTo>
                      <a:lnTo>
                        <a:pt x="24" y="120"/>
                      </a:lnTo>
                      <a:lnTo>
                        <a:pt x="40" y="112"/>
                      </a:lnTo>
                      <a:lnTo>
                        <a:pt x="40" y="96"/>
                      </a:lnTo>
                      <a:lnTo>
                        <a:pt x="32" y="72"/>
                      </a:lnTo>
                      <a:lnTo>
                        <a:pt x="24" y="48"/>
                      </a:lnTo>
                      <a:lnTo>
                        <a:pt x="8" y="24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97" name="Freeform 118"/>
                <p:cNvSpPr>
                  <a:spLocks noChangeAspect="1"/>
                </p:cNvSpPr>
                <p:nvPr/>
              </p:nvSpPr>
              <p:spPr bwMode="auto">
                <a:xfrm>
                  <a:off x="5164" y="3516"/>
                  <a:ext cx="107" cy="119"/>
                </a:xfrm>
                <a:custGeom>
                  <a:avLst/>
                  <a:gdLst>
                    <a:gd name="T0" fmla="*/ 1 w 152"/>
                    <a:gd name="T1" fmla="*/ 1 h 168"/>
                    <a:gd name="T2" fmla="*/ 1 w 152"/>
                    <a:gd name="T3" fmla="*/ 1 h 168"/>
                    <a:gd name="T4" fmla="*/ 1 w 152"/>
                    <a:gd name="T5" fmla="*/ 1 h 168"/>
                    <a:gd name="T6" fmla="*/ 1 w 152"/>
                    <a:gd name="T7" fmla="*/ 1 h 168"/>
                    <a:gd name="T8" fmla="*/ 1 w 152"/>
                    <a:gd name="T9" fmla="*/ 1 h 168"/>
                    <a:gd name="T10" fmla="*/ 1 w 152"/>
                    <a:gd name="T11" fmla="*/ 1 h 168"/>
                    <a:gd name="T12" fmla="*/ 1 w 152"/>
                    <a:gd name="T13" fmla="*/ 1 h 168"/>
                    <a:gd name="T14" fmla="*/ 1 w 152"/>
                    <a:gd name="T15" fmla="*/ 1 h 168"/>
                    <a:gd name="T16" fmla="*/ 1 w 152"/>
                    <a:gd name="T17" fmla="*/ 1 h 168"/>
                    <a:gd name="T18" fmla="*/ 1 w 152"/>
                    <a:gd name="T19" fmla="*/ 1 h 168"/>
                    <a:gd name="T20" fmla="*/ 1 w 152"/>
                    <a:gd name="T21" fmla="*/ 1 h 168"/>
                    <a:gd name="T22" fmla="*/ 1 w 152"/>
                    <a:gd name="T23" fmla="*/ 1 h 168"/>
                    <a:gd name="T24" fmla="*/ 1 w 152"/>
                    <a:gd name="T25" fmla="*/ 1 h 168"/>
                    <a:gd name="T26" fmla="*/ 1 w 152"/>
                    <a:gd name="T27" fmla="*/ 1 h 168"/>
                    <a:gd name="T28" fmla="*/ 1 w 152"/>
                    <a:gd name="T29" fmla="*/ 1 h 168"/>
                    <a:gd name="T30" fmla="*/ 0 w 152"/>
                    <a:gd name="T31" fmla="*/ 1 h 168"/>
                    <a:gd name="T32" fmla="*/ 1 w 152"/>
                    <a:gd name="T33" fmla="*/ 1 h 168"/>
                    <a:gd name="T34" fmla="*/ 1 w 152"/>
                    <a:gd name="T35" fmla="*/ 1 h 168"/>
                    <a:gd name="T36" fmla="*/ 1 w 152"/>
                    <a:gd name="T37" fmla="*/ 1 h 168"/>
                    <a:gd name="T38" fmla="*/ 1 w 152"/>
                    <a:gd name="T39" fmla="*/ 1 h 168"/>
                    <a:gd name="T40" fmla="*/ 1 w 152"/>
                    <a:gd name="T41" fmla="*/ 1 h 168"/>
                    <a:gd name="T42" fmla="*/ 1 w 152"/>
                    <a:gd name="T43" fmla="*/ 1 h 168"/>
                    <a:gd name="T44" fmla="*/ 1 w 152"/>
                    <a:gd name="T45" fmla="*/ 1 h 168"/>
                    <a:gd name="T46" fmla="*/ 1 w 152"/>
                    <a:gd name="T47" fmla="*/ 1 h 168"/>
                    <a:gd name="T48" fmla="*/ 1 w 152"/>
                    <a:gd name="T49" fmla="*/ 0 h 168"/>
                    <a:gd name="T50" fmla="*/ 1 w 152"/>
                    <a:gd name="T51" fmla="*/ 0 h 168"/>
                    <a:gd name="T52" fmla="*/ 1 w 152"/>
                    <a:gd name="T53" fmla="*/ 1 h 168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152"/>
                    <a:gd name="T82" fmla="*/ 0 h 168"/>
                    <a:gd name="T83" fmla="*/ 152 w 152"/>
                    <a:gd name="T84" fmla="*/ 168 h 168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152" h="168">
                      <a:moveTo>
                        <a:pt x="128" y="8"/>
                      </a:moveTo>
                      <a:lnTo>
                        <a:pt x="128" y="16"/>
                      </a:lnTo>
                      <a:lnTo>
                        <a:pt x="136" y="16"/>
                      </a:lnTo>
                      <a:lnTo>
                        <a:pt x="144" y="8"/>
                      </a:lnTo>
                      <a:lnTo>
                        <a:pt x="152" y="16"/>
                      </a:lnTo>
                      <a:lnTo>
                        <a:pt x="152" y="40"/>
                      </a:lnTo>
                      <a:lnTo>
                        <a:pt x="136" y="64"/>
                      </a:lnTo>
                      <a:lnTo>
                        <a:pt x="128" y="72"/>
                      </a:lnTo>
                      <a:lnTo>
                        <a:pt x="128" y="88"/>
                      </a:lnTo>
                      <a:lnTo>
                        <a:pt x="104" y="88"/>
                      </a:lnTo>
                      <a:lnTo>
                        <a:pt x="96" y="104"/>
                      </a:lnTo>
                      <a:lnTo>
                        <a:pt x="80" y="136"/>
                      </a:lnTo>
                      <a:lnTo>
                        <a:pt x="56" y="168"/>
                      </a:lnTo>
                      <a:lnTo>
                        <a:pt x="24" y="152"/>
                      </a:lnTo>
                      <a:lnTo>
                        <a:pt x="8" y="152"/>
                      </a:lnTo>
                      <a:lnTo>
                        <a:pt x="0" y="144"/>
                      </a:lnTo>
                      <a:lnTo>
                        <a:pt x="16" y="120"/>
                      </a:lnTo>
                      <a:lnTo>
                        <a:pt x="24" y="104"/>
                      </a:lnTo>
                      <a:lnTo>
                        <a:pt x="48" y="88"/>
                      </a:lnTo>
                      <a:lnTo>
                        <a:pt x="64" y="72"/>
                      </a:lnTo>
                      <a:lnTo>
                        <a:pt x="88" y="56"/>
                      </a:lnTo>
                      <a:lnTo>
                        <a:pt x="96" y="48"/>
                      </a:lnTo>
                      <a:lnTo>
                        <a:pt x="96" y="32"/>
                      </a:lnTo>
                      <a:lnTo>
                        <a:pt x="112" y="16"/>
                      </a:lnTo>
                      <a:lnTo>
                        <a:pt x="112" y="0"/>
                      </a:lnTo>
                      <a:lnTo>
                        <a:pt x="128" y="0"/>
                      </a:lnTo>
                      <a:lnTo>
                        <a:pt x="128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98" name="Freeform 119"/>
                <p:cNvSpPr>
                  <a:spLocks noChangeAspect="1"/>
                </p:cNvSpPr>
                <p:nvPr/>
              </p:nvSpPr>
              <p:spPr bwMode="auto">
                <a:xfrm>
                  <a:off x="4387" y="3038"/>
                  <a:ext cx="591" cy="456"/>
                </a:xfrm>
                <a:custGeom>
                  <a:avLst/>
                  <a:gdLst>
                    <a:gd name="T0" fmla="*/ 1 w 840"/>
                    <a:gd name="T1" fmla="*/ 1 h 648"/>
                    <a:gd name="T2" fmla="*/ 1 w 840"/>
                    <a:gd name="T3" fmla="*/ 1 h 648"/>
                    <a:gd name="T4" fmla="*/ 1 w 840"/>
                    <a:gd name="T5" fmla="*/ 1 h 648"/>
                    <a:gd name="T6" fmla="*/ 1 w 840"/>
                    <a:gd name="T7" fmla="*/ 1 h 648"/>
                    <a:gd name="T8" fmla="*/ 1 w 840"/>
                    <a:gd name="T9" fmla="*/ 1 h 648"/>
                    <a:gd name="T10" fmla="*/ 1 w 840"/>
                    <a:gd name="T11" fmla="*/ 1 h 648"/>
                    <a:gd name="T12" fmla="*/ 1 w 840"/>
                    <a:gd name="T13" fmla="*/ 1 h 648"/>
                    <a:gd name="T14" fmla="*/ 1 w 840"/>
                    <a:gd name="T15" fmla="*/ 1 h 648"/>
                    <a:gd name="T16" fmla="*/ 1 w 840"/>
                    <a:gd name="T17" fmla="*/ 1 h 648"/>
                    <a:gd name="T18" fmla="*/ 1 w 840"/>
                    <a:gd name="T19" fmla="*/ 1 h 648"/>
                    <a:gd name="T20" fmla="*/ 1 w 840"/>
                    <a:gd name="T21" fmla="*/ 1 h 648"/>
                    <a:gd name="T22" fmla="*/ 1 w 840"/>
                    <a:gd name="T23" fmla="*/ 1 h 648"/>
                    <a:gd name="T24" fmla="*/ 1 w 840"/>
                    <a:gd name="T25" fmla="*/ 1 h 648"/>
                    <a:gd name="T26" fmla="*/ 1 w 840"/>
                    <a:gd name="T27" fmla="*/ 1 h 648"/>
                    <a:gd name="T28" fmla="*/ 1 w 840"/>
                    <a:gd name="T29" fmla="*/ 1 h 648"/>
                    <a:gd name="T30" fmla="*/ 1 w 840"/>
                    <a:gd name="T31" fmla="*/ 1 h 648"/>
                    <a:gd name="T32" fmla="*/ 1 w 840"/>
                    <a:gd name="T33" fmla="*/ 1 h 648"/>
                    <a:gd name="T34" fmla="*/ 1 w 840"/>
                    <a:gd name="T35" fmla="*/ 1 h 648"/>
                    <a:gd name="T36" fmla="*/ 1 w 840"/>
                    <a:gd name="T37" fmla="*/ 1 h 648"/>
                    <a:gd name="T38" fmla="*/ 1 w 840"/>
                    <a:gd name="T39" fmla="*/ 1 h 648"/>
                    <a:gd name="T40" fmla="*/ 1 w 840"/>
                    <a:gd name="T41" fmla="*/ 1 h 648"/>
                    <a:gd name="T42" fmla="*/ 1 w 840"/>
                    <a:gd name="T43" fmla="*/ 1 h 648"/>
                    <a:gd name="T44" fmla="*/ 1 w 840"/>
                    <a:gd name="T45" fmla="*/ 1 h 648"/>
                    <a:gd name="T46" fmla="*/ 1 w 840"/>
                    <a:gd name="T47" fmla="*/ 1 h 648"/>
                    <a:gd name="T48" fmla="*/ 1 w 840"/>
                    <a:gd name="T49" fmla="*/ 1 h 648"/>
                    <a:gd name="T50" fmla="*/ 1 w 840"/>
                    <a:gd name="T51" fmla="*/ 1 h 648"/>
                    <a:gd name="T52" fmla="*/ 1 w 840"/>
                    <a:gd name="T53" fmla="*/ 1 h 648"/>
                    <a:gd name="T54" fmla="*/ 1 w 840"/>
                    <a:gd name="T55" fmla="*/ 1 h 648"/>
                    <a:gd name="T56" fmla="*/ 1 w 840"/>
                    <a:gd name="T57" fmla="*/ 1 h 648"/>
                    <a:gd name="T58" fmla="*/ 1 w 840"/>
                    <a:gd name="T59" fmla="*/ 1 h 648"/>
                    <a:gd name="T60" fmla="*/ 1 w 840"/>
                    <a:gd name="T61" fmla="*/ 1 h 648"/>
                    <a:gd name="T62" fmla="*/ 1 w 840"/>
                    <a:gd name="T63" fmla="*/ 1 h 648"/>
                    <a:gd name="T64" fmla="*/ 1 w 840"/>
                    <a:gd name="T65" fmla="*/ 1 h 648"/>
                    <a:gd name="T66" fmla="*/ 1 w 840"/>
                    <a:gd name="T67" fmla="*/ 1 h 648"/>
                    <a:gd name="T68" fmla="*/ 1 w 840"/>
                    <a:gd name="T69" fmla="*/ 1 h 648"/>
                    <a:gd name="T70" fmla="*/ 1 w 840"/>
                    <a:gd name="T71" fmla="*/ 1 h 648"/>
                    <a:gd name="T72" fmla="*/ 1 w 840"/>
                    <a:gd name="T73" fmla="*/ 1 h 648"/>
                    <a:gd name="T74" fmla="*/ 0 w 840"/>
                    <a:gd name="T75" fmla="*/ 1 h 648"/>
                    <a:gd name="T76" fmla="*/ 1 w 840"/>
                    <a:gd name="T77" fmla="*/ 1 h 648"/>
                    <a:gd name="T78" fmla="*/ 1 w 840"/>
                    <a:gd name="T79" fmla="*/ 1 h 648"/>
                    <a:gd name="T80" fmla="*/ 1 w 840"/>
                    <a:gd name="T81" fmla="*/ 1 h 648"/>
                    <a:gd name="T82" fmla="*/ 1 w 840"/>
                    <a:gd name="T83" fmla="*/ 1 h 648"/>
                    <a:gd name="T84" fmla="*/ 1 w 840"/>
                    <a:gd name="T85" fmla="*/ 1 h 648"/>
                    <a:gd name="T86" fmla="*/ 1 w 840"/>
                    <a:gd name="T87" fmla="*/ 1 h 648"/>
                    <a:gd name="T88" fmla="*/ 1 w 840"/>
                    <a:gd name="T89" fmla="*/ 1 h 648"/>
                    <a:gd name="T90" fmla="*/ 1 w 840"/>
                    <a:gd name="T91" fmla="*/ 1 h 648"/>
                    <a:gd name="T92" fmla="*/ 1 w 840"/>
                    <a:gd name="T93" fmla="*/ 1 h 648"/>
                    <a:gd name="T94" fmla="*/ 1 w 840"/>
                    <a:gd name="T95" fmla="*/ 1 h 648"/>
                    <a:gd name="T96" fmla="*/ 1 w 840"/>
                    <a:gd name="T97" fmla="*/ 1 h 648"/>
                    <a:gd name="T98" fmla="*/ 1 w 840"/>
                    <a:gd name="T99" fmla="*/ 1 h 648"/>
                    <a:gd name="T100" fmla="*/ 1 w 840"/>
                    <a:gd name="T101" fmla="*/ 1 h 648"/>
                    <a:gd name="T102" fmla="*/ 1 w 840"/>
                    <a:gd name="T103" fmla="*/ 1 h 648"/>
                    <a:gd name="T104" fmla="*/ 1 w 840"/>
                    <a:gd name="T105" fmla="*/ 1 h 648"/>
                    <a:gd name="T106" fmla="*/ 1 w 840"/>
                    <a:gd name="T107" fmla="*/ 1 h 648"/>
                    <a:gd name="T108" fmla="*/ 1 w 840"/>
                    <a:gd name="T109" fmla="*/ 1 h 648"/>
                    <a:gd name="T110" fmla="*/ 1 w 840"/>
                    <a:gd name="T111" fmla="*/ 1 h 648"/>
                    <a:gd name="T112" fmla="*/ 1 w 840"/>
                    <a:gd name="T113" fmla="*/ 1 h 648"/>
                    <a:gd name="T114" fmla="*/ 1 w 840"/>
                    <a:gd name="T115" fmla="*/ 1 h 648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840"/>
                    <a:gd name="T175" fmla="*/ 0 h 648"/>
                    <a:gd name="T176" fmla="*/ 840 w 840"/>
                    <a:gd name="T177" fmla="*/ 648 h 648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840" h="648">
                      <a:moveTo>
                        <a:pt x="712" y="624"/>
                      </a:moveTo>
                      <a:lnTo>
                        <a:pt x="720" y="616"/>
                      </a:lnTo>
                      <a:lnTo>
                        <a:pt x="728" y="616"/>
                      </a:lnTo>
                      <a:lnTo>
                        <a:pt x="760" y="600"/>
                      </a:lnTo>
                      <a:lnTo>
                        <a:pt x="768" y="592"/>
                      </a:lnTo>
                      <a:lnTo>
                        <a:pt x="760" y="576"/>
                      </a:lnTo>
                      <a:lnTo>
                        <a:pt x="776" y="544"/>
                      </a:lnTo>
                      <a:lnTo>
                        <a:pt x="776" y="536"/>
                      </a:lnTo>
                      <a:lnTo>
                        <a:pt x="792" y="512"/>
                      </a:lnTo>
                      <a:lnTo>
                        <a:pt x="792" y="504"/>
                      </a:lnTo>
                      <a:lnTo>
                        <a:pt x="816" y="480"/>
                      </a:lnTo>
                      <a:lnTo>
                        <a:pt x="824" y="464"/>
                      </a:lnTo>
                      <a:lnTo>
                        <a:pt x="824" y="456"/>
                      </a:lnTo>
                      <a:lnTo>
                        <a:pt x="832" y="448"/>
                      </a:lnTo>
                      <a:lnTo>
                        <a:pt x="832" y="440"/>
                      </a:lnTo>
                      <a:lnTo>
                        <a:pt x="824" y="424"/>
                      </a:lnTo>
                      <a:lnTo>
                        <a:pt x="832" y="408"/>
                      </a:lnTo>
                      <a:lnTo>
                        <a:pt x="832" y="384"/>
                      </a:lnTo>
                      <a:lnTo>
                        <a:pt x="840" y="368"/>
                      </a:lnTo>
                      <a:lnTo>
                        <a:pt x="832" y="360"/>
                      </a:lnTo>
                      <a:lnTo>
                        <a:pt x="824" y="344"/>
                      </a:lnTo>
                      <a:lnTo>
                        <a:pt x="832" y="312"/>
                      </a:lnTo>
                      <a:lnTo>
                        <a:pt x="824" y="312"/>
                      </a:lnTo>
                      <a:lnTo>
                        <a:pt x="824" y="320"/>
                      </a:lnTo>
                      <a:lnTo>
                        <a:pt x="816" y="304"/>
                      </a:lnTo>
                      <a:lnTo>
                        <a:pt x="800" y="288"/>
                      </a:lnTo>
                      <a:lnTo>
                        <a:pt x="792" y="280"/>
                      </a:lnTo>
                      <a:lnTo>
                        <a:pt x="776" y="264"/>
                      </a:lnTo>
                      <a:lnTo>
                        <a:pt x="776" y="248"/>
                      </a:lnTo>
                      <a:lnTo>
                        <a:pt x="768" y="256"/>
                      </a:lnTo>
                      <a:lnTo>
                        <a:pt x="760" y="256"/>
                      </a:lnTo>
                      <a:lnTo>
                        <a:pt x="744" y="240"/>
                      </a:lnTo>
                      <a:lnTo>
                        <a:pt x="752" y="224"/>
                      </a:lnTo>
                      <a:lnTo>
                        <a:pt x="736" y="208"/>
                      </a:lnTo>
                      <a:lnTo>
                        <a:pt x="736" y="200"/>
                      </a:lnTo>
                      <a:lnTo>
                        <a:pt x="736" y="192"/>
                      </a:lnTo>
                      <a:lnTo>
                        <a:pt x="720" y="192"/>
                      </a:lnTo>
                      <a:lnTo>
                        <a:pt x="712" y="184"/>
                      </a:lnTo>
                      <a:lnTo>
                        <a:pt x="696" y="176"/>
                      </a:lnTo>
                      <a:lnTo>
                        <a:pt x="688" y="160"/>
                      </a:lnTo>
                      <a:lnTo>
                        <a:pt x="688" y="152"/>
                      </a:lnTo>
                      <a:lnTo>
                        <a:pt x="680" y="128"/>
                      </a:lnTo>
                      <a:lnTo>
                        <a:pt x="672" y="120"/>
                      </a:lnTo>
                      <a:lnTo>
                        <a:pt x="672" y="80"/>
                      </a:lnTo>
                      <a:lnTo>
                        <a:pt x="664" y="80"/>
                      </a:lnTo>
                      <a:lnTo>
                        <a:pt x="648" y="72"/>
                      </a:lnTo>
                      <a:lnTo>
                        <a:pt x="640" y="80"/>
                      </a:lnTo>
                      <a:lnTo>
                        <a:pt x="640" y="56"/>
                      </a:lnTo>
                      <a:lnTo>
                        <a:pt x="624" y="40"/>
                      </a:lnTo>
                      <a:lnTo>
                        <a:pt x="624" y="24"/>
                      </a:lnTo>
                      <a:lnTo>
                        <a:pt x="616" y="16"/>
                      </a:lnTo>
                      <a:lnTo>
                        <a:pt x="616" y="8"/>
                      </a:lnTo>
                      <a:lnTo>
                        <a:pt x="608" y="0"/>
                      </a:lnTo>
                      <a:lnTo>
                        <a:pt x="608" y="16"/>
                      </a:lnTo>
                      <a:lnTo>
                        <a:pt x="600" y="24"/>
                      </a:lnTo>
                      <a:lnTo>
                        <a:pt x="592" y="32"/>
                      </a:lnTo>
                      <a:lnTo>
                        <a:pt x="592" y="40"/>
                      </a:lnTo>
                      <a:lnTo>
                        <a:pt x="600" y="48"/>
                      </a:lnTo>
                      <a:lnTo>
                        <a:pt x="592" y="48"/>
                      </a:lnTo>
                      <a:lnTo>
                        <a:pt x="592" y="56"/>
                      </a:lnTo>
                      <a:lnTo>
                        <a:pt x="592" y="64"/>
                      </a:lnTo>
                      <a:lnTo>
                        <a:pt x="592" y="72"/>
                      </a:lnTo>
                      <a:lnTo>
                        <a:pt x="592" y="80"/>
                      </a:lnTo>
                      <a:lnTo>
                        <a:pt x="584" y="104"/>
                      </a:lnTo>
                      <a:lnTo>
                        <a:pt x="584" y="136"/>
                      </a:lnTo>
                      <a:lnTo>
                        <a:pt x="568" y="144"/>
                      </a:lnTo>
                      <a:lnTo>
                        <a:pt x="552" y="144"/>
                      </a:lnTo>
                      <a:lnTo>
                        <a:pt x="544" y="136"/>
                      </a:lnTo>
                      <a:lnTo>
                        <a:pt x="536" y="128"/>
                      </a:lnTo>
                      <a:lnTo>
                        <a:pt x="520" y="120"/>
                      </a:lnTo>
                      <a:lnTo>
                        <a:pt x="504" y="112"/>
                      </a:lnTo>
                      <a:lnTo>
                        <a:pt x="504" y="104"/>
                      </a:lnTo>
                      <a:lnTo>
                        <a:pt x="488" y="104"/>
                      </a:lnTo>
                      <a:lnTo>
                        <a:pt x="472" y="96"/>
                      </a:lnTo>
                      <a:lnTo>
                        <a:pt x="464" y="88"/>
                      </a:lnTo>
                      <a:lnTo>
                        <a:pt x="472" y="80"/>
                      </a:lnTo>
                      <a:lnTo>
                        <a:pt x="472" y="56"/>
                      </a:lnTo>
                      <a:lnTo>
                        <a:pt x="488" y="56"/>
                      </a:lnTo>
                      <a:lnTo>
                        <a:pt x="496" y="48"/>
                      </a:lnTo>
                      <a:lnTo>
                        <a:pt x="496" y="40"/>
                      </a:lnTo>
                      <a:lnTo>
                        <a:pt x="496" y="32"/>
                      </a:lnTo>
                      <a:lnTo>
                        <a:pt x="488" y="32"/>
                      </a:lnTo>
                      <a:lnTo>
                        <a:pt x="480" y="32"/>
                      </a:lnTo>
                      <a:lnTo>
                        <a:pt x="472" y="32"/>
                      </a:lnTo>
                      <a:lnTo>
                        <a:pt x="456" y="32"/>
                      </a:lnTo>
                      <a:lnTo>
                        <a:pt x="448" y="24"/>
                      </a:lnTo>
                      <a:lnTo>
                        <a:pt x="424" y="24"/>
                      </a:lnTo>
                      <a:lnTo>
                        <a:pt x="416" y="16"/>
                      </a:lnTo>
                      <a:lnTo>
                        <a:pt x="392" y="16"/>
                      </a:lnTo>
                      <a:lnTo>
                        <a:pt x="408" y="24"/>
                      </a:lnTo>
                      <a:lnTo>
                        <a:pt x="408" y="32"/>
                      </a:lnTo>
                      <a:lnTo>
                        <a:pt x="376" y="32"/>
                      </a:lnTo>
                      <a:lnTo>
                        <a:pt x="368" y="32"/>
                      </a:lnTo>
                      <a:lnTo>
                        <a:pt x="360" y="48"/>
                      </a:lnTo>
                      <a:lnTo>
                        <a:pt x="360" y="56"/>
                      </a:lnTo>
                      <a:lnTo>
                        <a:pt x="352" y="56"/>
                      </a:lnTo>
                      <a:lnTo>
                        <a:pt x="344" y="80"/>
                      </a:lnTo>
                      <a:lnTo>
                        <a:pt x="352" y="88"/>
                      </a:lnTo>
                      <a:lnTo>
                        <a:pt x="352" y="96"/>
                      </a:lnTo>
                      <a:lnTo>
                        <a:pt x="352" y="104"/>
                      </a:lnTo>
                      <a:lnTo>
                        <a:pt x="344" y="96"/>
                      </a:lnTo>
                      <a:lnTo>
                        <a:pt x="336" y="96"/>
                      </a:lnTo>
                      <a:lnTo>
                        <a:pt x="328" y="88"/>
                      </a:lnTo>
                      <a:lnTo>
                        <a:pt x="320" y="96"/>
                      </a:lnTo>
                      <a:lnTo>
                        <a:pt x="304" y="64"/>
                      </a:lnTo>
                      <a:lnTo>
                        <a:pt x="296" y="64"/>
                      </a:lnTo>
                      <a:lnTo>
                        <a:pt x="288" y="72"/>
                      </a:lnTo>
                      <a:lnTo>
                        <a:pt x="280" y="72"/>
                      </a:lnTo>
                      <a:lnTo>
                        <a:pt x="272" y="80"/>
                      </a:lnTo>
                      <a:lnTo>
                        <a:pt x="264" y="80"/>
                      </a:lnTo>
                      <a:lnTo>
                        <a:pt x="256" y="88"/>
                      </a:lnTo>
                      <a:lnTo>
                        <a:pt x="256" y="96"/>
                      </a:lnTo>
                      <a:lnTo>
                        <a:pt x="240" y="96"/>
                      </a:lnTo>
                      <a:lnTo>
                        <a:pt x="240" y="120"/>
                      </a:lnTo>
                      <a:lnTo>
                        <a:pt x="232" y="120"/>
                      </a:lnTo>
                      <a:lnTo>
                        <a:pt x="224" y="120"/>
                      </a:lnTo>
                      <a:lnTo>
                        <a:pt x="224" y="128"/>
                      </a:lnTo>
                      <a:lnTo>
                        <a:pt x="224" y="136"/>
                      </a:lnTo>
                      <a:lnTo>
                        <a:pt x="216" y="136"/>
                      </a:lnTo>
                      <a:lnTo>
                        <a:pt x="208" y="120"/>
                      </a:lnTo>
                      <a:lnTo>
                        <a:pt x="200" y="128"/>
                      </a:lnTo>
                      <a:lnTo>
                        <a:pt x="192" y="144"/>
                      </a:lnTo>
                      <a:lnTo>
                        <a:pt x="192" y="152"/>
                      </a:lnTo>
                      <a:lnTo>
                        <a:pt x="200" y="160"/>
                      </a:lnTo>
                      <a:lnTo>
                        <a:pt x="184" y="176"/>
                      </a:lnTo>
                      <a:lnTo>
                        <a:pt x="184" y="184"/>
                      </a:lnTo>
                      <a:lnTo>
                        <a:pt x="160" y="192"/>
                      </a:lnTo>
                      <a:lnTo>
                        <a:pt x="152" y="200"/>
                      </a:lnTo>
                      <a:lnTo>
                        <a:pt x="136" y="200"/>
                      </a:lnTo>
                      <a:lnTo>
                        <a:pt x="128" y="208"/>
                      </a:lnTo>
                      <a:lnTo>
                        <a:pt x="112" y="208"/>
                      </a:lnTo>
                      <a:lnTo>
                        <a:pt x="104" y="216"/>
                      </a:lnTo>
                      <a:lnTo>
                        <a:pt x="96" y="216"/>
                      </a:lnTo>
                      <a:lnTo>
                        <a:pt x="88" y="216"/>
                      </a:lnTo>
                      <a:lnTo>
                        <a:pt x="80" y="216"/>
                      </a:lnTo>
                      <a:lnTo>
                        <a:pt x="64" y="232"/>
                      </a:lnTo>
                      <a:lnTo>
                        <a:pt x="56" y="232"/>
                      </a:lnTo>
                      <a:lnTo>
                        <a:pt x="48" y="240"/>
                      </a:lnTo>
                      <a:lnTo>
                        <a:pt x="32" y="248"/>
                      </a:lnTo>
                      <a:lnTo>
                        <a:pt x="32" y="240"/>
                      </a:lnTo>
                      <a:lnTo>
                        <a:pt x="24" y="248"/>
                      </a:lnTo>
                      <a:lnTo>
                        <a:pt x="16" y="288"/>
                      </a:lnTo>
                      <a:lnTo>
                        <a:pt x="24" y="304"/>
                      </a:lnTo>
                      <a:lnTo>
                        <a:pt x="32" y="328"/>
                      </a:lnTo>
                      <a:lnTo>
                        <a:pt x="32" y="336"/>
                      </a:lnTo>
                      <a:lnTo>
                        <a:pt x="24" y="344"/>
                      </a:lnTo>
                      <a:lnTo>
                        <a:pt x="16" y="328"/>
                      </a:lnTo>
                      <a:lnTo>
                        <a:pt x="16" y="336"/>
                      </a:lnTo>
                      <a:lnTo>
                        <a:pt x="24" y="344"/>
                      </a:lnTo>
                      <a:lnTo>
                        <a:pt x="16" y="352"/>
                      </a:lnTo>
                      <a:lnTo>
                        <a:pt x="8" y="328"/>
                      </a:lnTo>
                      <a:lnTo>
                        <a:pt x="0" y="328"/>
                      </a:lnTo>
                      <a:lnTo>
                        <a:pt x="16" y="360"/>
                      </a:lnTo>
                      <a:lnTo>
                        <a:pt x="24" y="368"/>
                      </a:lnTo>
                      <a:lnTo>
                        <a:pt x="32" y="376"/>
                      </a:lnTo>
                      <a:lnTo>
                        <a:pt x="32" y="384"/>
                      </a:lnTo>
                      <a:lnTo>
                        <a:pt x="40" y="400"/>
                      </a:lnTo>
                      <a:lnTo>
                        <a:pt x="40" y="408"/>
                      </a:lnTo>
                      <a:lnTo>
                        <a:pt x="48" y="440"/>
                      </a:lnTo>
                      <a:lnTo>
                        <a:pt x="56" y="456"/>
                      </a:lnTo>
                      <a:lnTo>
                        <a:pt x="56" y="464"/>
                      </a:lnTo>
                      <a:lnTo>
                        <a:pt x="64" y="480"/>
                      </a:lnTo>
                      <a:lnTo>
                        <a:pt x="56" y="488"/>
                      </a:lnTo>
                      <a:lnTo>
                        <a:pt x="56" y="512"/>
                      </a:lnTo>
                      <a:lnTo>
                        <a:pt x="48" y="512"/>
                      </a:lnTo>
                      <a:lnTo>
                        <a:pt x="48" y="528"/>
                      </a:lnTo>
                      <a:lnTo>
                        <a:pt x="48" y="536"/>
                      </a:lnTo>
                      <a:lnTo>
                        <a:pt x="64" y="536"/>
                      </a:lnTo>
                      <a:lnTo>
                        <a:pt x="72" y="552"/>
                      </a:lnTo>
                      <a:lnTo>
                        <a:pt x="96" y="552"/>
                      </a:lnTo>
                      <a:lnTo>
                        <a:pt x="120" y="552"/>
                      </a:lnTo>
                      <a:lnTo>
                        <a:pt x="120" y="536"/>
                      </a:lnTo>
                      <a:lnTo>
                        <a:pt x="136" y="536"/>
                      </a:lnTo>
                      <a:lnTo>
                        <a:pt x="144" y="528"/>
                      </a:lnTo>
                      <a:lnTo>
                        <a:pt x="160" y="520"/>
                      </a:lnTo>
                      <a:lnTo>
                        <a:pt x="168" y="520"/>
                      </a:lnTo>
                      <a:lnTo>
                        <a:pt x="200" y="520"/>
                      </a:lnTo>
                      <a:lnTo>
                        <a:pt x="216" y="520"/>
                      </a:lnTo>
                      <a:lnTo>
                        <a:pt x="232" y="512"/>
                      </a:lnTo>
                      <a:lnTo>
                        <a:pt x="232" y="504"/>
                      </a:lnTo>
                      <a:lnTo>
                        <a:pt x="248" y="496"/>
                      </a:lnTo>
                      <a:lnTo>
                        <a:pt x="256" y="496"/>
                      </a:lnTo>
                      <a:lnTo>
                        <a:pt x="272" y="480"/>
                      </a:lnTo>
                      <a:lnTo>
                        <a:pt x="304" y="480"/>
                      </a:lnTo>
                      <a:lnTo>
                        <a:pt x="336" y="472"/>
                      </a:lnTo>
                      <a:lnTo>
                        <a:pt x="376" y="464"/>
                      </a:lnTo>
                      <a:lnTo>
                        <a:pt x="400" y="480"/>
                      </a:lnTo>
                      <a:lnTo>
                        <a:pt x="416" y="480"/>
                      </a:lnTo>
                      <a:lnTo>
                        <a:pt x="432" y="488"/>
                      </a:lnTo>
                      <a:lnTo>
                        <a:pt x="440" y="504"/>
                      </a:lnTo>
                      <a:lnTo>
                        <a:pt x="456" y="512"/>
                      </a:lnTo>
                      <a:lnTo>
                        <a:pt x="456" y="528"/>
                      </a:lnTo>
                      <a:lnTo>
                        <a:pt x="456" y="536"/>
                      </a:lnTo>
                      <a:lnTo>
                        <a:pt x="456" y="544"/>
                      </a:lnTo>
                      <a:lnTo>
                        <a:pt x="472" y="544"/>
                      </a:lnTo>
                      <a:lnTo>
                        <a:pt x="480" y="536"/>
                      </a:lnTo>
                      <a:lnTo>
                        <a:pt x="480" y="528"/>
                      </a:lnTo>
                      <a:lnTo>
                        <a:pt x="496" y="512"/>
                      </a:lnTo>
                      <a:lnTo>
                        <a:pt x="504" y="504"/>
                      </a:lnTo>
                      <a:lnTo>
                        <a:pt x="504" y="496"/>
                      </a:lnTo>
                      <a:lnTo>
                        <a:pt x="520" y="496"/>
                      </a:lnTo>
                      <a:lnTo>
                        <a:pt x="520" y="512"/>
                      </a:lnTo>
                      <a:lnTo>
                        <a:pt x="504" y="528"/>
                      </a:lnTo>
                      <a:lnTo>
                        <a:pt x="504" y="536"/>
                      </a:lnTo>
                      <a:lnTo>
                        <a:pt x="496" y="544"/>
                      </a:lnTo>
                      <a:lnTo>
                        <a:pt x="496" y="552"/>
                      </a:lnTo>
                      <a:lnTo>
                        <a:pt x="496" y="560"/>
                      </a:lnTo>
                      <a:lnTo>
                        <a:pt x="504" y="560"/>
                      </a:lnTo>
                      <a:lnTo>
                        <a:pt x="512" y="544"/>
                      </a:lnTo>
                      <a:lnTo>
                        <a:pt x="512" y="536"/>
                      </a:lnTo>
                      <a:lnTo>
                        <a:pt x="528" y="536"/>
                      </a:lnTo>
                      <a:lnTo>
                        <a:pt x="536" y="552"/>
                      </a:lnTo>
                      <a:lnTo>
                        <a:pt x="520" y="552"/>
                      </a:lnTo>
                      <a:lnTo>
                        <a:pt x="520" y="560"/>
                      </a:lnTo>
                      <a:lnTo>
                        <a:pt x="544" y="568"/>
                      </a:lnTo>
                      <a:lnTo>
                        <a:pt x="544" y="576"/>
                      </a:lnTo>
                      <a:lnTo>
                        <a:pt x="552" y="584"/>
                      </a:lnTo>
                      <a:lnTo>
                        <a:pt x="552" y="600"/>
                      </a:lnTo>
                      <a:lnTo>
                        <a:pt x="560" y="608"/>
                      </a:lnTo>
                      <a:lnTo>
                        <a:pt x="560" y="616"/>
                      </a:lnTo>
                      <a:lnTo>
                        <a:pt x="576" y="624"/>
                      </a:lnTo>
                      <a:lnTo>
                        <a:pt x="584" y="624"/>
                      </a:lnTo>
                      <a:lnTo>
                        <a:pt x="592" y="632"/>
                      </a:lnTo>
                      <a:lnTo>
                        <a:pt x="600" y="632"/>
                      </a:lnTo>
                      <a:lnTo>
                        <a:pt x="640" y="648"/>
                      </a:lnTo>
                      <a:lnTo>
                        <a:pt x="632" y="632"/>
                      </a:lnTo>
                      <a:lnTo>
                        <a:pt x="648" y="632"/>
                      </a:lnTo>
                      <a:lnTo>
                        <a:pt x="656" y="616"/>
                      </a:lnTo>
                      <a:lnTo>
                        <a:pt x="672" y="616"/>
                      </a:lnTo>
                      <a:lnTo>
                        <a:pt x="672" y="632"/>
                      </a:lnTo>
                      <a:lnTo>
                        <a:pt x="680" y="640"/>
                      </a:lnTo>
                      <a:lnTo>
                        <a:pt x="696" y="640"/>
                      </a:lnTo>
                      <a:lnTo>
                        <a:pt x="712" y="632"/>
                      </a:lnTo>
                      <a:lnTo>
                        <a:pt x="712" y="624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99" name="Freeform 120"/>
                <p:cNvSpPr>
                  <a:spLocks noChangeAspect="1"/>
                </p:cNvSpPr>
                <p:nvPr/>
              </p:nvSpPr>
              <p:spPr bwMode="auto">
                <a:xfrm>
                  <a:off x="4843" y="3522"/>
                  <a:ext cx="56" cy="56"/>
                </a:xfrm>
                <a:custGeom>
                  <a:avLst/>
                  <a:gdLst>
                    <a:gd name="T0" fmla="*/ 1 w 80"/>
                    <a:gd name="T1" fmla="*/ 1 h 80"/>
                    <a:gd name="T2" fmla="*/ 1 w 80"/>
                    <a:gd name="T3" fmla="*/ 0 h 80"/>
                    <a:gd name="T4" fmla="*/ 1 w 80"/>
                    <a:gd name="T5" fmla="*/ 1 h 80"/>
                    <a:gd name="T6" fmla="*/ 1 w 80"/>
                    <a:gd name="T7" fmla="*/ 1 h 80"/>
                    <a:gd name="T8" fmla="*/ 1 w 80"/>
                    <a:gd name="T9" fmla="*/ 1 h 80"/>
                    <a:gd name="T10" fmla="*/ 1 w 80"/>
                    <a:gd name="T11" fmla="*/ 1 h 80"/>
                    <a:gd name="T12" fmla="*/ 1 w 80"/>
                    <a:gd name="T13" fmla="*/ 0 h 80"/>
                    <a:gd name="T14" fmla="*/ 1 w 80"/>
                    <a:gd name="T15" fmla="*/ 0 h 80"/>
                    <a:gd name="T16" fmla="*/ 0 w 80"/>
                    <a:gd name="T17" fmla="*/ 1 h 80"/>
                    <a:gd name="T18" fmla="*/ 1 w 80"/>
                    <a:gd name="T19" fmla="*/ 1 h 80"/>
                    <a:gd name="T20" fmla="*/ 1 w 80"/>
                    <a:gd name="T21" fmla="*/ 1 h 80"/>
                    <a:gd name="T22" fmla="*/ 1 w 80"/>
                    <a:gd name="T23" fmla="*/ 1 h 80"/>
                    <a:gd name="T24" fmla="*/ 1 w 80"/>
                    <a:gd name="T25" fmla="*/ 1 h 80"/>
                    <a:gd name="T26" fmla="*/ 1 w 80"/>
                    <a:gd name="T27" fmla="*/ 1 h 80"/>
                    <a:gd name="T28" fmla="*/ 1 w 80"/>
                    <a:gd name="T29" fmla="*/ 1 h 80"/>
                    <a:gd name="T30" fmla="*/ 1 w 80"/>
                    <a:gd name="T31" fmla="*/ 1 h 80"/>
                    <a:gd name="T32" fmla="*/ 1 w 80"/>
                    <a:gd name="T33" fmla="*/ 1 h 80"/>
                    <a:gd name="T34" fmla="*/ 1 w 80"/>
                    <a:gd name="T35" fmla="*/ 1 h 80"/>
                    <a:gd name="T36" fmla="*/ 1 w 80"/>
                    <a:gd name="T37" fmla="*/ 1 h 80"/>
                    <a:gd name="T38" fmla="*/ 1 w 80"/>
                    <a:gd name="T39" fmla="*/ 1 h 80"/>
                    <a:gd name="T40" fmla="*/ 1 w 80"/>
                    <a:gd name="T41" fmla="*/ 1 h 80"/>
                    <a:gd name="T42" fmla="*/ 1 w 80"/>
                    <a:gd name="T43" fmla="*/ 1 h 80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80"/>
                    <a:gd name="T67" fmla="*/ 0 h 80"/>
                    <a:gd name="T68" fmla="*/ 80 w 80"/>
                    <a:gd name="T69" fmla="*/ 80 h 80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80" h="80">
                      <a:moveTo>
                        <a:pt x="80" y="8"/>
                      </a:moveTo>
                      <a:lnTo>
                        <a:pt x="72" y="0"/>
                      </a:lnTo>
                      <a:lnTo>
                        <a:pt x="72" y="8"/>
                      </a:lnTo>
                      <a:lnTo>
                        <a:pt x="56" y="16"/>
                      </a:lnTo>
                      <a:lnTo>
                        <a:pt x="48" y="16"/>
                      </a:lnTo>
                      <a:lnTo>
                        <a:pt x="32" y="8"/>
                      </a:lnTo>
                      <a:lnTo>
                        <a:pt x="16" y="0"/>
                      </a:lnTo>
                      <a:lnTo>
                        <a:pt x="8" y="0"/>
                      </a:lnTo>
                      <a:lnTo>
                        <a:pt x="0" y="8"/>
                      </a:lnTo>
                      <a:lnTo>
                        <a:pt x="8" y="24"/>
                      </a:lnTo>
                      <a:lnTo>
                        <a:pt x="16" y="32"/>
                      </a:lnTo>
                      <a:lnTo>
                        <a:pt x="16" y="48"/>
                      </a:lnTo>
                      <a:lnTo>
                        <a:pt x="24" y="64"/>
                      </a:lnTo>
                      <a:lnTo>
                        <a:pt x="32" y="80"/>
                      </a:lnTo>
                      <a:lnTo>
                        <a:pt x="40" y="80"/>
                      </a:lnTo>
                      <a:lnTo>
                        <a:pt x="56" y="80"/>
                      </a:lnTo>
                      <a:lnTo>
                        <a:pt x="64" y="72"/>
                      </a:lnTo>
                      <a:lnTo>
                        <a:pt x="72" y="72"/>
                      </a:lnTo>
                      <a:lnTo>
                        <a:pt x="72" y="56"/>
                      </a:lnTo>
                      <a:lnTo>
                        <a:pt x="80" y="48"/>
                      </a:lnTo>
                      <a:lnTo>
                        <a:pt x="80" y="24"/>
                      </a:lnTo>
                      <a:lnTo>
                        <a:pt x="80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00" name="Freeform 121"/>
                <p:cNvSpPr>
                  <a:spLocks noChangeAspect="1"/>
                </p:cNvSpPr>
                <p:nvPr/>
              </p:nvSpPr>
              <p:spPr bwMode="auto">
                <a:xfrm>
                  <a:off x="5164" y="3100"/>
                  <a:ext cx="5" cy="11"/>
                </a:xfrm>
                <a:custGeom>
                  <a:avLst/>
                  <a:gdLst>
                    <a:gd name="T0" fmla="*/ 1 w 8"/>
                    <a:gd name="T1" fmla="*/ 1 h 16"/>
                    <a:gd name="T2" fmla="*/ 1 w 8"/>
                    <a:gd name="T3" fmla="*/ 0 h 16"/>
                    <a:gd name="T4" fmla="*/ 0 w 8"/>
                    <a:gd name="T5" fmla="*/ 0 h 16"/>
                    <a:gd name="T6" fmla="*/ 0 w 8"/>
                    <a:gd name="T7" fmla="*/ 1 h 16"/>
                    <a:gd name="T8" fmla="*/ 0 w 8"/>
                    <a:gd name="T9" fmla="*/ 1 h 16"/>
                    <a:gd name="T10" fmla="*/ 1 w 8"/>
                    <a:gd name="T11" fmla="*/ 1 h 1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8"/>
                    <a:gd name="T19" fmla="*/ 0 h 16"/>
                    <a:gd name="T20" fmla="*/ 8 w 8"/>
                    <a:gd name="T21" fmla="*/ 16 h 1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8" h="16">
                      <a:moveTo>
                        <a:pt x="8" y="16"/>
                      </a:move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lnTo>
                        <a:pt x="0" y="16"/>
                      </a:lnTo>
                      <a:lnTo>
                        <a:pt x="8" y="1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01" name="Freeform 122"/>
                <p:cNvSpPr>
                  <a:spLocks noChangeAspect="1"/>
                </p:cNvSpPr>
                <p:nvPr/>
              </p:nvSpPr>
              <p:spPr bwMode="auto">
                <a:xfrm>
                  <a:off x="5169" y="3117"/>
                  <a:ext cx="11" cy="6"/>
                </a:xfrm>
                <a:custGeom>
                  <a:avLst/>
                  <a:gdLst>
                    <a:gd name="T0" fmla="*/ 0 w 16"/>
                    <a:gd name="T1" fmla="*/ 0 h 8"/>
                    <a:gd name="T2" fmla="*/ 1 w 16"/>
                    <a:gd name="T3" fmla="*/ 0 h 8"/>
                    <a:gd name="T4" fmla="*/ 1 w 16"/>
                    <a:gd name="T5" fmla="*/ 0 h 8"/>
                    <a:gd name="T6" fmla="*/ 1 w 16"/>
                    <a:gd name="T7" fmla="*/ 2 h 8"/>
                    <a:gd name="T8" fmla="*/ 0 w 16"/>
                    <a:gd name="T9" fmla="*/ 0 h 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6"/>
                    <a:gd name="T16" fmla="*/ 0 h 8"/>
                    <a:gd name="T17" fmla="*/ 16 w 16"/>
                    <a:gd name="T18" fmla="*/ 8 h 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6" h="8">
                      <a:moveTo>
                        <a:pt x="0" y="0"/>
                      </a:moveTo>
                      <a:lnTo>
                        <a:pt x="8" y="0"/>
                      </a:lnTo>
                      <a:lnTo>
                        <a:pt x="16" y="0"/>
                      </a:lnTo>
                      <a:lnTo>
                        <a:pt x="16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02" name="Freeform 123"/>
                <p:cNvSpPr>
                  <a:spLocks noChangeAspect="1"/>
                </p:cNvSpPr>
                <p:nvPr/>
              </p:nvSpPr>
              <p:spPr bwMode="auto">
                <a:xfrm>
                  <a:off x="5130" y="3179"/>
                  <a:ext cx="39" cy="28"/>
                </a:xfrm>
                <a:custGeom>
                  <a:avLst/>
                  <a:gdLst>
                    <a:gd name="T0" fmla="*/ 0 w 56"/>
                    <a:gd name="T1" fmla="*/ 0 h 40"/>
                    <a:gd name="T2" fmla="*/ 1 w 56"/>
                    <a:gd name="T3" fmla="*/ 1 h 40"/>
                    <a:gd name="T4" fmla="*/ 1 w 56"/>
                    <a:gd name="T5" fmla="*/ 1 h 40"/>
                    <a:gd name="T6" fmla="*/ 1 w 56"/>
                    <a:gd name="T7" fmla="*/ 1 h 40"/>
                    <a:gd name="T8" fmla="*/ 1 w 56"/>
                    <a:gd name="T9" fmla="*/ 1 h 40"/>
                    <a:gd name="T10" fmla="*/ 1 w 56"/>
                    <a:gd name="T11" fmla="*/ 1 h 40"/>
                    <a:gd name="T12" fmla="*/ 1 w 56"/>
                    <a:gd name="T13" fmla="*/ 1 h 40"/>
                    <a:gd name="T14" fmla="*/ 1 w 56"/>
                    <a:gd name="T15" fmla="*/ 1 h 40"/>
                    <a:gd name="T16" fmla="*/ 1 w 56"/>
                    <a:gd name="T17" fmla="*/ 1 h 40"/>
                    <a:gd name="T18" fmla="*/ 1 w 56"/>
                    <a:gd name="T19" fmla="*/ 1 h 40"/>
                    <a:gd name="T20" fmla="*/ 1 w 56"/>
                    <a:gd name="T21" fmla="*/ 1 h 40"/>
                    <a:gd name="T22" fmla="*/ 0 w 56"/>
                    <a:gd name="T23" fmla="*/ 1 h 40"/>
                    <a:gd name="T24" fmla="*/ 0 w 56"/>
                    <a:gd name="T25" fmla="*/ 1 h 40"/>
                    <a:gd name="T26" fmla="*/ 0 w 56"/>
                    <a:gd name="T27" fmla="*/ 1 h 40"/>
                    <a:gd name="T28" fmla="*/ 0 w 56"/>
                    <a:gd name="T29" fmla="*/ 0 h 40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56"/>
                    <a:gd name="T46" fmla="*/ 0 h 40"/>
                    <a:gd name="T47" fmla="*/ 56 w 56"/>
                    <a:gd name="T48" fmla="*/ 40 h 40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56" h="40">
                      <a:moveTo>
                        <a:pt x="0" y="0"/>
                      </a:moveTo>
                      <a:lnTo>
                        <a:pt x="8" y="8"/>
                      </a:lnTo>
                      <a:lnTo>
                        <a:pt x="16" y="8"/>
                      </a:lnTo>
                      <a:lnTo>
                        <a:pt x="24" y="16"/>
                      </a:lnTo>
                      <a:lnTo>
                        <a:pt x="32" y="24"/>
                      </a:lnTo>
                      <a:lnTo>
                        <a:pt x="48" y="32"/>
                      </a:lnTo>
                      <a:lnTo>
                        <a:pt x="56" y="40"/>
                      </a:lnTo>
                      <a:lnTo>
                        <a:pt x="48" y="40"/>
                      </a:lnTo>
                      <a:lnTo>
                        <a:pt x="40" y="40"/>
                      </a:lnTo>
                      <a:lnTo>
                        <a:pt x="16" y="24"/>
                      </a:lnTo>
                      <a:lnTo>
                        <a:pt x="8" y="24"/>
                      </a:lnTo>
                      <a:lnTo>
                        <a:pt x="0" y="16"/>
                      </a:lnTo>
                      <a:lnTo>
                        <a:pt x="0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03" name="Freeform 124"/>
                <p:cNvSpPr>
                  <a:spLocks noChangeAspect="1"/>
                </p:cNvSpPr>
                <p:nvPr/>
              </p:nvSpPr>
              <p:spPr bwMode="auto">
                <a:xfrm>
                  <a:off x="5316" y="3134"/>
                  <a:ext cx="16" cy="17"/>
                </a:xfrm>
                <a:custGeom>
                  <a:avLst/>
                  <a:gdLst>
                    <a:gd name="T0" fmla="*/ 1 w 24"/>
                    <a:gd name="T1" fmla="*/ 1 h 24"/>
                    <a:gd name="T2" fmla="*/ 1 w 24"/>
                    <a:gd name="T3" fmla="*/ 1 h 24"/>
                    <a:gd name="T4" fmla="*/ 1 w 24"/>
                    <a:gd name="T5" fmla="*/ 1 h 24"/>
                    <a:gd name="T6" fmla="*/ 1 w 24"/>
                    <a:gd name="T7" fmla="*/ 0 h 24"/>
                    <a:gd name="T8" fmla="*/ 0 w 24"/>
                    <a:gd name="T9" fmla="*/ 1 h 24"/>
                    <a:gd name="T10" fmla="*/ 0 w 24"/>
                    <a:gd name="T11" fmla="*/ 1 h 24"/>
                    <a:gd name="T12" fmla="*/ 1 w 24"/>
                    <a:gd name="T13" fmla="*/ 1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4"/>
                    <a:gd name="T22" fmla="*/ 0 h 24"/>
                    <a:gd name="T23" fmla="*/ 24 w 24"/>
                    <a:gd name="T24" fmla="*/ 24 h 2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4" h="24">
                      <a:moveTo>
                        <a:pt x="8" y="24"/>
                      </a:moveTo>
                      <a:lnTo>
                        <a:pt x="24" y="16"/>
                      </a:lnTo>
                      <a:lnTo>
                        <a:pt x="24" y="8"/>
                      </a:lnTo>
                      <a:lnTo>
                        <a:pt x="24" y="0"/>
                      </a:lnTo>
                      <a:lnTo>
                        <a:pt x="0" y="8"/>
                      </a:lnTo>
                      <a:lnTo>
                        <a:pt x="0" y="16"/>
                      </a:lnTo>
                      <a:lnTo>
                        <a:pt x="8" y="24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04" name="Freeform 125"/>
                <p:cNvSpPr>
                  <a:spLocks noChangeAspect="1"/>
                </p:cNvSpPr>
                <p:nvPr/>
              </p:nvSpPr>
              <p:spPr bwMode="auto">
                <a:xfrm>
                  <a:off x="5332" y="3117"/>
                  <a:ext cx="23" cy="11"/>
                </a:xfrm>
                <a:custGeom>
                  <a:avLst/>
                  <a:gdLst>
                    <a:gd name="T0" fmla="*/ 1 w 32"/>
                    <a:gd name="T1" fmla="*/ 1 h 16"/>
                    <a:gd name="T2" fmla="*/ 1 w 32"/>
                    <a:gd name="T3" fmla="*/ 0 h 16"/>
                    <a:gd name="T4" fmla="*/ 1 w 32"/>
                    <a:gd name="T5" fmla="*/ 0 h 16"/>
                    <a:gd name="T6" fmla="*/ 1 w 32"/>
                    <a:gd name="T7" fmla="*/ 0 h 16"/>
                    <a:gd name="T8" fmla="*/ 0 w 32"/>
                    <a:gd name="T9" fmla="*/ 1 h 16"/>
                    <a:gd name="T10" fmla="*/ 1 w 32"/>
                    <a:gd name="T11" fmla="*/ 1 h 1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2"/>
                    <a:gd name="T19" fmla="*/ 0 h 16"/>
                    <a:gd name="T20" fmla="*/ 32 w 32"/>
                    <a:gd name="T21" fmla="*/ 16 h 1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2" h="16">
                      <a:moveTo>
                        <a:pt x="8" y="16"/>
                      </a:moveTo>
                      <a:lnTo>
                        <a:pt x="32" y="0"/>
                      </a:lnTo>
                      <a:lnTo>
                        <a:pt x="24" y="0"/>
                      </a:lnTo>
                      <a:lnTo>
                        <a:pt x="16" y="0"/>
                      </a:lnTo>
                      <a:lnTo>
                        <a:pt x="0" y="8"/>
                      </a:lnTo>
                      <a:lnTo>
                        <a:pt x="8" y="1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05" name="Freeform 126"/>
                <p:cNvSpPr>
                  <a:spLocks noChangeAspect="1"/>
                </p:cNvSpPr>
                <p:nvPr/>
              </p:nvSpPr>
              <p:spPr bwMode="auto">
                <a:xfrm>
                  <a:off x="4201" y="2554"/>
                  <a:ext cx="107" cy="130"/>
                </a:xfrm>
                <a:custGeom>
                  <a:avLst/>
                  <a:gdLst>
                    <a:gd name="T0" fmla="*/ 1 w 152"/>
                    <a:gd name="T1" fmla="*/ 1 h 184"/>
                    <a:gd name="T2" fmla="*/ 1 w 152"/>
                    <a:gd name="T3" fmla="*/ 1 h 184"/>
                    <a:gd name="T4" fmla="*/ 1 w 152"/>
                    <a:gd name="T5" fmla="*/ 1 h 184"/>
                    <a:gd name="T6" fmla="*/ 1 w 152"/>
                    <a:gd name="T7" fmla="*/ 0 h 184"/>
                    <a:gd name="T8" fmla="*/ 1 w 152"/>
                    <a:gd name="T9" fmla="*/ 0 h 184"/>
                    <a:gd name="T10" fmla="*/ 1 w 152"/>
                    <a:gd name="T11" fmla="*/ 1 h 184"/>
                    <a:gd name="T12" fmla="*/ 1 w 152"/>
                    <a:gd name="T13" fmla="*/ 1 h 184"/>
                    <a:gd name="T14" fmla="*/ 1 w 152"/>
                    <a:gd name="T15" fmla="*/ 1 h 184"/>
                    <a:gd name="T16" fmla="*/ 1 w 152"/>
                    <a:gd name="T17" fmla="*/ 1 h 184"/>
                    <a:gd name="T18" fmla="*/ 1 w 152"/>
                    <a:gd name="T19" fmla="*/ 1 h 184"/>
                    <a:gd name="T20" fmla="*/ 1 w 152"/>
                    <a:gd name="T21" fmla="*/ 1 h 184"/>
                    <a:gd name="T22" fmla="*/ 1 w 152"/>
                    <a:gd name="T23" fmla="*/ 1 h 184"/>
                    <a:gd name="T24" fmla="*/ 1 w 152"/>
                    <a:gd name="T25" fmla="*/ 1 h 184"/>
                    <a:gd name="T26" fmla="*/ 1 w 152"/>
                    <a:gd name="T27" fmla="*/ 1 h 184"/>
                    <a:gd name="T28" fmla="*/ 1 w 152"/>
                    <a:gd name="T29" fmla="*/ 1 h 184"/>
                    <a:gd name="T30" fmla="*/ 1 w 152"/>
                    <a:gd name="T31" fmla="*/ 1 h 184"/>
                    <a:gd name="T32" fmla="*/ 1 w 152"/>
                    <a:gd name="T33" fmla="*/ 1 h 184"/>
                    <a:gd name="T34" fmla="*/ 1 w 152"/>
                    <a:gd name="T35" fmla="*/ 1 h 184"/>
                    <a:gd name="T36" fmla="*/ 1 w 152"/>
                    <a:gd name="T37" fmla="*/ 1 h 184"/>
                    <a:gd name="T38" fmla="*/ 1 w 152"/>
                    <a:gd name="T39" fmla="*/ 1 h 184"/>
                    <a:gd name="T40" fmla="*/ 1 w 152"/>
                    <a:gd name="T41" fmla="*/ 1 h 184"/>
                    <a:gd name="T42" fmla="*/ 1 w 152"/>
                    <a:gd name="T43" fmla="*/ 1 h 184"/>
                    <a:gd name="T44" fmla="*/ 1 w 152"/>
                    <a:gd name="T45" fmla="*/ 1 h 184"/>
                    <a:gd name="T46" fmla="*/ 1 w 152"/>
                    <a:gd name="T47" fmla="*/ 1 h 184"/>
                    <a:gd name="T48" fmla="*/ 1 w 152"/>
                    <a:gd name="T49" fmla="*/ 1 h 184"/>
                    <a:gd name="T50" fmla="*/ 1 w 152"/>
                    <a:gd name="T51" fmla="*/ 1 h 184"/>
                    <a:gd name="T52" fmla="*/ 1 w 152"/>
                    <a:gd name="T53" fmla="*/ 1 h 184"/>
                    <a:gd name="T54" fmla="*/ 1 w 152"/>
                    <a:gd name="T55" fmla="*/ 1 h 184"/>
                    <a:gd name="T56" fmla="*/ 1 w 152"/>
                    <a:gd name="T57" fmla="*/ 1 h 184"/>
                    <a:gd name="T58" fmla="*/ 1 w 152"/>
                    <a:gd name="T59" fmla="*/ 1 h 184"/>
                    <a:gd name="T60" fmla="*/ 1 w 152"/>
                    <a:gd name="T61" fmla="*/ 1 h 184"/>
                    <a:gd name="T62" fmla="*/ 1 w 152"/>
                    <a:gd name="T63" fmla="*/ 1 h 184"/>
                    <a:gd name="T64" fmla="*/ 1 w 152"/>
                    <a:gd name="T65" fmla="*/ 1 h 184"/>
                    <a:gd name="T66" fmla="*/ 1 w 152"/>
                    <a:gd name="T67" fmla="*/ 1 h 184"/>
                    <a:gd name="T68" fmla="*/ 1 w 152"/>
                    <a:gd name="T69" fmla="*/ 1 h 184"/>
                    <a:gd name="T70" fmla="*/ 0 w 152"/>
                    <a:gd name="T71" fmla="*/ 1 h 184"/>
                    <a:gd name="T72" fmla="*/ 1 w 152"/>
                    <a:gd name="T73" fmla="*/ 1 h 184"/>
                    <a:gd name="T74" fmla="*/ 1 w 152"/>
                    <a:gd name="T75" fmla="*/ 1 h 184"/>
                    <a:gd name="T76" fmla="*/ 1 w 152"/>
                    <a:gd name="T77" fmla="*/ 1 h 184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152"/>
                    <a:gd name="T118" fmla="*/ 0 h 184"/>
                    <a:gd name="T119" fmla="*/ 152 w 152"/>
                    <a:gd name="T120" fmla="*/ 184 h 184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152" h="184">
                      <a:moveTo>
                        <a:pt x="24" y="32"/>
                      </a:moveTo>
                      <a:lnTo>
                        <a:pt x="40" y="32"/>
                      </a:lnTo>
                      <a:lnTo>
                        <a:pt x="32" y="8"/>
                      </a:lnTo>
                      <a:lnTo>
                        <a:pt x="40" y="0"/>
                      </a:lnTo>
                      <a:lnTo>
                        <a:pt x="48" y="0"/>
                      </a:lnTo>
                      <a:lnTo>
                        <a:pt x="56" y="16"/>
                      </a:lnTo>
                      <a:lnTo>
                        <a:pt x="64" y="16"/>
                      </a:lnTo>
                      <a:lnTo>
                        <a:pt x="64" y="40"/>
                      </a:lnTo>
                      <a:lnTo>
                        <a:pt x="80" y="40"/>
                      </a:lnTo>
                      <a:lnTo>
                        <a:pt x="104" y="48"/>
                      </a:lnTo>
                      <a:lnTo>
                        <a:pt x="96" y="80"/>
                      </a:lnTo>
                      <a:lnTo>
                        <a:pt x="112" y="104"/>
                      </a:lnTo>
                      <a:lnTo>
                        <a:pt x="136" y="128"/>
                      </a:lnTo>
                      <a:lnTo>
                        <a:pt x="144" y="136"/>
                      </a:lnTo>
                      <a:lnTo>
                        <a:pt x="152" y="144"/>
                      </a:lnTo>
                      <a:lnTo>
                        <a:pt x="152" y="184"/>
                      </a:lnTo>
                      <a:lnTo>
                        <a:pt x="144" y="184"/>
                      </a:lnTo>
                      <a:lnTo>
                        <a:pt x="136" y="168"/>
                      </a:lnTo>
                      <a:lnTo>
                        <a:pt x="128" y="176"/>
                      </a:lnTo>
                      <a:lnTo>
                        <a:pt x="128" y="184"/>
                      </a:lnTo>
                      <a:lnTo>
                        <a:pt x="104" y="184"/>
                      </a:lnTo>
                      <a:lnTo>
                        <a:pt x="112" y="152"/>
                      </a:lnTo>
                      <a:lnTo>
                        <a:pt x="112" y="144"/>
                      </a:lnTo>
                      <a:lnTo>
                        <a:pt x="88" y="120"/>
                      </a:lnTo>
                      <a:lnTo>
                        <a:pt x="80" y="96"/>
                      </a:lnTo>
                      <a:lnTo>
                        <a:pt x="72" y="88"/>
                      </a:lnTo>
                      <a:lnTo>
                        <a:pt x="64" y="104"/>
                      </a:lnTo>
                      <a:lnTo>
                        <a:pt x="56" y="104"/>
                      </a:lnTo>
                      <a:lnTo>
                        <a:pt x="48" y="96"/>
                      </a:lnTo>
                      <a:lnTo>
                        <a:pt x="32" y="96"/>
                      </a:lnTo>
                      <a:lnTo>
                        <a:pt x="24" y="112"/>
                      </a:lnTo>
                      <a:lnTo>
                        <a:pt x="16" y="104"/>
                      </a:lnTo>
                      <a:lnTo>
                        <a:pt x="16" y="96"/>
                      </a:lnTo>
                      <a:lnTo>
                        <a:pt x="24" y="72"/>
                      </a:lnTo>
                      <a:lnTo>
                        <a:pt x="8" y="64"/>
                      </a:lnTo>
                      <a:lnTo>
                        <a:pt x="0" y="48"/>
                      </a:lnTo>
                      <a:lnTo>
                        <a:pt x="16" y="32"/>
                      </a:lnTo>
                      <a:lnTo>
                        <a:pt x="24" y="32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06" name="Freeform 127"/>
                <p:cNvSpPr>
                  <a:spLocks noChangeAspect="1"/>
                </p:cNvSpPr>
                <p:nvPr/>
              </p:nvSpPr>
              <p:spPr bwMode="auto">
                <a:xfrm>
                  <a:off x="3914" y="2431"/>
                  <a:ext cx="113" cy="67"/>
                </a:xfrm>
                <a:custGeom>
                  <a:avLst/>
                  <a:gdLst>
                    <a:gd name="T0" fmla="*/ 1 w 160"/>
                    <a:gd name="T1" fmla="*/ 1 h 96"/>
                    <a:gd name="T2" fmla="*/ 1 w 160"/>
                    <a:gd name="T3" fmla="*/ 1 h 96"/>
                    <a:gd name="T4" fmla="*/ 1 w 160"/>
                    <a:gd name="T5" fmla="*/ 1 h 96"/>
                    <a:gd name="T6" fmla="*/ 1 w 160"/>
                    <a:gd name="T7" fmla="*/ 1 h 96"/>
                    <a:gd name="T8" fmla="*/ 1 w 160"/>
                    <a:gd name="T9" fmla="*/ 0 h 96"/>
                    <a:gd name="T10" fmla="*/ 1 w 160"/>
                    <a:gd name="T11" fmla="*/ 0 h 96"/>
                    <a:gd name="T12" fmla="*/ 1 w 160"/>
                    <a:gd name="T13" fmla="*/ 1 h 96"/>
                    <a:gd name="T14" fmla="*/ 0 w 160"/>
                    <a:gd name="T15" fmla="*/ 1 h 96"/>
                    <a:gd name="T16" fmla="*/ 0 w 160"/>
                    <a:gd name="T17" fmla="*/ 1 h 96"/>
                    <a:gd name="T18" fmla="*/ 1 w 160"/>
                    <a:gd name="T19" fmla="*/ 1 h 96"/>
                    <a:gd name="T20" fmla="*/ 1 w 160"/>
                    <a:gd name="T21" fmla="*/ 1 h 96"/>
                    <a:gd name="T22" fmla="*/ 1 w 160"/>
                    <a:gd name="T23" fmla="*/ 1 h 96"/>
                    <a:gd name="T24" fmla="*/ 1 w 160"/>
                    <a:gd name="T25" fmla="*/ 1 h 96"/>
                    <a:gd name="T26" fmla="*/ 1 w 160"/>
                    <a:gd name="T27" fmla="*/ 1 h 96"/>
                    <a:gd name="T28" fmla="*/ 1 w 160"/>
                    <a:gd name="T29" fmla="*/ 1 h 96"/>
                    <a:gd name="T30" fmla="*/ 1 w 160"/>
                    <a:gd name="T31" fmla="*/ 1 h 96"/>
                    <a:gd name="T32" fmla="*/ 1 w 160"/>
                    <a:gd name="T33" fmla="*/ 1 h 96"/>
                    <a:gd name="T34" fmla="*/ 1 w 160"/>
                    <a:gd name="T35" fmla="*/ 1 h 9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60"/>
                    <a:gd name="T55" fmla="*/ 0 h 96"/>
                    <a:gd name="T56" fmla="*/ 160 w 160"/>
                    <a:gd name="T57" fmla="*/ 96 h 9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60" h="96">
                      <a:moveTo>
                        <a:pt x="160" y="56"/>
                      </a:moveTo>
                      <a:lnTo>
                        <a:pt x="112" y="48"/>
                      </a:lnTo>
                      <a:lnTo>
                        <a:pt x="88" y="32"/>
                      </a:lnTo>
                      <a:lnTo>
                        <a:pt x="64" y="16"/>
                      </a:lnTo>
                      <a:lnTo>
                        <a:pt x="32" y="0"/>
                      </a:lnTo>
                      <a:lnTo>
                        <a:pt x="8" y="0"/>
                      </a:lnTo>
                      <a:lnTo>
                        <a:pt x="8" y="16"/>
                      </a:lnTo>
                      <a:lnTo>
                        <a:pt x="0" y="32"/>
                      </a:lnTo>
                      <a:lnTo>
                        <a:pt x="0" y="48"/>
                      </a:lnTo>
                      <a:lnTo>
                        <a:pt x="16" y="56"/>
                      </a:lnTo>
                      <a:lnTo>
                        <a:pt x="24" y="56"/>
                      </a:lnTo>
                      <a:lnTo>
                        <a:pt x="64" y="64"/>
                      </a:lnTo>
                      <a:lnTo>
                        <a:pt x="88" y="64"/>
                      </a:lnTo>
                      <a:lnTo>
                        <a:pt x="112" y="88"/>
                      </a:lnTo>
                      <a:lnTo>
                        <a:pt x="136" y="96"/>
                      </a:lnTo>
                      <a:lnTo>
                        <a:pt x="160" y="88"/>
                      </a:lnTo>
                      <a:lnTo>
                        <a:pt x="160" y="72"/>
                      </a:lnTo>
                      <a:lnTo>
                        <a:pt x="160" y="5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07" name="Freeform 128"/>
                <p:cNvSpPr>
                  <a:spLocks noChangeAspect="1"/>
                </p:cNvSpPr>
                <p:nvPr/>
              </p:nvSpPr>
              <p:spPr bwMode="auto">
                <a:xfrm>
                  <a:off x="4044" y="2464"/>
                  <a:ext cx="45" cy="28"/>
                </a:xfrm>
                <a:custGeom>
                  <a:avLst/>
                  <a:gdLst>
                    <a:gd name="T0" fmla="*/ 1 w 64"/>
                    <a:gd name="T1" fmla="*/ 1 h 40"/>
                    <a:gd name="T2" fmla="*/ 1 w 64"/>
                    <a:gd name="T3" fmla="*/ 1 h 40"/>
                    <a:gd name="T4" fmla="*/ 1 w 64"/>
                    <a:gd name="T5" fmla="*/ 1 h 40"/>
                    <a:gd name="T6" fmla="*/ 1 w 64"/>
                    <a:gd name="T7" fmla="*/ 0 h 40"/>
                    <a:gd name="T8" fmla="*/ 1 w 64"/>
                    <a:gd name="T9" fmla="*/ 0 h 40"/>
                    <a:gd name="T10" fmla="*/ 0 w 64"/>
                    <a:gd name="T11" fmla="*/ 1 h 40"/>
                    <a:gd name="T12" fmla="*/ 0 w 64"/>
                    <a:gd name="T13" fmla="*/ 1 h 40"/>
                    <a:gd name="T14" fmla="*/ 1 w 64"/>
                    <a:gd name="T15" fmla="*/ 1 h 40"/>
                    <a:gd name="T16" fmla="*/ 1 w 64"/>
                    <a:gd name="T17" fmla="*/ 1 h 40"/>
                    <a:gd name="T18" fmla="*/ 1 w 64"/>
                    <a:gd name="T19" fmla="*/ 1 h 40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4"/>
                    <a:gd name="T31" fmla="*/ 0 h 40"/>
                    <a:gd name="T32" fmla="*/ 64 w 64"/>
                    <a:gd name="T33" fmla="*/ 40 h 40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4" h="40">
                      <a:moveTo>
                        <a:pt x="64" y="8"/>
                      </a:moveTo>
                      <a:lnTo>
                        <a:pt x="48" y="8"/>
                      </a:lnTo>
                      <a:lnTo>
                        <a:pt x="32" y="8"/>
                      </a:lnTo>
                      <a:lnTo>
                        <a:pt x="24" y="0"/>
                      </a:lnTo>
                      <a:lnTo>
                        <a:pt x="16" y="0"/>
                      </a:lnTo>
                      <a:lnTo>
                        <a:pt x="0" y="16"/>
                      </a:lnTo>
                      <a:lnTo>
                        <a:pt x="0" y="24"/>
                      </a:lnTo>
                      <a:lnTo>
                        <a:pt x="8" y="40"/>
                      </a:lnTo>
                      <a:lnTo>
                        <a:pt x="64" y="32"/>
                      </a:lnTo>
                      <a:lnTo>
                        <a:pt x="64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08" name="Freeform 129"/>
                <p:cNvSpPr>
                  <a:spLocks noChangeAspect="1"/>
                </p:cNvSpPr>
                <p:nvPr/>
              </p:nvSpPr>
              <p:spPr bwMode="auto">
                <a:xfrm>
                  <a:off x="4027" y="2492"/>
                  <a:ext cx="67" cy="90"/>
                </a:xfrm>
                <a:custGeom>
                  <a:avLst/>
                  <a:gdLst>
                    <a:gd name="T0" fmla="*/ 1 w 96"/>
                    <a:gd name="T1" fmla="*/ 1 h 128"/>
                    <a:gd name="T2" fmla="*/ 1 w 96"/>
                    <a:gd name="T3" fmla="*/ 1 h 128"/>
                    <a:gd name="T4" fmla="*/ 1 w 96"/>
                    <a:gd name="T5" fmla="*/ 1 h 128"/>
                    <a:gd name="T6" fmla="*/ 1 w 96"/>
                    <a:gd name="T7" fmla="*/ 1 h 128"/>
                    <a:gd name="T8" fmla="*/ 1 w 96"/>
                    <a:gd name="T9" fmla="*/ 1 h 128"/>
                    <a:gd name="T10" fmla="*/ 1 w 96"/>
                    <a:gd name="T11" fmla="*/ 1 h 128"/>
                    <a:gd name="T12" fmla="*/ 1 w 96"/>
                    <a:gd name="T13" fmla="*/ 1 h 128"/>
                    <a:gd name="T14" fmla="*/ 1 w 96"/>
                    <a:gd name="T15" fmla="*/ 1 h 128"/>
                    <a:gd name="T16" fmla="*/ 1 w 96"/>
                    <a:gd name="T17" fmla="*/ 1 h 128"/>
                    <a:gd name="T18" fmla="*/ 1 w 96"/>
                    <a:gd name="T19" fmla="*/ 1 h 128"/>
                    <a:gd name="T20" fmla="*/ 1 w 96"/>
                    <a:gd name="T21" fmla="*/ 1 h 128"/>
                    <a:gd name="T22" fmla="*/ 1 w 96"/>
                    <a:gd name="T23" fmla="*/ 1 h 128"/>
                    <a:gd name="T24" fmla="*/ 1 w 96"/>
                    <a:gd name="T25" fmla="*/ 1 h 128"/>
                    <a:gd name="T26" fmla="*/ 1 w 96"/>
                    <a:gd name="T27" fmla="*/ 1 h 128"/>
                    <a:gd name="T28" fmla="*/ 0 w 96"/>
                    <a:gd name="T29" fmla="*/ 1 h 128"/>
                    <a:gd name="T30" fmla="*/ 0 w 96"/>
                    <a:gd name="T31" fmla="*/ 1 h 128"/>
                    <a:gd name="T32" fmla="*/ 1 w 96"/>
                    <a:gd name="T33" fmla="*/ 1 h 128"/>
                    <a:gd name="T34" fmla="*/ 1 w 96"/>
                    <a:gd name="T35" fmla="*/ 1 h 128"/>
                    <a:gd name="T36" fmla="*/ 1 w 96"/>
                    <a:gd name="T37" fmla="*/ 1 h 128"/>
                    <a:gd name="T38" fmla="*/ 0 w 96"/>
                    <a:gd name="T39" fmla="*/ 1 h 128"/>
                    <a:gd name="T40" fmla="*/ 1 w 96"/>
                    <a:gd name="T41" fmla="*/ 0 h 128"/>
                    <a:gd name="T42" fmla="*/ 1 w 96"/>
                    <a:gd name="T43" fmla="*/ 1 h 128"/>
                    <a:gd name="T44" fmla="*/ 1 w 96"/>
                    <a:gd name="T45" fmla="*/ 1 h 128"/>
                    <a:gd name="T46" fmla="*/ 1 w 96"/>
                    <a:gd name="T47" fmla="*/ 1 h 128"/>
                    <a:gd name="T48" fmla="*/ 1 w 96"/>
                    <a:gd name="T49" fmla="*/ 1 h 128"/>
                    <a:gd name="T50" fmla="*/ 1 w 96"/>
                    <a:gd name="T51" fmla="*/ 1 h 128"/>
                    <a:gd name="T52" fmla="*/ 1 w 96"/>
                    <a:gd name="T53" fmla="*/ 1 h 128"/>
                    <a:gd name="T54" fmla="*/ 1 w 96"/>
                    <a:gd name="T55" fmla="*/ 1 h 128"/>
                    <a:gd name="T56" fmla="*/ 1 w 96"/>
                    <a:gd name="T57" fmla="*/ 1 h 128"/>
                    <a:gd name="T58" fmla="*/ 1 w 96"/>
                    <a:gd name="T59" fmla="*/ 1 h 128"/>
                    <a:gd name="T60" fmla="*/ 1 w 96"/>
                    <a:gd name="T61" fmla="*/ 1 h 128"/>
                    <a:gd name="T62" fmla="*/ 1 w 96"/>
                    <a:gd name="T63" fmla="*/ 1 h 128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96"/>
                    <a:gd name="T97" fmla="*/ 0 h 128"/>
                    <a:gd name="T98" fmla="*/ 96 w 96"/>
                    <a:gd name="T99" fmla="*/ 128 h 128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96" h="128">
                      <a:moveTo>
                        <a:pt x="96" y="112"/>
                      </a:moveTo>
                      <a:lnTo>
                        <a:pt x="88" y="128"/>
                      </a:lnTo>
                      <a:lnTo>
                        <a:pt x="80" y="112"/>
                      </a:lnTo>
                      <a:lnTo>
                        <a:pt x="80" y="96"/>
                      </a:lnTo>
                      <a:lnTo>
                        <a:pt x="64" y="80"/>
                      </a:lnTo>
                      <a:lnTo>
                        <a:pt x="56" y="80"/>
                      </a:lnTo>
                      <a:lnTo>
                        <a:pt x="56" y="88"/>
                      </a:lnTo>
                      <a:lnTo>
                        <a:pt x="56" y="104"/>
                      </a:lnTo>
                      <a:lnTo>
                        <a:pt x="32" y="112"/>
                      </a:lnTo>
                      <a:lnTo>
                        <a:pt x="24" y="112"/>
                      </a:lnTo>
                      <a:lnTo>
                        <a:pt x="16" y="104"/>
                      </a:lnTo>
                      <a:lnTo>
                        <a:pt x="16" y="80"/>
                      </a:lnTo>
                      <a:lnTo>
                        <a:pt x="16" y="64"/>
                      </a:lnTo>
                      <a:lnTo>
                        <a:pt x="16" y="48"/>
                      </a:lnTo>
                      <a:lnTo>
                        <a:pt x="0" y="40"/>
                      </a:lnTo>
                      <a:lnTo>
                        <a:pt x="0" y="32"/>
                      </a:lnTo>
                      <a:lnTo>
                        <a:pt x="16" y="32"/>
                      </a:lnTo>
                      <a:lnTo>
                        <a:pt x="16" y="24"/>
                      </a:lnTo>
                      <a:lnTo>
                        <a:pt x="8" y="16"/>
                      </a:lnTo>
                      <a:lnTo>
                        <a:pt x="0" y="8"/>
                      </a:lnTo>
                      <a:lnTo>
                        <a:pt x="16" y="0"/>
                      </a:lnTo>
                      <a:lnTo>
                        <a:pt x="32" y="8"/>
                      </a:lnTo>
                      <a:lnTo>
                        <a:pt x="40" y="16"/>
                      </a:lnTo>
                      <a:lnTo>
                        <a:pt x="80" y="16"/>
                      </a:lnTo>
                      <a:lnTo>
                        <a:pt x="88" y="24"/>
                      </a:lnTo>
                      <a:lnTo>
                        <a:pt x="80" y="32"/>
                      </a:lnTo>
                      <a:lnTo>
                        <a:pt x="72" y="48"/>
                      </a:lnTo>
                      <a:lnTo>
                        <a:pt x="72" y="64"/>
                      </a:lnTo>
                      <a:lnTo>
                        <a:pt x="88" y="64"/>
                      </a:lnTo>
                      <a:lnTo>
                        <a:pt x="96" y="88"/>
                      </a:lnTo>
                      <a:lnTo>
                        <a:pt x="96" y="104"/>
                      </a:lnTo>
                      <a:lnTo>
                        <a:pt x="96" y="112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09" name="Freeform 130"/>
                <p:cNvSpPr>
                  <a:spLocks noChangeAspect="1"/>
                </p:cNvSpPr>
                <p:nvPr/>
              </p:nvSpPr>
              <p:spPr bwMode="auto">
                <a:xfrm>
                  <a:off x="4089" y="2464"/>
                  <a:ext cx="129" cy="282"/>
                </a:xfrm>
                <a:custGeom>
                  <a:avLst/>
                  <a:gdLst>
                    <a:gd name="T0" fmla="*/ 1 w 184"/>
                    <a:gd name="T1" fmla="*/ 1 h 400"/>
                    <a:gd name="T2" fmla="*/ 1 w 184"/>
                    <a:gd name="T3" fmla="*/ 1 h 400"/>
                    <a:gd name="T4" fmla="*/ 1 w 184"/>
                    <a:gd name="T5" fmla="*/ 1 h 400"/>
                    <a:gd name="T6" fmla="*/ 1 w 184"/>
                    <a:gd name="T7" fmla="*/ 1 h 400"/>
                    <a:gd name="T8" fmla="*/ 1 w 184"/>
                    <a:gd name="T9" fmla="*/ 1 h 400"/>
                    <a:gd name="T10" fmla="*/ 1 w 184"/>
                    <a:gd name="T11" fmla="*/ 1 h 400"/>
                    <a:gd name="T12" fmla="*/ 1 w 184"/>
                    <a:gd name="T13" fmla="*/ 1 h 400"/>
                    <a:gd name="T14" fmla="*/ 1 w 184"/>
                    <a:gd name="T15" fmla="*/ 1 h 400"/>
                    <a:gd name="T16" fmla="*/ 1 w 184"/>
                    <a:gd name="T17" fmla="*/ 1 h 400"/>
                    <a:gd name="T18" fmla="*/ 1 w 184"/>
                    <a:gd name="T19" fmla="*/ 1 h 400"/>
                    <a:gd name="T20" fmla="*/ 1 w 184"/>
                    <a:gd name="T21" fmla="*/ 1 h 400"/>
                    <a:gd name="T22" fmla="*/ 1 w 184"/>
                    <a:gd name="T23" fmla="*/ 1 h 400"/>
                    <a:gd name="T24" fmla="*/ 1 w 184"/>
                    <a:gd name="T25" fmla="*/ 1 h 400"/>
                    <a:gd name="T26" fmla="*/ 1 w 184"/>
                    <a:gd name="T27" fmla="*/ 1 h 400"/>
                    <a:gd name="T28" fmla="*/ 1 w 184"/>
                    <a:gd name="T29" fmla="*/ 1 h 400"/>
                    <a:gd name="T30" fmla="*/ 1 w 184"/>
                    <a:gd name="T31" fmla="*/ 1 h 400"/>
                    <a:gd name="T32" fmla="*/ 1 w 184"/>
                    <a:gd name="T33" fmla="*/ 1 h 400"/>
                    <a:gd name="T34" fmla="*/ 1 w 184"/>
                    <a:gd name="T35" fmla="*/ 1 h 400"/>
                    <a:gd name="T36" fmla="*/ 1 w 184"/>
                    <a:gd name="T37" fmla="*/ 1 h 400"/>
                    <a:gd name="T38" fmla="*/ 1 w 184"/>
                    <a:gd name="T39" fmla="*/ 1 h 400"/>
                    <a:gd name="T40" fmla="*/ 1 w 184"/>
                    <a:gd name="T41" fmla="*/ 1 h 400"/>
                    <a:gd name="T42" fmla="*/ 1 w 184"/>
                    <a:gd name="T43" fmla="*/ 1 h 400"/>
                    <a:gd name="T44" fmla="*/ 1 w 184"/>
                    <a:gd name="T45" fmla="*/ 1 h 400"/>
                    <a:gd name="T46" fmla="*/ 1 w 184"/>
                    <a:gd name="T47" fmla="*/ 1 h 400"/>
                    <a:gd name="T48" fmla="*/ 1 w 184"/>
                    <a:gd name="T49" fmla="*/ 1 h 400"/>
                    <a:gd name="T50" fmla="*/ 1 w 184"/>
                    <a:gd name="T51" fmla="*/ 1 h 400"/>
                    <a:gd name="T52" fmla="*/ 1 w 184"/>
                    <a:gd name="T53" fmla="*/ 1 h 400"/>
                    <a:gd name="T54" fmla="*/ 1 w 184"/>
                    <a:gd name="T55" fmla="*/ 1 h 400"/>
                    <a:gd name="T56" fmla="*/ 1 w 184"/>
                    <a:gd name="T57" fmla="*/ 1 h 400"/>
                    <a:gd name="T58" fmla="*/ 1 w 184"/>
                    <a:gd name="T59" fmla="*/ 1 h 400"/>
                    <a:gd name="T60" fmla="*/ 1 w 184"/>
                    <a:gd name="T61" fmla="*/ 1 h 400"/>
                    <a:gd name="T62" fmla="*/ 1 w 184"/>
                    <a:gd name="T63" fmla="*/ 1 h 400"/>
                    <a:gd name="T64" fmla="*/ 0 w 184"/>
                    <a:gd name="T65" fmla="*/ 1 h 400"/>
                    <a:gd name="T66" fmla="*/ 0 w 184"/>
                    <a:gd name="T67" fmla="*/ 1 h 400"/>
                    <a:gd name="T68" fmla="*/ 1 w 184"/>
                    <a:gd name="T69" fmla="*/ 1 h 400"/>
                    <a:gd name="T70" fmla="*/ 1 w 184"/>
                    <a:gd name="T71" fmla="*/ 1 h 400"/>
                    <a:gd name="T72" fmla="*/ 1 w 184"/>
                    <a:gd name="T73" fmla="*/ 1 h 400"/>
                    <a:gd name="T74" fmla="*/ 1 w 184"/>
                    <a:gd name="T75" fmla="*/ 1 h 400"/>
                    <a:gd name="T76" fmla="*/ 1 w 184"/>
                    <a:gd name="T77" fmla="*/ 1 h 400"/>
                    <a:gd name="T78" fmla="*/ 1 w 184"/>
                    <a:gd name="T79" fmla="*/ 1 h 400"/>
                    <a:gd name="T80" fmla="*/ 1 w 184"/>
                    <a:gd name="T81" fmla="*/ 1 h 400"/>
                    <a:gd name="T82" fmla="*/ 1 w 184"/>
                    <a:gd name="T83" fmla="*/ 1 h 400"/>
                    <a:gd name="T84" fmla="*/ 1 w 184"/>
                    <a:gd name="T85" fmla="*/ 1 h 400"/>
                    <a:gd name="T86" fmla="*/ 1 w 184"/>
                    <a:gd name="T87" fmla="*/ 0 h 400"/>
                    <a:gd name="T88" fmla="*/ 1 w 184"/>
                    <a:gd name="T89" fmla="*/ 0 h 400"/>
                    <a:gd name="T90" fmla="*/ 1 w 184"/>
                    <a:gd name="T91" fmla="*/ 1 h 400"/>
                    <a:gd name="T92" fmla="*/ 1 w 184"/>
                    <a:gd name="T93" fmla="*/ 1 h 400"/>
                    <a:gd name="T94" fmla="*/ 1 w 184"/>
                    <a:gd name="T95" fmla="*/ 1 h 400"/>
                    <a:gd name="T96" fmla="*/ 1 w 184"/>
                    <a:gd name="T97" fmla="*/ 1 h 400"/>
                    <a:gd name="T98" fmla="*/ 1 w 184"/>
                    <a:gd name="T99" fmla="*/ 1 h 400"/>
                    <a:gd name="T100" fmla="*/ 1 w 184"/>
                    <a:gd name="T101" fmla="*/ 1 h 400"/>
                    <a:gd name="T102" fmla="*/ 1 w 184"/>
                    <a:gd name="T103" fmla="*/ 1 h 400"/>
                    <a:gd name="T104" fmla="*/ 1 w 184"/>
                    <a:gd name="T105" fmla="*/ 1 h 400"/>
                    <a:gd name="T106" fmla="*/ 1 w 184"/>
                    <a:gd name="T107" fmla="*/ 1 h 400"/>
                    <a:gd name="T108" fmla="*/ 1 w 184"/>
                    <a:gd name="T109" fmla="*/ 1 h 400"/>
                    <a:gd name="T110" fmla="*/ 1 w 184"/>
                    <a:gd name="T111" fmla="*/ 1 h 400"/>
                    <a:gd name="T112" fmla="*/ 1 w 184"/>
                    <a:gd name="T113" fmla="*/ 1 h 400"/>
                    <a:gd name="T114" fmla="*/ 1 w 184"/>
                    <a:gd name="T115" fmla="*/ 1 h 400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184"/>
                    <a:gd name="T175" fmla="*/ 0 h 400"/>
                    <a:gd name="T176" fmla="*/ 184 w 184"/>
                    <a:gd name="T177" fmla="*/ 400 h 400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184" h="400">
                      <a:moveTo>
                        <a:pt x="160" y="176"/>
                      </a:moveTo>
                      <a:lnTo>
                        <a:pt x="136" y="184"/>
                      </a:lnTo>
                      <a:lnTo>
                        <a:pt x="128" y="192"/>
                      </a:lnTo>
                      <a:lnTo>
                        <a:pt x="120" y="192"/>
                      </a:lnTo>
                      <a:lnTo>
                        <a:pt x="112" y="200"/>
                      </a:lnTo>
                      <a:lnTo>
                        <a:pt x="112" y="224"/>
                      </a:lnTo>
                      <a:lnTo>
                        <a:pt x="128" y="240"/>
                      </a:lnTo>
                      <a:lnTo>
                        <a:pt x="136" y="272"/>
                      </a:lnTo>
                      <a:lnTo>
                        <a:pt x="128" y="280"/>
                      </a:lnTo>
                      <a:lnTo>
                        <a:pt x="144" y="320"/>
                      </a:lnTo>
                      <a:lnTo>
                        <a:pt x="144" y="344"/>
                      </a:lnTo>
                      <a:lnTo>
                        <a:pt x="136" y="368"/>
                      </a:lnTo>
                      <a:lnTo>
                        <a:pt x="136" y="384"/>
                      </a:lnTo>
                      <a:lnTo>
                        <a:pt x="128" y="400"/>
                      </a:lnTo>
                      <a:lnTo>
                        <a:pt x="128" y="376"/>
                      </a:lnTo>
                      <a:lnTo>
                        <a:pt x="128" y="344"/>
                      </a:lnTo>
                      <a:lnTo>
                        <a:pt x="128" y="336"/>
                      </a:lnTo>
                      <a:lnTo>
                        <a:pt x="128" y="328"/>
                      </a:lnTo>
                      <a:lnTo>
                        <a:pt x="120" y="312"/>
                      </a:lnTo>
                      <a:lnTo>
                        <a:pt x="112" y="288"/>
                      </a:lnTo>
                      <a:lnTo>
                        <a:pt x="112" y="264"/>
                      </a:lnTo>
                      <a:lnTo>
                        <a:pt x="104" y="256"/>
                      </a:lnTo>
                      <a:lnTo>
                        <a:pt x="96" y="248"/>
                      </a:lnTo>
                      <a:lnTo>
                        <a:pt x="88" y="264"/>
                      </a:lnTo>
                      <a:lnTo>
                        <a:pt x="80" y="272"/>
                      </a:lnTo>
                      <a:lnTo>
                        <a:pt x="56" y="280"/>
                      </a:lnTo>
                      <a:lnTo>
                        <a:pt x="40" y="280"/>
                      </a:lnTo>
                      <a:lnTo>
                        <a:pt x="48" y="264"/>
                      </a:lnTo>
                      <a:lnTo>
                        <a:pt x="40" y="248"/>
                      </a:lnTo>
                      <a:lnTo>
                        <a:pt x="40" y="224"/>
                      </a:lnTo>
                      <a:lnTo>
                        <a:pt x="24" y="208"/>
                      </a:lnTo>
                      <a:lnTo>
                        <a:pt x="24" y="192"/>
                      </a:lnTo>
                      <a:lnTo>
                        <a:pt x="0" y="176"/>
                      </a:lnTo>
                      <a:lnTo>
                        <a:pt x="0" y="168"/>
                      </a:lnTo>
                      <a:lnTo>
                        <a:pt x="8" y="152"/>
                      </a:lnTo>
                      <a:lnTo>
                        <a:pt x="8" y="144"/>
                      </a:lnTo>
                      <a:lnTo>
                        <a:pt x="24" y="136"/>
                      </a:lnTo>
                      <a:lnTo>
                        <a:pt x="16" y="104"/>
                      </a:lnTo>
                      <a:lnTo>
                        <a:pt x="32" y="104"/>
                      </a:lnTo>
                      <a:lnTo>
                        <a:pt x="32" y="96"/>
                      </a:lnTo>
                      <a:lnTo>
                        <a:pt x="40" y="88"/>
                      </a:lnTo>
                      <a:lnTo>
                        <a:pt x="64" y="24"/>
                      </a:lnTo>
                      <a:lnTo>
                        <a:pt x="88" y="16"/>
                      </a:lnTo>
                      <a:lnTo>
                        <a:pt x="104" y="0"/>
                      </a:lnTo>
                      <a:lnTo>
                        <a:pt x="120" y="0"/>
                      </a:lnTo>
                      <a:lnTo>
                        <a:pt x="128" y="24"/>
                      </a:lnTo>
                      <a:lnTo>
                        <a:pt x="136" y="56"/>
                      </a:lnTo>
                      <a:lnTo>
                        <a:pt x="112" y="72"/>
                      </a:lnTo>
                      <a:lnTo>
                        <a:pt x="112" y="96"/>
                      </a:lnTo>
                      <a:lnTo>
                        <a:pt x="128" y="96"/>
                      </a:lnTo>
                      <a:lnTo>
                        <a:pt x="144" y="120"/>
                      </a:lnTo>
                      <a:lnTo>
                        <a:pt x="144" y="136"/>
                      </a:lnTo>
                      <a:lnTo>
                        <a:pt x="160" y="136"/>
                      </a:lnTo>
                      <a:lnTo>
                        <a:pt x="160" y="144"/>
                      </a:lnTo>
                      <a:lnTo>
                        <a:pt x="176" y="152"/>
                      </a:lnTo>
                      <a:lnTo>
                        <a:pt x="184" y="160"/>
                      </a:lnTo>
                      <a:lnTo>
                        <a:pt x="176" y="160"/>
                      </a:lnTo>
                      <a:lnTo>
                        <a:pt x="160" y="17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10" name="Freeform 131"/>
                <p:cNvSpPr>
                  <a:spLocks noChangeAspect="1"/>
                </p:cNvSpPr>
                <p:nvPr/>
              </p:nvSpPr>
              <p:spPr bwMode="auto">
                <a:xfrm>
                  <a:off x="4201" y="2796"/>
                  <a:ext cx="62" cy="79"/>
                </a:xfrm>
                <a:custGeom>
                  <a:avLst/>
                  <a:gdLst>
                    <a:gd name="T0" fmla="*/ 1 w 88"/>
                    <a:gd name="T1" fmla="*/ 1 h 112"/>
                    <a:gd name="T2" fmla="*/ 1 w 88"/>
                    <a:gd name="T3" fmla="*/ 1 h 112"/>
                    <a:gd name="T4" fmla="*/ 1 w 88"/>
                    <a:gd name="T5" fmla="*/ 1 h 112"/>
                    <a:gd name="T6" fmla="*/ 1 w 88"/>
                    <a:gd name="T7" fmla="*/ 1 h 112"/>
                    <a:gd name="T8" fmla="*/ 1 w 88"/>
                    <a:gd name="T9" fmla="*/ 1 h 112"/>
                    <a:gd name="T10" fmla="*/ 1 w 88"/>
                    <a:gd name="T11" fmla="*/ 1 h 112"/>
                    <a:gd name="T12" fmla="*/ 1 w 88"/>
                    <a:gd name="T13" fmla="*/ 1 h 112"/>
                    <a:gd name="T14" fmla="*/ 1 w 88"/>
                    <a:gd name="T15" fmla="*/ 1 h 112"/>
                    <a:gd name="T16" fmla="*/ 1 w 88"/>
                    <a:gd name="T17" fmla="*/ 1 h 112"/>
                    <a:gd name="T18" fmla="*/ 1 w 88"/>
                    <a:gd name="T19" fmla="*/ 1 h 112"/>
                    <a:gd name="T20" fmla="*/ 1 w 88"/>
                    <a:gd name="T21" fmla="*/ 1 h 112"/>
                    <a:gd name="T22" fmla="*/ 1 w 88"/>
                    <a:gd name="T23" fmla="*/ 1 h 112"/>
                    <a:gd name="T24" fmla="*/ 1 w 88"/>
                    <a:gd name="T25" fmla="*/ 1 h 112"/>
                    <a:gd name="T26" fmla="*/ 1 w 88"/>
                    <a:gd name="T27" fmla="*/ 1 h 112"/>
                    <a:gd name="T28" fmla="*/ 1 w 88"/>
                    <a:gd name="T29" fmla="*/ 1 h 112"/>
                    <a:gd name="T30" fmla="*/ 0 w 88"/>
                    <a:gd name="T31" fmla="*/ 0 h 112"/>
                    <a:gd name="T32" fmla="*/ 1 w 88"/>
                    <a:gd name="T33" fmla="*/ 0 h 112"/>
                    <a:gd name="T34" fmla="*/ 1 w 88"/>
                    <a:gd name="T35" fmla="*/ 1 h 112"/>
                    <a:gd name="T36" fmla="*/ 1 w 88"/>
                    <a:gd name="T37" fmla="*/ 1 h 112"/>
                    <a:gd name="T38" fmla="*/ 1 w 88"/>
                    <a:gd name="T39" fmla="*/ 1 h 112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88"/>
                    <a:gd name="T61" fmla="*/ 0 h 112"/>
                    <a:gd name="T62" fmla="*/ 88 w 88"/>
                    <a:gd name="T63" fmla="*/ 112 h 112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88" h="112">
                      <a:moveTo>
                        <a:pt x="56" y="16"/>
                      </a:moveTo>
                      <a:lnTo>
                        <a:pt x="64" y="40"/>
                      </a:lnTo>
                      <a:lnTo>
                        <a:pt x="72" y="72"/>
                      </a:lnTo>
                      <a:lnTo>
                        <a:pt x="80" y="80"/>
                      </a:lnTo>
                      <a:lnTo>
                        <a:pt x="88" y="96"/>
                      </a:lnTo>
                      <a:lnTo>
                        <a:pt x="88" y="112"/>
                      </a:lnTo>
                      <a:lnTo>
                        <a:pt x="80" y="112"/>
                      </a:lnTo>
                      <a:lnTo>
                        <a:pt x="64" y="104"/>
                      </a:lnTo>
                      <a:lnTo>
                        <a:pt x="48" y="88"/>
                      </a:lnTo>
                      <a:lnTo>
                        <a:pt x="40" y="88"/>
                      </a:lnTo>
                      <a:lnTo>
                        <a:pt x="32" y="80"/>
                      </a:lnTo>
                      <a:lnTo>
                        <a:pt x="24" y="64"/>
                      </a:lnTo>
                      <a:lnTo>
                        <a:pt x="16" y="56"/>
                      </a:lnTo>
                      <a:lnTo>
                        <a:pt x="8" y="32"/>
                      </a:lnTo>
                      <a:lnTo>
                        <a:pt x="8" y="16"/>
                      </a:lnTo>
                      <a:lnTo>
                        <a:pt x="0" y="0"/>
                      </a:lnTo>
                      <a:lnTo>
                        <a:pt x="16" y="0"/>
                      </a:lnTo>
                      <a:lnTo>
                        <a:pt x="24" y="16"/>
                      </a:lnTo>
                      <a:lnTo>
                        <a:pt x="32" y="16"/>
                      </a:lnTo>
                      <a:lnTo>
                        <a:pt x="56" y="1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11" name="Freeform 132"/>
                <p:cNvSpPr>
                  <a:spLocks noChangeAspect="1"/>
                </p:cNvSpPr>
                <p:nvPr/>
              </p:nvSpPr>
              <p:spPr bwMode="auto">
                <a:xfrm>
                  <a:off x="4235" y="2672"/>
                  <a:ext cx="79" cy="68"/>
                </a:xfrm>
                <a:custGeom>
                  <a:avLst/>
                  <a:gdLst>
                    <a:gd name="T0" fmla="*/ 1 w 112"/>
                    <a:gd name="T1" fmla="*/ 1 h 96"/>
                    <a:gd name="T2" fmla="*/ 1 w 112"/>
                    <a:gd name="T3" fmla="*/ 1 h 96"/>
                    <a:gd name="T4" fmla="*/ 1 w 112"/>
                    <a:gd name="T5" fmla="*/ 1 h 96"/>
                    <a:gd name="T6" fmla="*/ 1 w 112"/>
                    <a:gd name="T7" fmla="*/ 1 h 96"/>
                    <a:gd name="T8" fmla="*/ 1 w 112"/>
                    <a:gd name="T9" fmla="*/ 1 h 96"/>
                    <a:gd name="T10" fmla="*/ 1 w 112"/>
                    <a:gd name="T11" fmla="*/ 1 h 96"/>
                    <a:gd name="T12" fmla="*/ 1 w 112"/>
                    <a:gd name="T13" fmla="*/ 1 h 96"/>
                    <a:gd name="T14" fmla="*/ 1 w 112"/>
                    <a:gd name="T15" fmla="*/ 1 h 96"/>
                    <a:gd name="T16" fmla="*/ 1 w 112"/>
                    <a:gd name="T17" fmla="*/ 1 h 96"/>
                    <a:gd name="T18" fmla="*/ 1 w 112"/>
                    <a:gd name="T19" fmla="*/ 1 h 96"/>
                    <a:gd name="T20" fmla="*/ 1 w 112"/>
                    <a:gd name="T21" fmla="*/ 1 h 96"/>
                    <a:gd name="T22" fmla="*/ 1 w 112"/>
                    <a:gd name="T23" fmla="*/ 1 h 96"/>
                    <a:gd name="T24" fmla="*/ 1 w 112"/>
                    <a:gd name="T25" fmla="*/ 1 h 96"/>
                    <a:gd name="T26" fmla="*/ 1 w 112"/>
                    <a:gd name="T27" fmla="*/ 1 h 96"/>
                    <a:gd name="T28" fmla="*/ 0 w 112"/>
                    <a:gd name="T29" fmla="*/ 1 h 96"/>
                    <a:gd name="T30" fmla="*/ 0 w 112"/>
                    <a:gd name="T31" fmla="*/ 1 h 96"/>
                    <a:gd name="T32" fmla="*/ 1 w 112"/>
                    <a:gd name="T33" fmla="*/ 1 h 96"/>
                    <a:gd name="T34" fmla="*/ 1 w 112"/>
                    <a:gd name="T35" fmla="*/ 1 h 96"/>
                    <a:gd name="T36" fmla="*/ 1 w 112"/>
                    <a:gd name="T37" fmla="*/ 0 h 96"/>
                    <a:gd name="T38" fmla="*/ 1 w 112"/>
                    <a:gd name="T39" fmla="*/ 1 h 96"/>
                    <a:gd name="T40" fmla="*/ 1 w 112"/>
                    <a:gd name="T41" fmla="*/ 1 h 96"/>
                    <a:gd name="T42" fmla="*/ 1 w 112"/>
                    <a:gd name="T43" fmla="*/ 1 h 96"/>
                    <a:gd name="T44" fmla="*/ 1 w 112"/>
                    <a:gd name="T45" fmla="*/ 0 h 96"/>
                    <a:gd name="T46" fmla="*/ 1 w 112"/>
                    <a:gd name="T47" fmla="*/ 1 h 96"/>
                    <a:gd name="T48" fmla="*/ 1 w 112"/>
                    <a:gd name="T49" fmla="*/ 1 h 9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12"/>
                    <a:gd name="T76" fmla="*/ 0 h 96"/>
                    <a:gd name="T77" fmla="*/ 112 w 112"/>
                    <a:gd name="T78" fmla="*/ 96 h 96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12" h="96">
                      <a:moveTo>
                        <a:pt x="104" y="16"/>
                      </a:moveTo>
                      <a:lnTo>
                        <a:pt x="112" y="32"/>
                      </a:lnTo>
                      <a:lnTo>
                        <a:pt x="104" y="56"/>
                      </a:lnTo>
                      <a:lnTo>
                        <a:pt x="80" y="56"/>
                      </a:lnTo>
                      <a:lnTo>
                        <a:pt x="72" y="64"/>
                      </a:lnTo>
                      <a:lnTo>
                        <a:pt x="72" y="80"/>
                      </a:lnTo>
                      <a:lnTo>
                        <a:pt x="56" y="88"/>
                      </a:lnTo>
                      <a:lnTo>
                        <a:pt x="48" y="88"/>
                      </a:lnTo>
                      <a:lnTo>
                        <a:pt x="48" y="96"/>
                      </a:lnTo>
                      <a:lnTo>
                        <a:pt x="32" y="96"/>
                      </a:lnTo>
                      <a:lnTo>
                        <a:pt x="16" y="88"/>
                      </a:lnTo>
                      <a:lnTo>
                        <a:pt x="8" y="72"/>
                      </a:lnTo>
                      <a:lnTo>
                        <a:pt x="8" y="64"/>
                      </a:lnTo>
                      <a:lnTo>
                        <a:pt x="8" y="40"/>
                      </a:lnTo>
                      <a:lnTo>
                        <a:pt x="0" y="32"/>
                      </a:lnTo>
                      <a:lnTo>
                        <a:pt x="0" y="24"/>
                      </a:lnTo>
                      <a:lnTo>
                        <a:pt x="8" y="16"/>
                      </a:lnTo>
                      <a:lnTo>
                        <a:pt x="16" y="8"/>
                      </a:lnTo>
                      <a:lnTo>
                        <a:pt x="24" y="0"/>
                      </a:lnTo>
                      <a:lnTo>
                        <a:pt x="56" y="16"/>
                      </a:lnTo>
                      <a:lnTo>
                        <a:pt x="80" y="16"/>
                      </a:lnTo>
                      <a:lnTo>
                        <a:pt x="80" y="8"/>
                      </a:lnTo>
                      <a:lnTo>
                        <a:pt x="88" y="0"/>
                      </a:lnTo>
                      <a:lnTo>
                        <a:pt x="96" y="16"/>
                      </a:lnTo>
                      <a:lnTo>
                        <a:pt x="104" y="1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12" name="Freeform 133"/>
                <p:cNvSpPr>
                  <a:spLocks noChangeAspect="1"/>
                </p:cNvSpPr>
                <p:nvPr/>
              </p:nvSpPr>
              <p:spPr bwMode="auto">
                <a:xfrm>
                  <a:off x="4235" y="2543"/>
                  <a:ext cx="101" cy="225"/>
                </a:xfrm>
                <a:custGeom>
                  <a:avLst/>
                  <a:gdLst>
                    <a:gd name="T0" fmla="*/ 1 w 144"/>
                    <a:gd name="T1" fmla="*/ 1 h 320"/>
                    <a:gd name="T2" fmla="*/ 1 w 144"/>
                    <a:gd name="T3" fmla="*/ 1 h 320"/>
                    <a:gd name="T4" fmla="*/ 1 w 144"/>
                    <a:gd name="T5" fmla="*/ 1 h 320"/>
                    <a:gd name="T6" fmla="*/ 1 w 144"/>
                    <a:gd name="T7" fmla="*/ 1 h 320"/>
                    <a:gd name="T8" fmla="*/ 1 w 144"/>
                    <a:gd name="T9" fmla="*/ 1 h 320"/>
                    <a:gd name="T10" fmla="*/ 1 w 144"/>
                    <a:gd name="T11" fmla="*/ 1 h 320"/>
                    <a:gd name="T12" fmla="*/ 1 w 144"/>
                    <a:gd name="T13" fmla="*/ 1 h 320"/>
                    <a:gd name="T14" fmla="*/ 1 w 144"/>
                    <a:gd name="T15" fmla="*/ 1 h 320"/>
                    <a:gd name="T16" fmla="*/ 1 w 144"/>
                    <a:gd name="T17" fmla="*/ 1 h 320"/>
                    <a:gd name="T18" fmla="*/ 1 w 144"/>
                    <a:gd name="T19" fmla="*/ 1 h 320"/>
                    <a:gd name="T20" fmla="*/ 1 w 144"/>
                    <a:gd name="T21" fmla="*/ 1 h 320"/>
                    <a:gd name="T22" fmla="*/ 1 w 144"/>
                    <a:gd name="T23" fmla="*/ 1 h 320"/>
                    <a:gd name="T24" fmla="*/ 1 w 144"/>
                    <a:gd name="T25" fmla="*/ 1 h 320"/>
                    <a:gd name="T26" fmla="*/ 1 w 144"/>
                    <a:gd name="T27" fmla="*/ 1 h 320"/>
                    <a:gd name="T28" fmla="*/ 1 w 144"/>
                    <a:gd name="T29" fmla="*/ 1 h 320"/>
                    <a:gd name="T30" fmla="*/ 1 w 144"/>
                    <a:gd name="T31" fmla="*/ 1 h 320"/>
                    <a:gd name="T32" fmla="*/ 1 w 144"/>
                    <a:gd name="T33" fmla="*/ 1 h 320"/>
                    <a:gd name="T34" fmla="*/ 1 w 144"/>
                    <a:gd name="T35" fmla="*/ 1 h 320"/>
                    <a:gd name="T36" fmla="*/ 1 w 144"/>
                    <a:gd name="T37" fmla="*/ 1 h 320"/>
                    <a:gd name="T38" fmla="*/ 1 w 144"/>
                    <a:gd name="T39" fmla="*/ 1 h 320"/>
                    <a:gd name="T40" fmla="*/ 1 w 144"/>
                    <a:gd name="T41" fmla="*/ 1 h 320"/>
                    <a:gd name="T42" fmla="*/ 1 w 144"/>
                    <a:gd name="T43" fmla="*/ 1 h 320"/>
                    <a:gd name="T44" fmla="*/ 1 w 144"/>
                    <a:gd name="T45" fmla="*/ 1 h 320"/>
                    <a:gd name="T46" fmla="*/ 1 w 144"/>
                    <a:gd name="T47" fmla="*/ 1 h 320"/>
                    <a:gd name="T48" fmla="*/ 1 w 144"/>
                    <a:gd name="T49" fmla="*/ 1 h 320"/>
                    <a:gd name="T50" fmla="*/ 1 w 144"/>
                    <a:gd name="T51" fmla="*/ 1 h 320"/>
                    <a:gd name="T52" fmla="*/ 1 w 144"/>
                    <a:gd name="T53" fmla="*/ 1 h 320"/>
                    <a:gd name="T54" fmla="*/ 1 w 144"/>
                    <a:gd name="T55" fmla="*/ 1 h 320"/>
                    <a:gd name="T56" fmla="*/ 1 w 144"/>
                    <a:gd name="T57" fmla="*/ 1 h 320"/>
                    <a:gd name="T58" fmla="*/ 1 w 144"/>
                    <a:gd name="T59" fmla="*/ 1 h 320"/>
                    <a:gd name="T60" fmla="*/ 1 w 144"/>
                    <a:gd name="T61" fmla="*/ 1 h 320"/>
                    <a:gd name="T62" fmla="*/ 1 w 144"/>
                    <a:gd name="T63" fmla="*/ 1 h 320"/>
                    <a:gd name="T64" fmla="*/ 1 w 144"/>
                    <a:gd name="T65" fmla="*/ 1 h 320"/>
                    <a:gd name="T66" fmla="*/ 1 w 144"/>
                    <a:gd name="T67" fmla="*/ 1 h 320"/>
                    <a:gd name="T68" fmla="*/ 1 w 144"/>
                    <a:gd name="T69" fmla="*/ 1 h 320"/>
                    <a:gd name="T70" fmla="*/ 1 w 144"/>
                    <a:gd name="T71" fmla="*/ 1 h 320"/>
                    <a:gd name="T72" fmla="*/ 1 w 144"/>
                    <a:gd name="T73" fmla="*/ 1 h 320"/>
                    <a:gd name="T74" fmla="*/ 1 w 144"/>
                    <a:gd name="T75" fmla="*/ 1 h 320"/>
                    <a:gd name="T76" fmla="*/ 1 w 144"/>
                    <a:gd name="T77" fmla="*/ 1 h 320"/>
                    <a:gd name="T78" fmla="*/ 1 w 144"/>
                    <a:gd name="T79" fmla="*/ 1 h 320"/>
                    <a:gd name="T80" fmla="*/ 1 w 144"/>
                    <a:gd name="T81" fmla="*/ 1 h 320"/>
                    <a:gd name="T82" fmla="*/ 1 w 144"/>
                    <a:gd name="T83" fmla="*/ 1 h 320"/>
                    <a:gd name="T84" fmla="*/ 0 w 144"/>
                    <a:gd name="T85" fmla="*/ 1 h 320"/>
                    <a:gd name="T86" fmla="*/ 1 w 144"/>
                    <a:gd name="T87" fmla="*/ 1 h 320"/>
                    <a:gd name="T88" fmla="*/ 1 w 144"/>
                    <a:gd name="T89" fmla="*/ 1 h 320"/>
                    <a:gd name="T90" fmla="*/ 1 w 144"/>
                    <a:gd name="T91" fmla="*/ 1 h 320"/>
                    <a:gd name="T92" fmla="*/ 1 w 144"/>
                    <a:gd name="T93" fmla="*/ 0 h 320"/>
                    <a:gd name="T94" fmla="*/ 1 w 144"/>
                    <a:gd name="T95" fmla="*/ 1 h 320"/>
                    <a:gd name="T96" fmla="*/ 1 w 144"/>
                    <a:gd name="T97" fmla="*/ 1 h 320"/>
                    <a:gd name="T98" fmla="*/ 1 w 144"/>
                    <a:gd name="T99" fmla="*/ 1 h 320"/>
                    <a:gd name="T100" fmla="*/ 1 w 144"/>
                    <a:gd name="T101" fmla="*/ 1 h 320"/>
                    <a:gd name="T102" fmla="*/ 1 w 144"/>
                    <a:gd name="T103" fmla="*/ 1 h 320"/>
                    <a:gd name="T104" fmla="*/ 1 w 144"/>
                    <a:gd name="T105" fmla="*/ 1 h 320"/>
                    <a:gd name="T106" fmla="*/ 1 w 144"/>
                    <a:gd name="T107" fmla="*/ 1 h 320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144"/>
                    <a:gd name="T163" fmla="*/ 0 h 320"/>
                    <a:gd name="T164" fmla="*/ 144 w 144"/>
                    <a:gd name="T165" fmla="*/ 320 h 320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144" h="320">
                      <a:moveTo>
                        <a:pt x="120" y="40"/>
                      </a:moveTo>
                      <a:lnTo>
                        <a:pt x="112" y="48"/>
                      </a:lnTo>
                      <a:lnTo>
                        <a:pt x="96" y="56"/>
                      </a:lnTo>
                      <a:lnTo>
                        <a:pt x="88" y="72"/>
                      </a:lnTo>
                      <a:lnTo>
                        <a:pt x="80" y="72"/>
                      </a:lnTo>
                      <a:lnTo>
                        <a:pt x="72" y="88"/>
                      </a:lnTo>
                      <a:lnTo>
                        <a:pt x="72" y="112"/>
                      </a:lnTo>
                      <a:lnTo>
                        <a:pt x="80" y="112"/>
                      </a:lnTo>
                      <a:lnTo>
                        <a:pt x="104" y="144"/>
                      </a:lnTo>
                      <a:lnTo>
                        <a:pt x="112" y="152"/>
                      </a:lnTo>
                      <a:lnTo>
                        <a:pt x="120" y="168"/>
                      </a:lnTo>
                      <a:lnTo>
                        <a:pt x="136" y="184"/>
                      </a:lnTo>
                      <a:lnTo>
                        <a:pt x="144" y="224"/>
                      </a:lnTo>
                      <a:lnTo>
                        <a:pt x="136" y="248"/>
                      </a:lnTo>
                      <a:lnTo>
                        <a:pt x="136" y="264"/>
                      </a:lnTo>
                      <a:lnTo>
                        <a:pt x="120" y="272"/>
                      </a:lnTo>
                      <a:lnTo>
                        <a:pt x="96" y="280"/>
                      </a:lnTo>
                      <a:lnTo>
                        <a:pt x="96" y="288"/>
                      </a:lnTo>
                      <a:lnTo>
                        <a:pt x="88" y="304"/>
                      </a:lnTo>
                      <a:lnTo>
                        <a:pt x="72" y="304"/>
                      </a:lnTo>
                      <a:lnTo>
                        <a:pt x="56" y="320"/>
                      </a:lnTo>
                      <a:lnTo>
                        <a:pt x="48" y="320"/>
                      </a:lnTo>
                      <a:lnTo>
                        <a:pt x="48" y="288"/>
                      </a:lnTo>
                      <a:lnTo>
                        <a:pt x="48" y="280"/>
                      </a:lnTo>
                      <a:lnTo>
                        <a:pt x="48" y="272"/>
                      </a:lnTo>
                      <a:lnTo>
                        <a:pt x="56" y="272"/>
                      </a:lnTo>
                      <a:lnTo>
                        <a:pt x="72" y="264"/>
                      </a:lnTo>
                      <a:lnTo>
                        <a:pt x="72" y="248"/>
                      </a:lnTo>
                      <a:lnTo>
                        <a:pt x="80" y="240"/>
                      </a:lnTo>
                      <a:lnTo>
                        <a:pt x="104" y="240"/>
                      </a:lnTo>
                      <a:lnTo>
                        <a:pt x="112" y="216"/>
                      </a:lnTo>
                      <a:lnTo>
                        <a:pt x="104" y="200"/>
                      </a:lnTo>
                      <a:lnTo>
                        <a:pt x="104" y="160"/>
                      </a:lnTo>
                      <a:lnTo>
                        <a:pt x="96" y="152"/>
                      </a:lnTo>
                      <a:lnTo>
                        <a:pt x="88" y="144"/>
                      </a:lnTo>
                      <a:lnTo>
                        <a:pt x="64" y="120"/>
                      </a:lnTo>
                      <a:lnTo>
                        <a:pt x="48" y="96"/>
                      </a:lnTo>
                      <a:lnTo>
                        <a:pt x="56" y="64"/>
                      </a:lnTo>
                      <a:lnTo>
                        <a:pt x="32" y="56"/>
                      </a:lnTo>
                      <a:lnTo>
                        <a:pt x="16" y="56"/>
                      </a:lnTo>
                      <a:lnTo>
                        <a:pt x="16" y="32"/>
                      </a:lnTo>
                      <a:lnTo>
                        <a:pt x="8" y="32"/>
                      </a:lnTo>
                      <a:lnTo>
                        <a:pt x="0" y="16"/>
                      </a:lnTo>
                      <a:lnTo>
                        <a:pt x="8" y="8"/>
                      </a:lnTo>
                      <a:lnTo>
                        <a:pt x="24" y="16"/>
                      </a:lnTo>
                      <a:lnTo>
                        <a:pt x="48" y="16"/>
                      </a:lnTo>
                      <a:lnTo>
                        <a:pt x="56" y="0"/>
                      </a:lnTo>
                      <a:lnTo>
                        <a:pt x="72" y="8"/>
                      </a:lnTo>
                      <a:lnTo>
                        <a:pt x="88" y="8"/>
                      </a:lnTo>
                      <a:lnTo>
                        <a:pt x="96" y="16"/>
                      </a:lnTo>
                      <a:lnTo>
                        <a:pt x="88" y="24"/>
                      </a:lnTo>
                      <a:lnTo>
                        <a:pt x="104" y="40"/>
                      </a:lnTo>
                      <a:lnTo>
                        <a:pt x="112" y="40"/>
                      </a:lnTo>
                      <a:lnTo>
                        <a:pt x="120" y="4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13" name="Freeform 134"/>
                <p:cNvSpPr>
                  <a:spLocks noChangeAspect="1"/>
                </p:cNvSpPr>
                <p:nvPr/>
              </p:nvSpPr>
              <p:spPr bwMode="auto">
                <a:xfrm>
                  <a:off x="4168" y="2588"/>
                  <a:ext cx="112" cy="220"/>
                </a:xfrm>
                <a:custGeom>
                  <a:avLst/>
                  <a:gdLst>
                    <a:gd name="T0" fmla="*/ 1 w 160"/>
                    <a:gd name="T1" fmla="*/ 0 h 312"/>
                    <a:gd name="T2" fmla="*/ 1 w 160"/>
                    <a:gd name="T3" fmla="*/ 1 h 312"/>
                    <a:gd name="T4" fmla="*/ 1 w 160"/>
                    <a:gd name="T5" fmla="*/ 1 h 312"/>
                    <a:gd name="T6" fmla="*/ 1 w 160"/>
                    <a:gd name="T7" fmla="*/ 1 h 312"/>
                    <a:gd name="T8" fmla="*/ 0 w 160"/>
                    <a:gd name="T9" fmla="*/ 1 h 312"/>
                    <a:gd name="T10" fmla="*/ 0 w 160"/>
                    <a:gd name="T11" fmla="*/ 1 h 312"/>
                    <a:gd name="T12" fmla="*/ 1 w 160"/>
                    <a:gd name="T13" fmla="*/ 1 h 312"/>
                    <a:gd name="T14" fmla="*/ 1 w 160"/>
                    <a:gd name="T15" fmla="*/ 1 h 312"/>
                    <a:gd name="T16" fmla="*/ 1 w 160"/>
                    <a:gd name="T17" fmla="*/ 1 h 312"/>
                    <a:gd name="T18" fmla="*/ 1 w 160"/>
                    <a:gd name="T19" fmla="*/ 1 h 312"/>
                    <a:gd name="T20" fmla="*/ 1 w 160"/>
                    <a:gd name="T21" fmla="*/ 1 h 312"/>
                    <a:gd name="T22" fmla="*/ 1 w 160"/>
                    <a:gd name="T23" fmla="*/ 1 h 312"/>
                    <a:gd name="T24" fmla="*/ 1 w 160"/>
                    <a:gd name="T25" fmla="*/ 1 h 312"/>
                    <a:gd name="T26" fmla="*/ 1 w 160"/>
                    <a:gd name="T27" fmla="*/ 1 h 312"/>
                    <a:gd name="T28" fmla="*/ 1 w 160"/>
                    <a:gd name="T29" fmla="*/ 1 h 312"/>
                    <a:gd name="T30" fmla="*/ 1 w 160"/>
                    <a:gd name="T31" fmla="*/ 1 h 312"/>
                    <a:gd name="T32" fmla="*/ 1 w 160"/>
                    <a:gd name="T33" fmla="*/ 1 h 312"/>
                    <a:gd name="T34" fmla="*/ 1 w 160"/>
                    <a:gd name="T35" fmla="*/ 1 h 312"/>
                    <a:gd name="T36" fmla="*/ 1 w 160"/>
                    <a:gd name="T37" fmla="*/ 1 h 312"/>
                    <a:gd name="T38" fmla="*/ 1 w 160"/>
                    <a:gd name="T39" fmla="*/ 1 h 312"/>
                    <a:gd name="T40" fmla="*/ 1 w 160"/>
                    <a:gd name="T41" fmla="*/ 1 h 312"/>
                    <a:gd name="T42" fmla="*/ 1 w 160"/>
                    <a:gd name="T43" fmla="*/ 1 h 312"/>
                    <a:gd name="T44" fmla="*/ 1 w 160"/>
                    <a:gd name="T45" fmla="*/ 1 h 312"/>
                    <a:gd name="T46" fmla="*/ 1 w 160"/>
                    <a:gd name="T47" fmla="*/ 1 h 312"/>
                    <a:gd name="T48" fmla="*/ 1 w 160"/>
                    <a:gd name="T49" fmla="*/ 1 h 312"/>
                    <a:gd name="T50" fmla="*/ 1 w 160"/>
                    <a:gd name="T51" fmla="*/ 1 h 312"/>
                    <a:gd name="T52" fmla="*/ 1 w 160"/>
                    <a:gd name="T53" fmla="*/ 1 h 312"/>
                    <a:gd name="T54" fmla="*/ 1 w 160"/>
                    <a:gd name="T55" fmla="*/ 1 h 312"/>
                    <a:gd name="T56" fmla="*/ 1 w 160"/>
                    <a:gd name="T57" fmla="*/ 1 h 312"/>
                    <a:gd name="T58" fmla="*/ 1 w 160"/>
                    <a:gd name="T59" fmla="*/ 1 h 312"/>
                    <a:gd name="T60" fmla="*/ 1 w 160"/>
                    <a:gd name="T61" fmla="*/ 1 h 312"/>
                    <a:gd name="T62" fmla="*/ 1 w 160"/>
                    <a:gd name="T63" fmla="*/ 1 h 312"/>
                    <a:gd name="T64" fmla="*/ 1 w 160"/>
                    <a:gd name="T65" fmla="*/ 1 h 312"/>
                    <a:gd name="T66" fmla="*/ 1 w 160"/>
                    <a:gd name="T67" fmla="*/ 1 h 312"/>
                    <a:gd name="T68" fmla="*/ 1 w 160"/>
                    <a:gd name="T69" fmla="*/ 1 h 312"/>
                    <a:gd name="T70" fmla="*/ 1 w 160"/>
                    <a:gd name="T71" fmla="*/ 1 h 312"/>
                    <a:gd name="T72" fmla="*/ 1 w 160"/>
                    <a:gd name="T73" fmla="*/ 1 h 312"/>
                    <a:gd name="T74" fmla="*/ 1 w 160"/>
                    <a:gd name="T75" fmla="*/ 1 h 312"/>
                    <a:gd name="T76" fmla="*/ 1 w 160"/>
                    <a:gd name="T77" fmla="*/ 1 h 312"/>
                    <a:gd name="T78" fmla="*/ 1 w 160"/>
                    <a:gd name="T79" fmla="*/ 1 h 312"/>
                    <a:gd name="T80" fmla="*/ 1 w 160"/>
                    <a:gd name="T81" fmla="*/ 1 h 312"/>
                    <a:gd name="T82" fmla="*/ 1 w 160"/>
                    <a:gd name="T83" fmla="*/ 1 h 312"/>
                    <a:gd name="T84" fmla="*/ 1 w 160"/>
                    <a:gd name="T85" fmla="*/ 1 h 312"/>
                    <a:gd name="T86" fmla="*/ 1 w 160"/>
                    <a:gd name="T87" fmla="*/ 1 h 312"/>
                    <a:gd name="T88" fmla="*/ 1 w 160"/>
                    <a:gd name="T89" fmla="*/ 1 h 312"/>
                    <a:gd name="T90" fmla="*/ 1 w 160"/>
                    <a:gd name="T91" fmla="*/ 1 h 312"/>
                    <a:gd name="T92" fmla="*/ 1 w 160"/>
                    <a:gd name="T93" fmla="*/ 1 h 312"/>
                    <a:gd name="T94" fmla="*/ 1 w 160"/>
                    <a:gd name="T95" fmla="*/ 1 h 312"/>
                    <a:gd name="T96" fmla="*/ 1 w 160"/>
                    <a:gd name="T97" fmla="*/ 1 h 312"/>
                    <a:gd name="T98" fmla="*/ 1 w 160"/>
                    <a:gd name="T99" fmla="*/ 1 h 312"/>
                    <a:gd name="T100" fmla="*/ 1 w 160"/>
                    <a:gd name="T101" fmla="*/ 1 h 312"/>
                    <a:gd name="T102" fmla="*/ 1 w 160"/>
                    <a:gd name="T103" fmla="*/ 1 h 312"/>
                    <a:gd name="T104" fmla="*/ 1 w 160"/>
                    <a:gd name="T105" fmla="*/ 1 h 312"/>
                    <a:gd name="T106" fmla="*/ 1 w 160"/>
                    <a:gd name="T107" fmla="*/ 1 h 312"/>
                    <a:gd name="T108" fmla="*/ 1 w 160"/>
                    <a:gd name="T109" fmla="*/ 1 h 312"/>
                    <a:gd name="T110" fmla="*/ 1 w 160"/>
                    <a:gd name="T111" fmla="*/ 1 h 312"/>
                    <a:gd name="T112" fmla="*/ 1 w 160"/>
                    <a:gd name="T113" fmla="*/ 1 h 312"/>
                    <a:gd name="T114" fmla="*/ 1 w 160"/>
                    <a:gd name="T115" fmla="*/ 1 h 312"/>
                    <a:gd name="T116" fmla="*/ 1 w 160"/>
                    <a:gd name="T117" fmla="*/ 1 h 312"/>
                    <a:gd name="T118" fmla="*/ 1 w 160"/>
                    <a:gd name="T119" fmla="*/ 1 h 312"/>
                    <a:gd name="T120" fmla="*/ 1 w 160"/>
                    <a:gd name="T121" fmla="*/ 0 h 312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160"/>
                    <a:gd name="T184" fmla="*/ 0 h 312"/>
                    <a:gd name="T185" fmla="*/ 160 w 160"/>
                    <a:gd name="T186" fmla="*/ 312 h 312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160" h="312">
                      <a:moveTo>
                        <a:pt x="48" y="0"/>
                      </a:moveTo>
                      <a:lnTo>
                        <a:pt x="24" y="8"/>
                      </a:lnTo>
                      <a:lnTo>
                        <a:pt x="16" y="16"/>
                      </a:lnTo>
                      <a:lnTo>
                        <a:pt x="8" y="16"/>
                      </a:lnTo>
                      <a:lnTo>
                        <a:pt x="0" y="24"/>
                      </a:lnTo>
                      <a:lnTo>
                        <a:pt x="0" y="48"/>
                      </a:lnTo>
                      <a:lnTo>
                        <a:pt x="16" y="64"/>
                      </a:lnTo>
                      <a:lnTo>
                        <a:pt x="24" y="96"/>
                      </a:lnTo>
                      <a:lnTo>
                        <a:pt x="16" y="104"/>
                      </a:lnTo>
                      <a:lnTo>
                        <a:pt x="32" y="144"/>
                      </a:lnTo>
                      <a:lnTo>
                        <a:pt x="32" y="168"/>
                      </a:lnTo>
                      <a:lnTo>
                        <a:pt x="24" y="192"/>
                      </a:lnTo>
                      <a:lnTo>
                        <a:pt x="24" y="208"/>
                      </a:lnTo>
                      <a:lnTo>
                        <a:pt x="16" y="224"/>
                      </a:lnTo>
                      <a:lnTo>
                        <a:pt x="16" y="232"/>
                      </a:lnTo>
                      <a:lnTo>
                        <a:pt x="16" y="240"/>
                      </a:lnTo>
                      <a:lnTo>
                        <a:pt x="16" y="264"/>
                      </a:lnTo>
                      <a:lnTo>
                        <a:pt x="24" y="264"/>
                      </a:lnTo>
                      <a:lnTo>
                        <a:pt x="40" y="280"/>
                      </a:lnTo>
                      <a:lnTo>
                        <a:pt x="48" y="296"/>
                      </a:lnTo>
                      <a:lnTo>
                        <a:pt x="64" y="296"/>
                      </a:lnTo>
                      <a:lnTo>
                        <a:pt x="72" y="312"/>
                      </a:lnTo>
                      <a:lnTo>
                        <a:pt x="80" y="312"/>
                      </a:lnTo>
                      <a:lnTo>
                        <a:pt x="104" y="312"/>
                      </a:lnTo>
                      <a:lnTo>
                        <a:pt x="96" y="304"/>
                      </a:lnTo>
                      <a:lnTo>
                        <a:pt x="80" y="288"/>
                      </a:lnTo>
                      <a:lnTo>
                        <a:pt x="64" y="288"/>
                      </a:lnTo>
                      <a:lnTo>
                        <a:pt x="56" y="272"/>
                      </a:lnTo>
                      <a:lnTo>
                        <a:pt x="48" y="248"/>
                      </a:lnTo>
                      <a:lnTo>
                        <a:pt x="40" y="240"/>
                      </a:lnTo>
                      <a:lnTo>
                        <a:pt x="32" y="224"/>
                      </a:lnTo>
                      <a:lnTo>
                        <a:pt x="40" y="200"/>
                      </a:lnTo>
                      <a:lnTo>
                        <a:pt x="48" y="184"/>
                      </a:lnTo>
                      <a:lnTo>
                        <a:pt x="48" y="160"/>
                      </a:lnTo>
                      <a:lnTo>
                        <a:pt x="56" y="152"/>
                      </a:lnTo>
                      <a:lnTo>
                        <a:pt x="72" y="152"/>
                      </a:lnTo>
                      <a:lnTo>
                        <a:pt x="72" y="168"/>
                      </a:lnTo>
                      <a:lnTo>
                        <a:pt x="88" y="176"/>
                      </a:lnTo>
                      <a:lnTo>
                        <a:pt x="104" y="184"/>
                      </a:lnTo>
                      <a:lnTo>
                        <a:pt x="104" y="160"/>
                      </a:lnTo>
                      <a:lnTo>
                        <a:pt x="96" y="152"/>
                      </a:lnTo>
                      <a:lnTo>
                        <a:pt x="96" y="144"/>
                      </a:lnTo>
                      <a:lnTo>
                        <a:pt x="104" y="136"/>
                      </a:lnTo>
                      <a:lnTo>
                        <a:pt x="112" y="128"/>
                      </a:lnTo>
                      <a:lnTo>
                        <a:pt x="120" y="120"/>
                      </a:lnTo>
                      <a:lnTo>
                        <a:pt x="152" y="136"/>
                      </a:lnTo>
                      <a:lnTo>
                        <a:pt x="160" y="104"/>
                      </a:lnTo>
                      <a:lnTo>
                        <a:pt x="160" y="96"/>
                      </a:lnTo>
                      <a:lnTo>
                        <a:pt x="136" y="72"/>
                      </a:lnTo>
                      <a:lnTo>
                        <a:pt x="128" y="48"/>
                      </a:lnTo>
                      <a:lnTo>
                        <a:pt x="120" y="40"/>
                      </a:lnTo>
                      <a:lnTo>
                        <a:pt x="112" y="56"/>
                      </a:lnTo>
                      <a:lnTo>
                        <a:pt x="104" y="56"/>
                      </a:lnTo>
                      <a:lnTo>
                        <a:pt x="96" y="48"/>
                      </a:lnTo>
                      <a:lnTo>
                        <a:pt x="80" y="48"/>
                      </a:lnTo>
                      <a:lnTo>
                        <a:pt x="72" y="64"/>
                      </a:lnTo>
                      <a:lnTo>
                        <a:pt x="64" y="56"/>
                      </a:lnTo>
                      <a:lnTo>
                        <a:pt x="64" y="48"/>
                      </a:lnTo>
                      <a:lnTo>
                        <a:pt x="72" y="24"/>
                      </a:lnTo>
                      <a:lnTo>
                        <a:pt x="56" y="16"/>
                      </a:lnTo>
                      <a:lnTo>
                        <a:pt x="48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14" name="Freeform 135"/>
                <p:cNvSpPr>
                  <a:spLocks noChangeAspect="1"/>
                </p:cNvSpPr>
                <p:nvPr/>
              </p:nvSpPr>
              <p:spPr bwMode="auto">
                <a:xfrm>
                  <a:off x="4410" y="2819"/>
                  <a:ext cx="16" cy="11"/>
                </a:xfrm>
                <a:custGeom>
                  <a:avLst/>
                  <a:gdLst>
                    <a:gd name="T0" fmla="*/ 1 w 24"/>
                    <a:gd name="T1" fmla="*/ 0 h 16"/>
                    <a:gd name="T2" fmla="*/ 1 w 24"/>
                    <a:gd name="T3" fmla="*/ 0 h 16"/>
                    <a:gd name="T4" fmla="*/ 0 w 24"/>
                    <a:gd name="T5" fmla="*/ 0 h 16"/>
                    <a:gd name="T6" fmla="*/ 0 w 24"/>
                    <a:gd name="T7" fmla="*/ 1 h 16"/>
                    <a:gd name="T8" fmla="*/ 1 w 24"/>
                    <a:gd name="T9" fmla="*/ 1 h 16"/>
                    <a:gd name="T10" fmla="*/ 1 w 24"/>
                    <a:gd name="T11" fmla="*/ 1 h 16"/>
                    <a:gd name="T12" fmla="*/ 1 w 24"/>
                    <a:gd name="T13" fmla="*/ 1 h 16"/>
                    <a:gd name="T14" fmla="*/ 1 w 24"/>
                    <a:gd name="T15" fmla="*/ 1 h 16"/>
                    <a:gd name="T16" fmla="*/ 1 w 24"/>
                    <a:gd name="T17" fmla="*/ 0 h 1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24"/>
                    <a:gd name="T28" fmla="*/ 0 h 16"/>
                    <a:gd name="T29" fmla="*/ 24 w 24"/>
                    <a:gd name="T30" fmla="*/ 16 h 1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24" h="16">
                      <a:moveTo>
                        <a:pt x="24" y="0"/>
                      </a:move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0" y="16"/>
                      </a:lnTo>
                      <a:lnTo>
                        <a:pt x="8" y="16"/>
                      </a:lnTo>
                      <a:lnTo>
                        <a:pt x="8" y="8"/>
                      </a:lnTo>
                      <a:lnTo>
                        <a:pt x="16" y="8"/>
                      </a:lnTo>
                      <a:lnTo>
                        <a:pt x="24" y="8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15" name="Freeform 136"/>
                <p:cNvSpPr>
                  <a:spLocks noChangeAspect="1"/>
                </p:cNvSpPr>
                <p:nvPr/>
              </p:nvSpPr>
              <p:spPr bwMode="auto">
                <a:xfrm>
                  <a:off x="4331" y="2824"/>
                  <a:ext cx="146" cy="119"/>
                </a:xfrm>
                <a:custGeom>
                  <a:avLst/>
                  <a:gdLst>
                    <a:gd name="T0" fmla="*/ 1 w 208"/>
                    <a:gd name="T1" fmla="*/ 1 h 168"/>
                    <a:gd name="T2" fmla="*/ 1 w 208"/>
                    <a:gd name="T3" fmla="*/ 1 h 168"/>
                    <a:gd name="T4" fmla="*/ 1 w 208"/>
                    <a:gd name="T5" fmla="*/ 1 h 168"/>
                    <a:gd name="T6" fmla="*/ 1 w 208"/>
                    <a:gd name="T7" fmla="*/ 1 h 168"/>
                    <a:gd name="T8" fmla="*/ 1 w 208"/>
                    <a:gd name="T9" fmla="*/ 1 h 168"/>
                    <a:gd name="T10" fmla="*/ 1 w 208"/>
                    <a:gd name="T11" fmla="*/ 1 h 168"/>
                    <a:gd name="T12" fmla="*/ 1 w 208"/>
                    <a:gd name="T13" fmla="*/ 1 h 168"/>
                    <a:gd name="T14" fmla="*/ 1 w 208"/>
                    <a:gd name="T15" fmla="*/ 1 h 168"/>
                    <a:gd name="T16" fmla="*/ 1 w 208"/>
                    <a:gd name="T17" fmla="*/ 1 h 168"/>
                    <a:gd name="T18" fmla="*/ 1 w 208"/>
                    <a:gd name="T19" fmla="*/ 1 h 168"/>
                    <a:gd name="T20" fmla="*/ 1 w 208"/>
                    <a:gd name="T21" fmla="*/ 1 h 168"/>
                    <a:gd name="T22" fmla="*/ 1 w 208"/>
                    <a:gd name="T23" fmla="*/ 1 h 168"/>
                    <a:gd name="T24" fmla="*/ 1 w 208"/>
                    <a:gd name="T25" fmla="*/ 1 h 168"/>
                    <a:gd name="T26" fmla="*/ 1 w 208"/>
                    <a:gd name="T27" fmla="*/ 1 h 168"/>
                    <a:gd name="T28" fmla="*/ 1 w 208"/>
                    <a:gd name="T29" fmla="*/ 1 h 168"/>
                    <a:gd name="T30" fmla="*/ 1 w 208"/>
                    <a:gd name="T31" fmla="*/ 1 h 168"/>
                    <a:gd name="T32" fmla="*/ 1 w 208"/>
                    <a:gd name="T33" fmla="*/ 1 h 168"/>
                    <a:gd name="T34" fmla="*/ 1 w 208"/>
                    <a:gd name="T35" fmla="*/ 1 h 168"/>
                    <a:gd name="T36" fmla="*/ 1 w 208"/>
                    <a:gd name="T37" fmla="*/ 1 h 168"/>
                    <a:gd name="T38" fmla="*/ 1 w 208"/>
                    <a:gd name="T39" fmla="*/ 1 h 168"/>
                    <a:gd name="T40" fmla="*/ 1 w 208"/>
                    <a:gd name="T41" fmla="*/ 1 h 168"/>
                    <a:gd name="T42" fmla="*/ 1 w 208"/>
                    <a:gd name="T43" fmla="*/ 1 h 168"/>
                    <a:gd name="T44" fmla="*/ 1 w 208"/>
                    <a:gd name="T45" fmla="*/ 1 h 168"/>
                    <a:gd name="T46" fmla="*/ 1 w 208"/>
                    <a:gd name="T47" fmla="*/ 1 h 168"/>
                    <a:gd name="T48" fmla="*/ 0 w 208"/>
                    <a:gd name="T49" fmla="*/ 1 h 168"/>
                    <a:gd name="T50" fmla="*/ 1 w 208"/>
                    <a:gd name="T51" fmla="*/ 1 h 168"/>
                    <a:gd name="T52" fmla="*/ 1 w 208"/>
                    <a:gd name="T53" fmla="*/ 1 h 168"/>
                    <a:gd name="T54" fmla="*/ 1 w 208"/>
                    <a:gd name="T55" fmla="*/ 1 h 168"/>
                    <a:gd name="T56" fmla="*/ 1 w 208"/>
                    <a:gd name="T57" fmla="*/ 1 h 168"/>
                    <a:gd name="T58" fmla="*/ 1 w 208"/>
                    <a:gd name="T59" fmla="*/ 1 h 168"/>
                    <a:gd name="T60" fmla="*/ 1 w 208"/>
                    <a:gd name="T61" fmla="*/ 1 h 168"/>
                    <a:gd name="T62" fmla="*/ 1 w 208"/>
                    <a:gd name="T63" fmla="*/ 1 h 168"/>
                    <a:gd name="T64" fmla="*/ 1 w 208"/>
                    <a:gd name="T65" fmla="*/ 1 h 168"/>
                    <a:gd name="T66" fmla="*/ 1 w 208"/>
                    <a:gd name="T67" fmla="*/ 1 h 168"/>
                    <a:gd name="T68" fmla="*/ 1 w 208"/>
                    <a:gd name="T69" fmla="*/ 1 h 168"/>
                    <a:gd name="T70" fmla="*/ 1 w 208"/>
                    <a:gd name="T71" fmla="*/ 1 h 168"/>
                    <a:gd name="T72" fmla="*/ 1 w 208"/>
                    <a:gd name="T73" fmla="*/ 1 h 168"/>
                    <a:gd name="T74" fmla="*/ 1 w 208"/>
                    <a:gd name="T75" fmla="*/ 0 h 168"/>
                    <a:gd name="T76" fmla="*/ 1 w 208"/>
                    <a:gd name="T77" fmla="*/ 0 h 168"/>
                    <a:gd name="T78" fmla="*/ 1 w 208"/>
                    <a:gd name="T79" fmla="*/ 1 h 168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08"/>
                    <a:gd name="T121" fmla="*/ 0 h 168"/>
                    <a:gd name="T122" fmla="*/ 208 w 208"/>
                    <a:gd name="T123" fmla="*/ 168 h 168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08" h="168">
                      <a:moveTo>
                        <a:pt x="176" y="8"/>
                      </a:moveTo>
                      <a:lnTo>
                        <a:pt x="176" y="24"/>
                      </a:lnTo>
                      <a:lnTo>
                        <a:pt x="184" y="32"/>
                      </a:lnTo>
                      <a:lnTo>
                        <a:pt x="184" y="48"/>
                      </a:lnTo>
                      <a:lnTo>
                        <a:pt x="200" y="56"/>
                      </a:lnTo>
                      <a:lnTo>
                        <a:pt x="208" y="72"/>
                      </a:lnTo>
                      <a:lnTo>
                        <a:pt x="192" y="72"/>
                      </a:lnTo>
                      <a:lnTo>
                        <a:pt x="192" y="64"/>
                      </a:lnTo>
                      <a:lnTo>
                        <a:pt x="176" y="72"/>
                      </a:lnTo>
                      <a:lnTo>
                        <a:pt x="176" y="96"/>
                      </a:lnTo>
                      <a:lnTo>
                        <a:pt x="160" y="112"/>
                      </a:lnTo>
                      <a:lnTo>
                        <a:pt x="152" y="120"/>
                      </a:lnTo>
                      <a:lnTo>
                        <a:pt x="152" y="144"/>
                      </a:lnTo>
                      <a:lnTo>
                        <a:pt x="136" y="160"/>
                      </a:lnTo>
                      <a:lnTo>
                        <a:pt x="120" y="168"/>
                      </a:lnTo>
                      <a:lnTo>
                        <a:pt x="120" y="160"/>
                      </a:lnTo>
                      <a:lnTo>
                        <a:pt x="104" y="152"/>
                      </a:lnTo>
                      <a:lnTo>
                        <a:pt x="96" y="152"/>
                      </a:lnTo>
                      <a:lnTo>
                        <a:pt x="80" y="144"/>
                      </a:lnTo>
                      <a:lnTo>
                        <a:pt x="64" y="152"/>
                      </a:lnTo>
                      <a:lnTo>
                        <a:pt x="56" y="144"/>
                      </a:lnTo>
                      <a:lnTo>
                        <a:pt x="32" y="144"/>
                      </a:lnTo>
                      <a:lnTo>
                        <a:pt x="24" y="112"/>
                      </a:lnTo>
                      <a:lnTo>
                        <a:pt x="8" y="96"/>
                      </a:lnTo>
                      <a:lnTo>
                        <a:pt x="0" y="56"/>
                      </a:lnTo>
                      <a:lnTo>
                        <a:pt x="16" y="48"/>
                      </a:lnTo>
                      <a:lnTo>
                        <a:pt x="16" y="56"/>
                      </a:lnTo>
                      <a:lnTo>
                        <a:pt x="16" y="48"/>
                      </a:lnTo>
                      <a:lnTo>
                        <a:pt x="24" y="56"/>
                      </a:lnTo>
                      <a:lnTo>
                        <a:pt x="24" y="72"/>
                      </a:lnTo>
                      <a:lnTo>
                        <a:pt x="56" y="72"/>
                      </a:lnTo>
                      <a:lnTo>
                        <a:pt x="72" y="64"/>
                      </a:lnTo>
                      <a:lnTo>
                        <a:pt x="80" y="56"/>
                      </a:lnTo>
                      <a:lnTo>
                        <a:pt x="88" y="64"/>
                      </a:lnTo>
                      <a:lnTo>
                        <a:pt x="112" y="56"/>
                      </a:lnTo>
                      <a:lnTo>
                        <a:pt x="128" y="40"/>
                      </a:lnTo>
                      <a:lnTo>
                        <a:pt x="136" y="8"/>
                      </a:lnTo>
                      <a:lnTo>
                        <a:pt x="144" y="0"/>
                      </a:lnTo>
                      <a:lnTo>
                        <a:pt x="168" y="0"/>
                      </a:lnTo>
                      <a:lnTo>
                        <a:pt x="176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16" name="Freeform 137"/>
                <p:cNvSpPr>
                  <a:spLocks noChangeAspect="1"/>
                </p:cNvSpPr>
                <p:nvPr/>
              </p:nvSpPr>
              <p:spPr bwMode="auto">
                <a:xfrm>
                  <a:off x="4342" y="2779"/>
                  <a:ext cx="135" cy="96"/>
                </a:xfrm>
                <a:custGeom>
                  <a:avLst/>
                  <a:gdLst>
                    <a:gd name="T0" fmla="*/ 0 w 192"/>
                    <a:gd name="T1" fmla="*/ 1 h 136"/>
                    <a:gd name="T2" fmla="*/ 1 w 192"/>
                    <a:gd name="T3" fmla="*/ 1 h 136"/>
                    <a:gd name="T4" fmla="*/ 1 w 192"/>
                    <a:gd name="T5" fmla="*/ 1 h 136"/>
                    <a:gd name="T6" fmla="*/ 1 w 192"/>
                    <a:gd name="T7" fmla="*/ 1 h 136"/>
                    <a:gd name="T8" fmla="*/ 1 w 192"/>
                    <a:gd name="T9" fmla="*/ 1 h 136"/>
                    <a:gd name="T10" fmla="*/ 1 w 192"/>
                    <a:gd name="T11" fmla="*/ 1 h 136"/>
                    <a:gd name="T12" fmla="*/ 1 w 192"/>
                    <a:gd name="T13" fmla="*/ 1 h 136"/>
                    <a:gd name="T14" fmla="*/ 1 w 192"/>
                    <a:gd name="T15" fmla="*/ 1 h 136"/>
                    <a:gd name="T16" fmla="*/ 1 w 192"/>
                    <a:gd name="T17" fmla="*/ 1 h 136"/>
                    <a:gd name="T18" fmla="*/ 1 w 192"/>
                    <a:gd name="T19" fmla="*/ 1 h 136"/>
                    <a:gd name="T20" fmla="*/ 1 w 192"/>
                    <a:gd name="T21" fmla="*/ 1 h 136"/>
                    <a:gd name="T22" fmla="*/ 1 w 192"/>
                    <a:gd name="T23" fmla="*/ 1 h 136"/>
                    <a:gd name="T24" fmla="*/ 1 w 192"/>
                    <a:gd name="T25" fmla="*/ 1 h 136"/>
                    <a:gd name="T26" fmla="*/ 1 w 192"/>
                    <a:gd name="T27" fmla="*/ 1 h 136"/>
                    <a:gd name="T28" fmla="*/ 1 w 192"/>
                    <a:gd name="T29" fmla="*/ 1 h 136"/>
                    <a:gd name="T30" fmla="*/ 1 w 192"/>
                    <a:gd name="T31" fmla="*/ 0 h 136"/>
                    <a:gd name="T32" fmla="*/ 1 w 192"/>
                    <a:gd name="T33" fmla="*/ 1 h 136"/>
                    <a:gd name="T34" fmla="*/ 1 w 192"/>
                    <a:gd name="T35" fmla="*/ 1 h 136"/>
                    <a:gd name="T36" fmla="*/ 1 w 192"/>
                    <a:gd name="T37" fmla="*/ 1 h 136"/>
                    <a:gd name="T38" fmla="*/ 1 w 192"/>
                    <a:gd name="T39" fmla="*/ 1 h 136"/>
                    <a:gd name="T40" fmla="*/ 1 w 192"/>
                    <a:gd name="T41" fmla="*/ 1 h 136"/>
                    <a:gd name="T42" fmla="*/ 1 w 192"/>
                    <a:gd name="T43" fmla="*/ 1 h 136"/>
                    <a:gd name="T44" fmla="*/ 1 w 192"/>
                    <a:gd name="T45" fmla="*/ 1 h 136"/>
                    <a:gd name="T46" fmla="*/ 1 w 192"/>
                    <a:gd name="T47" fmla="*/ 1 h 136"/>
                    <a:gd name="T48" fmla="*/ 1 w 192"/>
                    <a:gd name="T49" fmla="*/ 1 h 136"/>
                    <a:gd name="T50" fmla="*/ 1 w 192"/>
                    <a:gd name="T51" fmla="*/ 1 h 136"/>
                    <a:gd name="T52" fmla="*/ 1 w 192"/>
                    <a:gd name="T53" fmla="*/ 1 h 136"/>
                    <a:gd name="T54" fmla="*/ 1 w 192"/>
                    <a:gd name="T55" fmla="*/ 1 h 136"/>
                    <a:gd name="T56" fmla="*/ 1 w 192"/>
                    <a:gd name="T57" fmla="*/ 1 h 136"/>
                    <a:gd name="T58" fmla="*/ 1 w 192"/>
                    <a:gd name="T59" fmla="*/ 1 h 136"/>
                    <a:gd name="T60" fmla="*/ 1 w 192"/>
                    <a:gd name="T61" fmla="*/ 1 h 136"/>
                    <a:gd name="T62" fmla="*/ 1 w 192"/>
                    <a:gd name="T63" fmla="*/ 1 h 136"/>
                    <a:gd name="T64" fmla="*/ 1 w 192"/>
                    <a:gd name="T65" fmla="*/ 1 h 136"/>
                    <a:gd name="T66" fmla="*/ 1 w 192"/>
                    <a:gd name="T67" fmla="*/ 1 h 136"/>
                    <a:gd name="T68" fmla="*/ 0 w 192"/>
                    <a:gd name="T69" fmla="*/ 1 h 136"/>
                    <a:gd name="T70" fmla="*/ 0 w 192"/>
                    <a:gd name="T71" fmla="*/ 1 h 1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192"/>
                    <a:gd name="T109" fmla="*/ 0 h 136"/>
                    <a:gd name="T110" fmla="*/ 192 w 192"/>
                    <a:gd name="T111" fmla="*/ 136 h 136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192" h="136">
                      <a:moveTo>
                        <a:pt x="0" y="120"/>
                      </a:moveTo>
                      <a:lnTo>
                        <a:pt x="32" y="112"/>
                      </a:lnTo>
                      <a:lnTo>
                        <a:pt x="32" y="96"/>
                      </a:lnTo>
                      <a:lnTo>
                        <a:pt x="48" y="96"/>
                      </a:lnTo>
                      <a:lnTo>
                        <a:pt x="56" y="88"/>
                      </a:lnTo>
                      <a:lnTo>
                        <a:pt x="80" y="80"/>
                      </a:lnTo>
                      <a:lnTo>
                        <a:pt x="88" y="56"/>
                      </a:lnTo>
                      <a:lnTo>
                        <a:pt x="96" y="56"/>
                      </a:lnTo>
                      <a:lnTo>
                        <a:pt x="96" y="72"/>
                      </a:lnTo>
                      <a:lnTo>
                        <a:pt x="104" y="72"/>
                      </a:lnTo>
                      <a:lnTo>
                        <a:pt x="104" y="64"/>
                      </a:lnTo>
                      <a:lnTo>
                        <a:pt x="112" y="64"/>
                      </a:lnTo>
                      <a:lnTo>
                        <a:pt x="120" y="64"/>
                      </a:lnTo>
                      <a:lnTo>
                        <a:pt x="120" y="56"/>
                      </a:lnTo>
                      <a:lnTo>
                        <a:pt x="120" y="32"/>
                      </a:lnTo>
                      <a:lnTo>
                        <a:pt x="152" y="0"/>
                      </a:lnTo>
                      <a:lnTo>
                        <a:pt x="160" y="24"/>
                      </a:lnTo>
                      <a:lnTo>
                        <a:pt x="184" y="24"/>
                      </a:lnTo>
                      <a:lnTo>
                        <a:pt x="192" y="40"/>
                      </a:lnTo>
                      <a:lnTo>
                        <a:pt x="176" y="48"/>
                      </a:lnTo>
                      <a:lnTo>
                        <a:pt x="184" y="56"/>
                      </a:lnTo>
                      <a:lnTo>
                        <a:pt x="168" y="64"/>
                      </a:lnTo>
                      <a:lnTo>
                        <a:pt x="160" y="72"/>
                      </a:lnTo>
                      <a:lnTo>
                        <a:pt x="152" y="64"/>
                      </a:lnTo>
                      <a:lnTo>
                        <a:pt x="128" y="64"/>
                      </a:lnTo>
                      <a:lnTo>
                        <a:pt x="120" y="72"/>
                      </a:lnTo>
                      <a:lnTo>
                        <a:pt x="112" y="104"/>
                      </a:lnTo>
                      <a:lnTo>
                        <a:pt x="96" y="120"/>
                      </a:lnTo>
                      <a:lnTo>
                        <a:pt x="72" y="128"/>
                      </a:lnTo>
                      <a:lnTo>
                        <a:pt x="64" y="120"/>
                      </a:lnTo>
                      <a:lnTo>
                        <a:pt x="56" y="128"/>
                      </a:lnTo>
                      <a:lnTo>
                        <a:pt x="40" y="136"/>
                      </a:lnTo>
                      <a:lnTo>
                        <a:pt x="8" y="136"/>
                      </a:lnTo>
                      <a:lnTo>
                        <a:pt x="8" y="120"/>
                      </a:lnTo>
                      <a:lnTo>
                        <a:pt x="0" y="112"/>
                      </a:lnTo>
                      <a:lnTo>
                        <a:pt x="0" y="12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17" name="Freeform 138"/>
                <p:cNvSpPr>
                  <a:spLocks noChangeAspect="1"/>
                </p:cNvSpPr>
                <p:nvPr/>
              </p:nvSpPr>
              <p:spPr bwMode="auto">
                <a:xfrm>
                  <a:off x="4652" y="2892"/>
                  <a:ext cx="146" cy="124"/>
                </a:xfrm>
                <a:custGeom>
                  <a:avLst/>
                  <a:gdLst>
                    <a:gd name="T0" fmla="*/ 1 w 208"/>
                    <a:gd name="T1" fmla="*/ 1 h 176"/>
                    <a:gd name="T2" fmla="*/ 1 w 208"/>
                    <a:gd name="T3" fmla="*/ 1 h 176"/>
                    <a:gd name="T4" fmla="*/ 1 w 208"/>
                    <a:gd name="T5" fmla="*/ 1 h 176"/>
                    <a:gd name="T6" fmla="*/ 1 w 208"/>
                    <a:gd name="T7" fmla="*/ 1 h 176"/>
                    <a:gd name="T8" fmla="*/ 1 w 208"/>
                    <a:gd name="T9" fmla="*/ 1 h 176"/>
                    <a:gd name="T10" fmla="*/ 1 w 208"/>
                    <a:gd name="T11" fmla="*/ 1 h 176"/>
                    <a:gd name="T12" fmla="*/ 1 w 208"/>
                    <a:gd name="T13" fmla="*/ 1 h 176"/>
                    <a:gd name="T14" fmla="*/ 1 w 208"/>
                    <a:gd name="T15" fmla="*/ 1 h 176"/>
                    <a:gd name="T16" fmla="*/ 1 w 208"/>
                    <a:gd name="T17" fmla="*/ 1 h 176"/>
                    <a:gd name="T18" fmla="*/ 1 w 208"/>
                    <a:gd name="T19" fmla="*/ 1 h 176"/>
                    <a:gd name="T20" fmla="*/ 1 w 208"/>
                    <a:gd name="T21" fmla="*/ 1 h 176"/>
                    <a:gd name="T22" fmla="*/ 1 w 208"/>
                    <a:gd name="T23" fmla="*/ 1 h 176"/>
                    <a:gd name="T24" fmla="*/ 1 w 208"/>
                    <a:gd name="T25" fmla="*/ 1 h 176"/>
                    <a:gd name="T26" fmla="*/ 1 w 208"/>
                    <a:gd name="T27" fmla="*/ 1 h 176"/>
                    <a:gd name="T28" fmla="*/ 1 w 208"/>
                    <a:gd name="T29" fmla="*/ 1 h 176"/>
                    <a:gd name="T30" fmla="*/ 1 w 208"/>
                    <a:gd name="T31" fmla="*/ 1 h 176"/>
                    <a:gd name="T32" fmla="*/ 1 w 208"/>
                    <a:gd name="T33" fmla="*/ 1 h 176"/>
                    <a:gd name="T34" fmla="*/ 1 w 208"/>
                    <a:gd name="T35" fmla="*/ 1 h 176"/>
                    <a:gd name="T36" fmla="*/ 1 w 208"/>
                    <a:gd name="T37" fmla="*/ 0 h 176"/>
                    <a:gd name="T38" fmla="*/ 1 w 208"/>
                    <a:gd name="T39" fmla="*/ 0 h 176"/>
                    <a:gd name="T40" fmla="*/ 1 w 208"/>
                    <a:gd name="T41" fmla="*/ 1 h 176"/>
                    <a:gd name="T42" fmla="*/ 1 w 208"/>
                    <a:gd name="T43" fmla="*/ 1 h 176"/>
                    <a:gd name="T44" fmla="*/ 0 w 208"/>
                    <a:gd name="T45" fmla="*/ 1 h 176"/>
                    <a:gd name="T46" fmla="*/ 1 w 208"/>
                    <a:gd name="T47" fmla="*/ 1 h 176"/>
                    <a:gd name="T48" fmla="*/ 1 w 208"/>
                    <a:gd name="T49" fmla="*/ 1 h 176"/>
                    <a:gd name="T50" fmla="*/ 1 w 208"/>
                    <a:gd name="T51" fmla="*/ 1 h 176"/>
                    <a:gd name="T52" fmla="*/ 1 w 208"/>
                    <a:gd name="T53" fmla="*/ 1 h 176"/>
                    <a:gd name="T54" fmla="*/ 1 w 208"/>
                    <a:gd name="T55" fmla="*/ 1 h 176"/>
                    <a:gd name="T56" fmla="*/ 1 w 208"/>
                    <a:gd name="T57" fmla="*/ 1 h 176"/>
                    <a:gd name="T58" fmla="*/ 1 w 208"/>
                    <a:gd name="T59" fmla="*/ 1 h 176"/>
                    <a:gd name="T60" fmla="*/ 1 w 208"/>
                    <a:gd name="T61" fmla="*/ 1 h 176"/>
                    <a:gd name="T62" fmla="*/ 1 w 208"/>
                    <a:gd name="T63" fmla="*/ 1 h 176"/>
                    <a:gd name="T64" fmla="*/ 1 w 208"/>
                    <a:gd name="T65" fmla="*/ 1 h 176"/>
                    <a:gd name="T66" fmla="*/ 1 w 208"/>
                    <a:gd name="T67" fmla="*/ 1 h 176"/>
                    <a:gd name="T68" fmla="*/ 1 w 208"/>
                    <a:gd name="T69" fmla="*/ 1 h 176"/>
                    <a:gd name="T70" fmla="*/ 1 w 208"/>
                    <a:gd name="T71" fmla="*/ 1 h 176"/>
                    <a:gd name="T72" fmla="*/ 1 w 208"/>
                    <a:gd name="T73" fmla="*/ 1 h 176"/>
                    <a:gd name="T74" fmla="*/ 1 w 208"/>
                    <a:gd name="T75" fmla="*/ 1 h 176"/>
                    <a:gd name="T76" fmla="*/ 1 w 208"/>
                    <a:gd name="T77" fmla="*/ 1 h 176"/>
                    <a:gd name="T78" fmla="*/ 1 w 208"/>
                    <a:gd name="T79" fmla="*/ 1 h 176"/>
                    <a:gd name="T80" fmla="*/ 1 w 208"/>
                    <a:gd name="T81" fmla="*/ 1 h 176"/>
                    <a:gd name="T82" fmla="*/ 1 w 208"/>
                    <a:gd name="T83" fmla="*/ 1 h 176"/>
                    <a:gd name="T84" fmla="*/ 1 w 208"/>
                    <a:gd name="T85" fmla="*/ 1 h 176"/>
                    <a:gd name="T86" fmla="*/ 1 w 208"/>
                    <a:gd name="T87" fmla="*/ 1 h 176"/>
                    <a:gd name="T88" fmla="*/ 1 w 208"/>
                    <a:gd name="T89" fmla="*/ 1 h 176"/>
                    <a:gd name="T90" fmla="*/ 1 w 208"/>
                    <a:gd name="T91" fmla="*/ 1 h 176"/>
                    <a:gd name="T92" fmla="*/ 1 w 208"/>
                    <a:gd name="T93" fmla="*/ 1 h 17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w 208"/>
                    <a:gd name="T142" fmla="*/ 0 h 176"/>
                    <a:gd name="T143" fmla="*/ 208 w 208"/>
                    <a:gd name="T144" fmla="*/ 176 h 17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T141" t="T142" r="T143" b="T144"/>
                  <a:pathLst>
                    <a:path w="208" h="176">
                      <a:moveTo>
                        <a:pt x="208" y="176"/>
                      </a:moveTo>
                      <a:lnTo>
                        <a:pt x="208" y="136"/>
                      </a:lnTo>
                      <a:lnTo>
                        <a:pt x="200" y="128"/>
                      </a:lnTo>
                      <a:lnTo>
                        <a:pt x="200" y="120"/>
                      </a:lnTo>
                      <a:lnTo>
                        <a:pt x="208" y="112"/>
                      </a:lnTo>
                      <a:lnTo>
                        <a:pt x="200" y="40"/>
                      </a:lnTo>
                      <a:lnTo>
                        <a:pt x="184" y="40"/>
                      </a:lnTo>
                      <a:lnTo>
                        <a:pt x="168" y="24"/>
                      </a:lnTo>
                      <a:lnTo>
                        <a:pt x="128" y="24"/>
                      </a:lnTo>
                      <a:lnTo>
                        <a:pt x="120" y="24"/>
                      </a:lnTo>
                      <a:lnTo>
                        <a:pt x="120" y="32"/>
                      </a:lnTo>
                      <a:lnTo>
                        <a:pt x="88" y="56"/>
                      </a:lnTo>
                      <a:lnTo>
                        <a:pt x="80" y="48"/>
                      </a:lnTo>
                      <a:lnTo>
                        <a:pt x="72" y="40"/>
                      </a:lnTo>
                      <a:lnTo>
                        <a:pt x="64" y="32"/>
                      </a:lnTo>
                      <a:lnTo>
                        <a:pt x="64" y="16"/>
                      </a:lnTo>
                      <a:lnTo>
                        <a:pt x="56" y="8"/>
                      </a:lnTo>
                      <a:lnTo>
                        <a:pt x="40" y="8"/>
                      </a:lnTo>
                      <a:lnTo>
                        <a:pt x="32" y="0"/>
                      </a:lnTo>
                      <a:lnTo>
                        <a:pt x="24" y="0"/>
                      </a:lnTo>
                      <a:lnTo>
                        <a:pt x="16" y="8"/>
                      </a:lnTo>
                      <a:lnTo>
                        <a:pt x="8" y="8"/>
                      </a:lnTo>
                      <a:lnTo>
                        <a:pt x="0" y="16"/>
                      </a:lnTo>
                      <a:lnTo>
                        <a:pt x="16" y="24"/>
                      </a:lnTo>
                      <a:lnTo>
                        <a:pt x="24" y="32"/>
                      </a:lnTo>
                      <a:lnTo>
                        <a:pt x="32" y="40"/>
                      </a:lnTo>
                      <a:lnTo>
                        <a:pt x="48" y="40"/>
                      </a:lnTo>
                      <a:lnTo>
                        <a:pt x="56" y="40"/>
                      </a:lnTo>
                      <a:lnTo>
                        <a:pt x="48" y="48"/>
                      </a:lnTo>
                      <a:lnTo>
                        <a:pt x="24" y="48"/>
                      </a:lnTo>
                      <a:lnTo>
                        <a:pt x="32" y="56"/>
                      </a:lnTo>
                      <a:lnTo>
                        <a:pt x="32" y="72"/>
                      </a:lnTo>
                      <a:lnTo>
                        <a:pt x="48" y="80"/>
                      </a:lnTo>
                      <a:lnTo>
                        <a:pt x="48" y="72"/>
                      </a:lnTo>
                      <a:lnTo>
                        <a:pt x="56" y="72"/>
                      </a:lnTo>
                      <a:lnTo>
                        <a:pt x="80" y="80"/>
                      </a:lnTo>
                      <a:lnTo>
                        <a:pt x="96" y="88"/>
                      </a:lnTo>
                      <a:lnTo>
                        <a:pt x="112" y="88"/>
                      </a:lnTo>
                      <a:lnTo>
                        <a:pt x="128" y="96"/>
                      </a:lnTo>
                      <a:lnTo>
                        <a:pt x="152" y="112"/>
                      </a:lnTo>
                      <a:lnTo>
                        <a:pt x="152" y="128"/>
                      </a:lnTo>
                      <a:lnTo>
                        <a:pt x="160" y="136"/>
                      </a:lnTo>
                      <a:lnTo>
                        <a:pt x="160" y="144"/>
                      </a:lnTo>
                      <a:lnTo>
                        <a:pt x="168" y="160"/>
                      </a:lnTo>
                      <a:lnTo>
                        <a:pt x="184" y="160"/>
                      </a:lnTo>
                      <a:lnTo>
                        <a:pt x="192" y="168"/>
                      </a:lnTo>
                      <a:lnTo>
                        <a:pt x="208" y="17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18" name="Freeform 139"/>
                <p:cNvSpPr>
                  <a:spLocks noChangeAspect="1"/>
                </p:cNvSpPr>
                <p:nvPr/>
              </p:nvSpPr>
              <p:spPr bwMode="auto">
                <a:xfrm>
                  <a:off x="4280" y="2909"/>
                  <a:ext cx="23" cy="17"/>
                </a:xfrm>
                <a:custGeom>
                  <a:avLst/>
                  <a:gdLst>
                    <a:gd name="T0" fmla="*/ 0 w 32"/>
                    <a:gd name="T1" fmla="*/ 0 h 24"/>
                    <a:gd name="T2" fmla="*/ 0 w 32"/>
                    <a:gd name="T3" fmla="*/ 1 h 24"/>
                    <a:gd name="T4" fmla="*/ 1 w 32"/>
                    <a:gd name="T5" fmla="*/ 1 h 24"/>
                    <a:gd name="T6" fmla="*/ 1 w 32"/>
                    <a:gd name="T7" fmla="*/ 1 h 24"/>
                    <a:gd name="T8" fmla="*/ 1 w 32"/>
                    <a:gd name="T9" fmla="*/ 0 h 24"/>
                    <a:gd name="T10" fmla="*/ 0 w 32"/>
                    <a:gd name="T11" fmla="*/ 0 h 2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2"/>
                    <a:gd name="T19" fmla="*/ 0 h 24"/>
                    <a:gd name="T20" fmla="*/ 32 w 32"/>
                    <a:gd name="T21" fmla="*/ 24 h 2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2" h="24">
                      <a:moveTo>
                        <a:pt x="0" y="0"/>
                      </a:moveTo>
                      <a:lnTo>
                        <a:pt x="0" y="8"/>
                      </a:lnTo>
                      <a:lnTo>
                        <a:pt x="16" y="24"/>
                      </a:lnTo>
                      <a:lnTo>
                        <a:pt x="32" y="24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19" name="Freeform 140"/>
                <p:cNvSpPr>
                  <a:spLocks noChangeAspect="1"/>
                </p:cNvSpPr>
                <p:nvPr/>
              </p:nvSpPr>
              <p:spPr bwMode="auto">
                <a:xfrm>
                  <a:off x="4584" y="2926"/>
                  <a:ext cx="11" cy="11"/>
                </a:xfrm>
                <a:custGeom>
                  <a:avLst/>
                  <a:gdLst>
                    <a:gd name="T0" fmla="*/ 0 w 16"/>
                    <a:gd name="T1" fmla="*/ 0 h 16"/>
                    <a:gd name="T2" fmla="*/ 0 w 16"/>
                    <a:gd name="T3" fmla="*/ 1 h 16"/>
                    <a:gd name="T4" fmla="*/ 1 w 16"/>
                    <a:gd name="T5" fmla="*/ 1 h 16"/>
                    <a:gd name="T6" fmla="*/ 1 w 16"/>
                    <a:gd name="T7" fmla="*/ 1 h 16"/>
                    <a:gd name="T8" fmla="*/ 1 w 16"/>
                    <a:gd name="T9" fmla="*/ 1 h 16"/>
                    <a:gd name="T10" fmla="*/ 1 w 16"/>
                    <a:gd name="T11" fmla="*/ 0 h 16"/>
                    <a:gd name="T12" fmla="*/ 0 w 16"/>
                    <a:gd name="T13" fmla="*/ 0 h 1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6"/>
                    <a:gd name="T22" fmla="*/ 0 h 16"/>
                    <a:gd name="T23" fmla="*/ 16 w 16"/>
                    <a:gd name="T24" fmla="*/ 16 h 1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6" h="16">
                      <a:moveTo>
                        <a:pt x="0" y="0"/>
                      </a:moveTo>
                      <a:lnTo>
                        <a:pt x="0" y="8"/>
                      </a:lnTo>
                      <a:lnTo>
                        <a:pt x="8" y="16"/>
                      </a:lnTo>
                      <a:lnTo>
                        <a:pt x="16" y="16"/>
                      </a:lnTo>
                      <a:lnTo>
                        <a:pt x="16" y="8"/>
                      </a:lnTo>
                      <a:lnTo>
                        <a:pt x="16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20" name="Freeform 141"/>
                <p:cNvSpPr>
                  <a:spLocks noChangeAspect="1"/>
                </p:cNvSpPr>
                <p:nvPr/>
              </p:nvSpPr>
              <p:spPr bwMode="auto">
                <a:xfrm>
                  <a:off x="4607" y="2926"/>
                  <a:ext cx="45" cy="17"/>
                </a:xfrm>
                <a:custGeom>
                  <a:avLst/>
                  <a:gdLst>
                    <a:gd name="T0" fmla="*/ 1 w 64"/>
                    <a:gd name="T1" fmla="*/ 1 h 24"/>
                    <a:gd name="T2" fmla="*/ 1 w 64"/>
                    <a:gd name="T3" fmla="*/ 1 h 24"/>
                    <a:gd name="T4" fmla="*/ 1 w 64"/>
                    <a:gd name="T5" fmla="*/ 1 h 24"/>
                    <a:gd name="T6" fmla="*/ 1 w 64"/>
                    <a:gd name="T7" fmla="*/ 1 h 24"/>
                    <a:gd name="T8" fmla="*/ 1 w 64"/>
                    <a:gd name="T9" fmla="*/ 0 h 24"/>
                    <a:gd name="T10" fmla="*/ 1 w 64"/>
                    <a:gd name="T11" fmla="*/ 0 h 24"/>
                    <a:gd name="T12" fmla="*/ 1 w 64"/>
                    <a:gd name="T13" fmla="*/ 0 h 24"/>
                    <a:gd name="T14" fmla="*/ 0 w 64"/>
                    <a:gd name="T15" fmla="*/ 1 h 24"/>
                    <a:gd name="T16" fmla="*/ 1 w 64"/>
                    <a:gd name="T17" fmla="*/ 1 h 24"/>
                    <a:gd name="T18" fmla="*/ 1 w 64"/>
                    <a:gd name="T19" fmla="*/ 1 h 24"/>
                    <a:gd name="T20" fmla="*/ 1 w 64"/>
                    <a:gd name="T21" fmla="*/ 1 h 24"/>
                    <a:gd name="T22" fmla="*/ 1 w 64"/>
                    <a:gd name="T23" fmla="*/ 1 h 24"/>
                    <a:gd name="T24" fmla="*/ 1 w 64"/>
                    <a:gd name="T25" fmla="*/ 1 h 24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64"/>
                    <a:gd name="T40" fmla="*/ 0 h 24"/>
                    <a:gd name="T41" fmla="*/ 64 w 64"/>
                    <a:gd name="T42" fmla="*/ 24 h 24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64" h="24">
                      <a:moveTo>
                        <a:pt x="56" y="24"/>
                      </a:moveTo>
                      <a:lnTo>
                        <a:pt x="64" y="16"/>
                      </a:lnTo>
                      <a:lnTo>
                        <a:pt x="64" y="8"/>
                      </a:lnTo>
                      <a:lnTo>
                        <a:pt x="56" y="8"/>
                      </a:lnTo>
                      <a:lnTo>
                        <a:pt x="48" y="0"/>
                      </a:lnTo>
                      <a:lnTo>
                        <a:pt x="40" y="0"/>
                      </a:lnTo>
                      <a:lnTo>
                        <a:pt x="16" y="0"/>
                      </a:lnTo>
                      <a:lnTo>
                        <a:pt x="0" y="8"/>
                      </a:lnTo>
                      <a:lnTo>
                        <a:pt x="8" y="16"/>
                      </a:lnTo>
                      <a:lnTo>
                        <a:pt x="16" y="8"/>
                      </a:lnTo>
                      <a:lnTo>
                        <a:pt x="24" y="8"/>
                      </a:lnTo>
                      <a:lnTo>
                        <a:pt x="40" y="8"/>
                      </a:lnTo>
                      <a:lnTo>
                        <a:pt x="56" y="24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21" name="Freeform 142"/>
                <p:cNvSpPr>
                  <a:spLocks noChangeAspect="1"/>
                </p:cNvSpPr>
                <p:nvPr/>
              </p:nvSpPr>
              <p:spPr bwMode="auto">
                <a:xfrm>
                  <a:off x="4989" y="2959"/>
                  <a:ext cx="17" cy="23"/>
                </a:xfrm>
                <a:custGeom>
                  <a:avLst/>
                  <a:gdLst>
                    <a:gd name="T0" fmla="*/ 0 w 24"/>
                    <a:gd name="T1" fmla="*/ 1 h 32"/>
                    <a:gd name="T2" fmla="*/ 1 w 24"/>
                    <a:gd name="T3" fmla="*/ 1 h 32"/>
                    <a:gd name="T4" fmla="*/ 1 w 24"/>
                    <a:gd name="T5" fmla="*/ 1 h 32"/>
                    <a:gd name="T6" fmla="*/ 1 w 24"/>
                    <a:gd name="T7" fmla="*/ 1 h 32"/>
                    <a:gd name="T8" fmla="*/ 1 w 24"/>
                    <a:gd name="T9" fmla="*/ 1 h 32"/>
                    <a:gd name="T10" fmla="*/ 1 w 24"/>
                    <a:gd name="T11" fmla="*/ 0 h 32"/>
                    <a:gd name="T12" fmla="*/ 0 w 24"/>
                    <a:gd name="T13" fmla="*/ 1 h 3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4"/>
                    <a:gd name="T22" fmla="*/ 0 h 32"/>
                    <a:gd name="T23" fmla="*/ 24 w 24"/>
                    <a:gd name="T24" fmla="*/ 32 h 32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4" h="32">
                      <a:moveTo>
                        <a:pt x="0" y="8"/>
                      </a:moveTo>
                      <a:lnTo>
                        <a:pt x="16" y="24"/>
                      </a:lnTo>
                      <a:lnTo>
                        <a:pt x="24" y="32"/>
                      </a:lnTo>
                      <a:lnTo>
                        <a:pt x="24" y="24"/>
                      </a:lnTo>
                      <a:lnTo>
                        <a:pt x="24" y="16"/>
                      </a:lnTo>
                      <a:lnTo>
                        <a:pt x="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22" name="Freeform 143"/>
                <p:cNvSpPr>
                  <a:spLocks noChangeAspect="1"/>
                </p:cNvSpPr>
                <p:nvPr/>
              </p:nvSpPr>
              <p:spPr bwMode="auto">
                <a:xfrm>
                  <a:off x="5017" y="2976"/>
                  <a:ext cx="12" cy="12"/>
                </a:xfrm>
                <a:custGeom>
                  <a:avLst/>
                  <a:gdLst>
                    <a:gd name="T0" fmla="*/ 2 w 16"/>
                    <a:gd name="T1" fmla="*/ 2 h 16"/>
                    <a:gd name="T2" fmla="*/ 2 w 16"/>
                    <a:gd name="T3" fmla="*/ 0 h 16"/>
                    <a:gd name="T4" fmla="*/ 0 w 16"/>
                    <a:gd name="T5" fmla="*/ 0 h 16"/>
                    <a:gd name="T6" fmla="*/ 0 w 16"/>
                    <a:gd name="T7" fmla="*/ 2 h 16"/>
                    <a:gd name="T8" fmla="*/ 2 w 16"/>
                    <a:gd name="T9" fmla="*/ 2 h 16"/>
                    <a:gd name="T10" fmla="*/ 2 w 16"/>
                    <a:gd name="T11" fmla="*/ 2 h 1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6"/>
                    <a:gd name="T19" fmla="*/ 0 h 16"/>
                    <a:gd name="T20" fmla="*/ 16 w 16"/>
                    <a:gd name="T21" fmla="*/ 16 h 1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6" h="16">
                      <a:moveTo>
                        <a:pt x="16" y="16"/>
                      </a:move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lnTo>
                        <a:pt x="8" y="16"/>
                      </a:lnTo>
                      <a:lnTo>
                        <a:pt x="16" y="1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23" name="Freeform 144"/>
                <p:cNvSpPr>
                  <a:spLocks noChangeAspect="1"/>
                </p:cNvSpPr>
                <p:nvPr/>
              </p:nvSpPr>
              <p:spPr bwMode="auto">
                <a:xfrm>
                  <a:off x="5045" y="2988"/>
                  <a:ext cx="23" cy="16"/>
                </a:xfrm>
                <a:custGeom>
                  <a:avLst/>
                  <a:gdLst>
                    <a:gd name="T0" fmla="*/ 1 w 32"/>
                    <a:gd name="T1" fmla="*/ 1 h 24"/>
                    <a:gd name="T2" fmla="*/ 1 w 32"/>
                    <a:gd name="T3" fmla="*/ 1 h 24"/>
                    <a:gd name="T4" fmla="*/ 0 w 32"/>
                    <a:gd name="T5" fmla="*/ 0 h 24"/>
                    <a:gd name="T6" fmla="*/ 0 w 32"/>
                    <a:gd name="T7" fmla="*/ 1 h 24"/>
                    <a:gd name="T8" fmla="*/ 0 w 32"/>
                    <a:gd name="T9" fmla="*/ 1 h 24"/>
                    <a:gd name="T10" fmla="*/ 1 w 32"/>
                    <a:gd name="T11" fmla="*/ 1 h 24"/>
                    <a:gd name="T12" fmla="*/ 1 w 32"/>
                    <a:gd name="T13" fmla="*/ 1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2"/>
                    <a:gd name="T22" fmla="*/ 0 h 24"/>
                    <a:gd name="T23" fmla="*/ 32 w 32"/>
                    <a:gd name="T24" fmla="*/ 24 h 2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2" h="24">
                      <a:moveTo>
                        <a:pt x="32" y="24"/>
                      </a:moveTo>
                      <a:lnTo>
                        <a:pt x="24" y="16"/>
                      </a:lnTo>
                      <a:lnTo>
                        <a:pt x="0" y="0"/>
                      </a:lnTo>
                      <a:lnTo>
                        <a:pt x="0" y="8"/>
                      </a:lnTo>
                      <a:lnTo>
                        <a:pt x="0" y="16"/>
                      </a:lnTo>
                      <a:lnTo>
                        <a:pt x="24" y="24"/>
                      </a:lnTo>
                      <a:lnTo>
                        <a:pt x="32" y="24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24" name="Freeform 145"/>
                <p:cNvSpPr>
                  <a:spLocks noChangeAspect="1"/>
                </p:cNvSpPr>
                <p:nvPr/>
              </p:nvSpPr>
              <p:spPr bwMode="auto">
                <a:xfrm>
                  <a:off x="5074" y="3004"/>
                  <a:ext cx="16" cy="17"/>
                </a:xfrm>
                <a:custGeom>
                  <a:avLst/>
                  <a:gdLst>
                    <a:gd name="T0" fmla="*/ 1 w 24"/>
                    <a:gd name="T1" fmla="*/ 1 h 24"/>
                    <a:gd name="T2" fmla="*/ 1 w 24"/>
                    <a:gd name="T3" fmla="*/ 0 h 24"/>
                    <a:gd name="T4" fmla="*/ 1 w 24"/>
                    <a:gd name="T5" fmla="*/ 0 h 24"/>
                    <a:gd name="T6" fmla="*/ 0 w 24"/>
                    <a:gd name="T7" fmla="*/ 1 h 24"/>
                    <a:gd name="T8" fmla="*/ 1 w 24"/>
                    <a:gd name="T9" fmla="*/ 1 h 24"/>
                    <a:gd name="T10" fmla="*/ 1 w 24"/>
                    <a:gd name="T11" fmla="*/ 1 h 24"/>
                    <a:gd name="T12" fmla="*/ 1 w 24"/>
                    <a:gd name="T13" fmla="*/ 1 h 24"/>
                    <a:gd name="T14" fmla="*/ 1 w 24"/>
                    <a:gd name="T15" fmla="*/ 1 h 2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4"/>
                    <a:gd name="T25" fmla="*/ 0 h 24"/>
                    <a:gd name="T26" fmla="*/ 24 w 24"/>
                    <a:gd name="T27" fmla="*/ 24 h 2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4" h="24">
                      <a:moveTo>
                        <a:pt x="24" y="24"/>
                      </a:moveTo>
                      <a:lnTo>
                        <a:pt x="16" y="0"/>
                      </a:lnTo>
                      <a:lnTo>
                        <a:pt x="8" y="0"/>
                      </a:lnTo>
                      <a:lnTo>
                        <a:pt x="0" y="8"/>
                      </a:lnTo>
                      <a:lnTo>
                        <a:pt x="8" y="16"/>
                      </a:lnTo>
                      <a:lnTo>
                        <a:pt x="16" y="24"/>
                      </a:lnTo>
                      <a:lnTo>
                        <a:pt x="24" y="24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25" name="Freeform 146"/>
                <p:cNvSpPr>
                  <a:spLocks noChangeAspect="1"/>
                </p:cNvSpPr>
                <p:nvPr/>
              </p:nvSpPr>
              <p:spPr bwMode="auto">
                <a:xfrm>
                  <a:off x="5164" y="3100"/>
                  <a:ext cx="5" cy="11"/>
                </a:xfrm>
                <a:custGeom>
                  <a:avLst/>
                  <a:gdLst>
                    <a:gd name="T0" fmla="*/ 0 w 8"/>
                    <a:gd name="T1" fmla="*/ 1 h 16"/>
                    <a:gd name="T2" fmla="*/ 0 w 8"/>
                    <a:gd name="T3" fmla="*/ 1 h 16"/>
                    <a:gd name="T4" fmla="*/ 1 w 8"/>
                    <a:gd name="T5" fmla="*/ 1 h 16"/>
                    <a:gd name="T6" fmla="*/ 1 w 8"/>
                    <a:gd name="T7" fmla="*/ 0 h 16"/>
                    <a:gd name="T8" fmla="*/ 0 w 8"/>
                    <a:gd name="T9" fmla="*/ 0 h 16"/>
                    <a:gd name="T10" fmla="*/ 0 w 8"/>
                    <a:gd name="T11" fmla="*/ 1 h 1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8"/>
                    <a:gd name="T19" fmla="*/ 0 h 16"/>
                    <a:gd name="T20" fmla="*/ 8 w 8"/>
                    <a:gd name="T21" fmla="*/ 16 h 1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8" h="16">
                      <a:moveTo>
                        <a:pt x="0" y="8"/>
                      </a:moveTo>
                      <a:lnTo>
                        <a:pt x="0" y="16"/>
                      </a:lnTo>
                      <a:lnTo>
                        <a:pt x="8" y="16"/>
                      </a:ln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26" name="Freeform 147"/>
                <p:cNvSpPr>
                  <a:spLocks noChangeAspect="1"/>
                </p:cNvSpPr>
                <p:nvPr/>
              </p:nvSpPr>
              <p:spPr bwMode="auto">
                <a:xfrm>
                  <a:off x="5169" y="3117"/>
                  <a:ext cx="11" cy="6"/>
                </a:xfrm>
                <a:custGeom>
                  <a:avLst/>
                  <a:gdLst>
                    <a:gd name="T0" fmla="*/ 1 w 16"/>
                    <a:gd name="T1" fmla="*/ 2 h 8"/>
                    <a:gd name="T2" fmla="*/ 1 w 16"/>
                    <a:gd name="T3" fmla="*/ 0 h 8"/>
                    <a:gd name="T4" fmla="*/ 1 w 16"/>
                    <a:gd name="T5" fmla="*/ 0 h 8"/>
                    <a:gd name="T6" fmla="*/ 0 w 16"/>
                    <a:gd name="T7" fmla="*/ 0 h 8"/>
                    <a:gd name="T8" fmla="*/ 1 w 16"/>
                    <a:gd name="T9" fmla="*/ 2 h 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6"/>
                    <a:gd name="T16" fmla="*/ 0 h 8"/>
                    <a:gd name="T17" fmla="*/ 16 w 16"/>
                    <a:gd name="T18" fmla="*/ 8 h 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6" h="8">
                      <a:moveTo>
                        <a:pt x="16" y="8"/>
                      </a:moveTo>
                      <a:lnTo>
                        <a:pt x="16" y="0"/>
                      </a:ln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16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27" name="Freeform 148"/>
                <p:cNvSpPr>
                  <a:spLocks noChangeAspect="1"/>
                </p:cNvSpPr>
                <p:nvPr/>
              </p:nvSpPr>
              <p:spPr bwMode="auto">
                <a:xfrm>
                  <a:off x="5130" y="3179"/>
                  <a:ext cx="39" cy="28"/>
                </a:xfrm>
                <a:custGeom>
                  <a:avLst/>
                  <a:gdLst>
                    <a:gd name="T0" fmla="*/ 1 w 56"/>
                    <a:gd name="T1" fmla="*/ 1 h 40"/>
                    <a:gd name="T2" fmla="*/ 1 w 56"/>
                    <a:gd name="T3" fmla="*/ 1 h 40"/>
                    <a:gd name="T4" fmla="*/ 1 w 56"/>
                    <a:gd name="T5" fmla="*/ 1 h 40"/>
                    <a:gd name="T6" fmla="*/ 1 w 56"/>
                    <a:gd name="T7" fmla="*/ 1 h 40"/>
                    <a:gd name="T8" fmla="*/ 1 w 56"/>
                    <a:gd name="T9" fmla="*/ 1 h 40"/>
                    <a:gd name="T10" fmla="*/ 0 w 56"/>
                    <a:gd name="T11" fmla="*/ 0 h 40"/>
                    <a:gd name="T12" fmla="*/ 0 w 56"/>
                    <a:gd name="T13" fmla="*/ 1 h 40"/>
                    <a:gd name="T14" fmla="*/ 0 w 56"/>
                    <a:gd name="T15" fmla="*/ 1 h 40"/>
                    <a:gd name="T16" fmla="*/ 1 w 56"/>
                    <a:gd name="T17" fmla="*/ 1 h 40"/>
                    <a:gd name="T18" fmla="*/ 1 w 56"/>
                    <a:gd name="T19" fmla="*/ 1 h 40"/>
                    <a:gd name="T20" fmla="*/ 1 w 56"/>
                    <a:gd name="T21" fmla="*/ 1 h 40"/>
                    <a:gd name="T22" fmla="*/ 1 w 56"/>
                    <a:gd name="T23" fmla="*/ 1 h 40"/>
                    <a:gd name="T24" fmla="*/ 1 w 56"/>
                    <a:gd name="T25" fmla="*/ 1 h 40"/>
                    <a:gd name="T26" fmla="*/ 1 w 56"/>
                    <a:gd name="T27" fmla="*/ 1 h 40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56"/>
                    <a:gd name="T43" fmla="*/ 0 h 40"/>
                    <a:gd name="T44" fmla="*/ 56 w 56"/>
                    <a:gd name="T45" fmla="*/ 40 h 40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56" h="40">
                      <a:moveTo>
                        <a:pt x="48" y="32"/>
                      </a:moveTo>
                      <a:lnTo>
                        <a:pt x="32" y="24"/>
                      </a:lnTo>
                      <a:lnTo>
                        <a:pt x="24" y="16"/>
                      </a:lnTo>
                      <a:lnTo>
                        <a:pt x="16" y="8"/>
                      </a:lnTo>
                      <a:lnTo>
                        <a:pt x="8" y="8"/>
                      </a:lnTo>
                      <a:lnTo>
                        <a:pt x="0" y="0"/>
                      </a:lnTo>
                      <a:lnTo>
                        <a:pt x="0" y="8"/>
                      </a:lnTo>
                      <a:lnTo>
                        <a:pt x="0" y="16"/>
                      </a:lnTo>
                      <a:lnTo>
                        <a:pt x="8" y="24"/>
                      </a:lnTo>
                      <a:lnTo>
                        <a:pt x="16" y="24"/>
                      </a:lnTo>
                      <a:lnTo>
                        <a:pt x="40" y="40"/>
                      </a:lnTo>
                      <a:lnTo>
                        <a:pt x="48" y="40"/>
                      </a:lnTo>
                      <a:lnTo>
                        <a:pt x="56" y="40"/>
                      </a:lnTo>
                      <a:lnTo>
                        <a:pt x="48" y="32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28" name="Freeform 149"/>
                <p:cNvSpPr>
                  <a:spLocks noChangeAspect="1"/>
                </p:cNvSpPr>
                <p:nvPr/>
              </p:nvSpPr>
              <p:spPr bwMode="auto">
                <a:xfrm>
                  <a:off x="5316" y="3134"/>
                  <a:ext cx="16" cy="17"/>
                </a:xfrm>
                <a:custGeom>
                  <a:avLst/>
                  <a:gdLst>
                    <a:gd name="T0" fmla="*/ 0 w 24"/>
                    <a:gd name="T1" fmla="*/ 1 h 24"/>
                    <a:gd name="T2" fmla="*/ 1 w 24"/>
                    <a:gd name="T3" fmla="*/ 1 h 24"/>
                    <a:gd name="T4" fmla="*/ 1 w 24"/>
                    <a:gd name="T5" fmla="*/ 1 h 24"/>
                    <a:gd name="T6" fmla="*/ 1 w 24"/>
                    <a:gd name="T7" fmla="*/ 1 h 24"/>
                    <a:gd name="T8" fmla="*/ 1 w 24"/>
                    <a:gd name="T9" fmla="*/ 0 h 24"/>
                    <a:gd name="T10" fmla="*/ 0 w 24"/>
                    <a:gd name="T11" fmla="*/ 1 h 24"/>
                    <a:gd name="T12" fmla="*/ 0 w 24"/>
                    <a:gd name="T13" fmla="*/ 1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4"/>
                    <a:gd name="T22" fmla="*/ 0 h 24"/>
                    <a:gd name="T23" fmla="*/ 24 w 24"/>
                    <a:gd name="T24" fmla="*/ 24 h 2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4" h="24">
                      <a:moveTo>
                        <a:pt x="0" y="16"/>
                      </a:moveTo>
                      <a:lnTo>
                        <a:pt x="8" y="24"/>
                      </a:lnTo>
                      <a:lnTo>
                        <a:pt x="24" y="16"/>
                      </a:lnTo>
                      <a:lnTo>
                        <a:pt x="24" y="8"/>
                      </a:lnTo>
                      <a:lnTo>
                        <a:pt x="24" y="0"/>
                      </a:lnTo>
                      <a:lnTo>
                        <a:pt x="0" y="8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29" name="Freeform 150"/>
                <p:cNvSpPr>
                  <a:spLocks noChangeAspect="1"/>
                </p:cNvSpPr>
                <p:nvPr/>
              </p:nvSpPr>
              <p:spPr bwMode="auto">
                <a:xfrm>
                  <a:off x="5332" y="3117"/>
                  <a:ext cx="23" cy="11"/>
                </a:xfrm>
                <a:custGeom>
                  <a:avLst/>
                  <a:gdLst>
                    <a:gd name="T0" fmla="*/ 1 w 32"/>
                    <a:gd name="T1" fmla="*/ 0 h 16"/>
                    <a:gd name="T2" fmla="*/ 0 w 32"/>
                    <a:gd name="T3" fmla="*/ 1 h 16"/>
                    <a:gd name="T4" fmla="*/ 1 w 32"/>
                    <a:gd name="T5" fmla="*/ 1 h 16"/>
                    <a:gd name="T6" fmla="*/ 1 w 32"/>
                    <a:gd name="T7" fmla="*/ 0 h 16"/>
                    <a:gd name="T8" fmla="*/ 1 w 32"/>
                    <a:gd name="T9" fmla="*/ 0 h 16"/>
                    <a:gd name="T10" fmla="*/ 1 w 32"/>
                    <a:gd name="T11" fmla="*/ 0 h 1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2"/>
                    <a:gd name="T19" fmla="*/ 0 h 16"/>
                    <a:gd name="T20" fmla="*/ 32 w 32"/>
                    <a:gd name="T21" fmla="*/ 16 h 1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2" h="16">
                      <a:moveTo>
                        <a:pt x="16" y="0"/>
                      </a:moveTo>
                      <a:lnTo>
                        <a:pt x="0" y="8"/>
                      </a:lnTo>
                      <a:lnTo>
                        <a:pt x="8" y="16"/>
                      </a:lnTo>
                      <a:lnTo>
                        <a:pt x="32" y="0"/>
                      </a:lnTo>
                      <a:lnTo>
                        <a:pt x="24" y="0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30" name="Freeform 151"/>
                <p:cNvSpPr>
                  <a:spLocks noChangeAspect="1"/>
                </p:cNvSpPr>
                <p:nvPr/>
              </p:nvSpPr>
              <p:spPr bwMode="auto">
                <a:xfrm>
                  <a:off x="3627" y="2290"/>
                  <a:ext cx="209" cy="157"/>
                </a:xfrm>
                <a:custGeom>
                  <a:avLst/>
                  <a:gdLst>
                    <a:gd name="T0" fmla="*/ 1 w 296"/>
                    <a:gd name="T1" fmla="*/ 1 h 224"/>
                    <a:gd name="T2" fmla="*/ 1 w 296"/>
                    <a:gd name="T3" fmla="*/ 1 h 224"/>
                    <a:gd name="T4" fmla="*/ 1 w 296"/>
                    <a:gd name="T5" fmla="*/ 1 h 224"/>
                    <a:gd name="T6" fmla="*/ 1 w 296"/>
                    <a:gd name="T7" fmla="*/ 1 h 224"/>
                    <a:gd name="T8" fmla="*/ 1 w 296"/>
                    <a:gd name="T9" fmla="*/ 1 h 224"/>
                    <a:gd name="T10" fmla="*/ 1 w 296"/>
                    <a:gd name="T11" fmla="*/ 1 h 224"/>
                    <a:gd name="T12" fmla="*/ 1 w 296"/>
                    <a:gd name="T13" fmla="*/ 1 h 224"/>
                    <a:gd name="T14" fmla="*/ 1 w 296"/>
                    <a:gd name="T15" fmla="*/ 1 h 224"/>
                    <a:gd name="T16" fmla="*/ 1 w 296"/>
                    <a:gd name="T17" fmla="*/ 1 h 224"/>
                    <a:gd name="T18" fmla="*/ 1 w 296"/>
                    <a:gd name="T19" fmla="*/ 1 h 224"/>
                    <a:gd name="T20" fmla="*/ 1 w 296"/>
                    <a:gd name="T21" fmla="*/ 1 h 224"/>
                    <a:gd name="T22" fmla="*/ 1 w 296"/>
                    <a:gd name="T23" fmla="*/ 1 h 224"/>
                    <a:gd name="T24" fmla="*/ 1 w 296"/>
                    <a:gd name="T25" fmla="*/ 1 h 224"/>
                    <a:gd name="T26" fmla="*/ 1 w 296"/>
                    <a:gd name="T27" fmla="*/ 1 h 224"/>
                    <a:gd name="T28" fmla="*/ 1 w 296"/>
                    <a:gd name="T29" fmla="*/ 1 h 224"/>
                    <a:gd name="T30" fmla="*/ 1 w 296"/>
                    <a:gd name="T31" fmla="*/ 1 h 224"/>
                    <a:gd name="T32" fmla="*/ 1 w 296"/>
                    <a:gd name="T33" fmla="*/ 1 h 224"/>
                    <a:gd name="T34" fmla="*/ 1 w 296"/>
                    <a:gd name="T35" fmla="*/ 1 h 224"/>
                    <a:gd name="T36" fmla="*/ 1 w 296"/>
                    <a:gd name="T37" fmla="*/ 1 h 224"/>
                    <a:gd name="T38" fmla="*/ 1 w 296"/>
                    <a:gd name="T39" fmla="*/ 1 h 224"/>
                    <a:gd name="T40" fmla="*/ 1 w 296"/>
                    <a:gd name="T41" fmla="*/ 1 h 224"/>
                    <a:gd name="T42" fmla="*/ 1 w 296"/>
                    <a:gd name="T43" fmla="*/ 1 h 224"/>
                    <a:gd name="T44" fmla="*/ 1 w 296"/>
                    <a:gd name="T45" fmla="*/ 1 h 224"/>
                    <a:gd name="T46" fmla="*/ 1 w 296"/>
                    <a:gd name="T47" fmla="*/ 1 h 224"/>
                    <a:gd name="T48" fmla="*/ 1 w 296"/>
                    <a:gd name="T49" fmla="*/ 1 h 224"/>
                    <a:gd name="T50" fmla="*/ 1 w 296"/>
                    <a:gd name="T51" fmla="*/ 0 h 224"/>
                    <a:gd name="T52" fmla="*/ 1 w 296"/>
                    <a:gd name="T53" fmla="*/ 1 h 224"/>
                    <a:gd name="T54" fmla="*/ 1 w 296"/>
                    <a:gd name="T55" fmla="*/ 1 h 224"/>
                    <a:gd name="T56" fmla="*/ 1 w 296"/>
                    <a:gd name="T57" fmla="*/ 1 h 224"/>
                    <a:gd name="T58" fmla="*/ 1 w 296"/>
                    <a:gd name="T59" fmla="*/ 1 h 224"/>
                    <a:gd name="T60" fmla="*/ 1 w 296"/>
                    <a:gd name="T61" fmla="*/ 1 h 224"/>
                    <a:gd name="T62" fmla="*/ 1 w 296"/>
                    <a:gd name="T63" fmla="*/ 1 h 224"/>
                    <a:gd name="T64" fmla="*/ 1 w 296"/>
                    <a:gd name="T65" fmla="*/ 1 h 224"/>
                    <a:gd name="T66" fmla="*/ 1 w 296"/>
                    <a:gd name="T67" fmla="*/ 1 h 224"/>
                    <a:gd name="T68" fmla="*/ 1 w 296"/>
                    <a:gd name="T69" fmla="*/ 1 h 224"/>
                    <a:gd name="T70" fmla="*/ 1 w 296"/>
                    <a:gd name="T71" fmla="*/ 1 h 224"/>
                    <a:gd name="T72" fmla="*/ 1 w 296"/>
                    <a:gd name="T73" fmla="*/ 1 h 224"/>
                    <a:gd name="T74" fmla="*/ 1 w 296"/>
                    <a:gd name="T75" fmla="*/ 1 h 224"/>
                    <a:gd name="T76" fmla="*/ 0 w 296"/>
                    <a:gd name="T77" fmla="*/ 1 h 224"/>
                    <a:gd name="T78" fmla="*/ 1 w 296"/>
                    <a:gd name="T79" fmla="*/ 1 h 224"/>
                    <a:gd name="T80" fmla="*/ 0 w 296"/>
                    <a:gd name="T81" fmla="*/ 1 h 224"/>
                    <a:gd name="T82" fmla="*/ 1 w 296"/>
                    <a:gd name="T83" fmla="*/ 1 h 224"/>
                    <a:gd name="T84" fmla="*/ 1 w 296"/>
                    <a:gd name="T85" fmla="*/ 1 h 224"/>
                    <a:gd name="T86" fmla="*/ 1 w 296"/>
                    <a:gd name="T87" fmla="*/ 1 h 224"/>
                    <a:gd name="T88" fmla="*/ 1 w 296"/>
                    <a:gd name="T89" fmla="*/ 1 h 224"/>
                    <a:gd name="T90" fmla="*/ 1 w 296"/>
                    <a:gd name="T91" fmla="*/ 1 h 224"/>
                    <a:gd name="T92" fmla="*/ 1 w 296"/>
                    <a:gd name="T93" fmla="*/ 1 h 224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w 296"/>
                    <a:gd name="T142" fmla="*/ 0 h 224"/>
                    <a:gd name="T143" fmla="*/ 296 w 296"/>
                    <a:gd name="T144" fmla="*/ 224 h 224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T141" t="T142" r="T143" b="T144"/>
                  <a:pathLst>
                    <a:path w="296" h="224">
                      <a:moveTo>
                        <a:pt x="8" y="216"/>
                      </a:moveTo>
                      <a:lnTo>
                        <a:pt x="32" y="216"/>
                      </a:lnTo>
                      <a:lnTo>
                        <a:pt x="48" y="216"/>
                      </a:lnTo>
                      <a:lnTo>
                        <a:pt x="88" y="224"/>
                      </a:lnTo>
                      <a:lnTo>
                        <a:pt x="120" y="216"/>
                      </a:lnTo>
                      <a:lnTo>
                        <a:pt x="120" y="200"/>
                      </a:lnTo>
                      <a:lnTo>
                        <a:pt x="120" y="184"/>
                      </a:lnTo>
                      <a:lnTo>
                        <a:pt x="136" y="176"/>
                      </a:lnTo>
                      <a:lnTo>
                        <a:pt x="152" y="168"/>
                      </a:lnTo>
                      <a:lnTo>
                        <a:pt x="176" y="168"/>
                      </a:lnTo>
                      <a:lnTo>
                        <a:pt x="176" y="152"/>
                      </a:lnTo>
                      <a:lnTo>
                        <a:pt x="200" y="120"/>
                      </a:lnTo>
                      <a:lnTo>
                        <a:pt x="216" y="120"/>
                      </a:lnTo>
                      <a:lnTo>
                        <a:pt x="232" y="88"/>
                      </a:lnTo>
                      <a:lnTo>
                        <a:pt x="224" y="64"/>
                      </a:lnTo>
                      <a:lnTo>
                        <a:pt x="272" y="40"/>
                      </a:lnTo>
                      <a:lnTo>
                        <a:pt x="288" y="40"/>
                      </a:lnTo>
                      <a:lnTo>
                        <a:pt x="296" y="40"/>
                      </a:lnTo>
                      <a:lnTo>
                        <a:pt x="288" y="32"/>
                      </a:lnTo>
                      <a:lnTo>
                        <a:pt x="280" y="24"/>
                      </a:lnTo>
                      <a:lnTo>
                        <a:pt x="272" y="24"/>
                      </a:lnTo>
                      <a:lnTo>
                        <a:pt x="248" y="40"/>
                      </a:lnTo>
                      <a:lnTo>
                        <a:pt x="224" y="48"/>
                      </a:lnTo>
                      <a:lnTo>
                        <a:pt x="232" y="24"/>
                      </a:lnTo>
                      <a:lnTo>
                        <a:pt x="224" y="8"/>
                      </a:lnTo>
                      <a:lnTo>
                        <a:pt x="216" y="0"/>
                      </a:lnTo>
                      <a:lnTo>
                        <a:pt x="208" y="8"/>
                      </a:lnTo>
                      <a:lnTo>
                        <a:pt x="200" y="24"/>
                      </a:lnTo>
                      <a:lnTo>
                        <a:pt x="168" y="40"/>
                      </a:lnTo>
                      <a:lnTo>
                        <a:pt x="152" y="32"/>
                      </a:lnTo>
                      <a:lnTo>
                        <a:pt x="120" y="32"/>
                      </a:lnTo>
                      <a:lnTo>
                        <a:pt x="96" y="32"/>
                      </a:lnTo>
                      <a:lnTo>
                        <a:pt x="88" y="48"/>
                      </a:lnTo>
                      <a:lnTo>
                        <a:pt x="48" y="72"/>
                      </a:lnTo>
                      <a:lnTo>
                        <a:pt x="48" y="88"/>
                      </a:lnTo>
                      <a:lnTo>
                        <a:pt x="32" y="80"/>
                      </a:lnTo>
                      <a:lnTo>
                        <a:pt x="16" y="72"/>
                      </a:lnTo>
                      <a:lnTo>
                        <a:pt x="16" y="96"/>
                      </a:lnTo>
                      <a:lnTo>
                        <a:pt x="0" y="112"/>
                      </a:lnTo>
                      <a:lnTo>
                        <a:pt x="8" y="152"/>
                      </a:lnTo>
                      <a:lnTo>
                        <a:pt x="0" y="168"/>
                      </a:lnTo>
                      <a:lnTo>
                        <a:pt x="8" y="176"/>
                      </a:lnTo>
                      <a:lnTo>
                        <a:pt x="16" y="168"/>
                      </a:lnTo>
                      <a:lnTo>
                        <a:pt x="24" y="184"/>
                      </a:lnTo>
                      <a:lnTo>
                        <a:pt x="16" y="200"/>
                      </a:lnTo>
                      <a:lnTo>
                        <a:pt x="16" y="216"/>
                      </a:lnTo>
                      <a:lnTo>
                        <a:pt x="8" y="21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31" name="Freeform 152"/>
                <p:cNvSpPr>
                  <a:spLocks noChangeAspect="1"/>
                </p:cNvSpPr>
                <p:nvPr/>
              </p:nvSpPr>
              <p:spPr bwMode="auto">
                <a:xfrm>
                  <a:off x="3633" y="2318"/>
                  <a:ext cx="236" cy="225"/>
                </a:xfrm>
                <a:custGeom>
                  <a:avLst/>
                  <a:gdLst>
                    <a:gd name="T0" fmla="*/ 1 w 336"/>
                    <a:gd name="T1" fmla="*/ 1 h 320"/>
                    <a:gd name="T2" fmla="*/ 1 w 336"/>
                    <a:gd name="T3" fmla="*/ 1 h 320"/>
                    <a:gd name="T4" fmla="*/ 1 w 336"/>
                    <a:gd name="T5" fmla="*/ 1 h 320"/>
                    <a:gd name="T6" fmla="*/ 1 w 336"/>
                    <a:gd name="T7" fmla="*/ 1 h 320"/>
                    <a:gd name="T8" fmla="*/ 1 w 336"/>
                    <a:gd name="T9" fmla="*/ 1 h 320"/>
                    <a:gd name="T10" fmla="*/ 1 w 336"/>
                    <a:gd name="T11" fmla="*/ 1 h 320"/>
                    <a:gd name="T12" fmla="*/ 1 w 336"/>
                    <a:gd name="T13" fmla="*/ 1 h 320"/>
                    <a:gd name="T14" fmla="*/ 1 w 336"/>
                    <a:gd name="T15" fmla="*/ 1 h 320"/>
                    <a:gd name="T16" fmla="*/ 1 w 336"/>
                    <a:gd name="T17" fmla="*/ 1 h 320"/>
                    <a:gd name="T18" fmla="*/ 1 w 336"/>
                    <a:gd name="T19" fmla="*/ 1 h 320"/>
                    <a:gd name="T20" fmla="*/ 1 w 336"/>
                    <a:gd name="T21" fmla="*/ 1 h 320"/>
                    <a:gd name="T22" fmla="*/ 1 w 336"/>
                    <a:gd name="T23" fmla="*/ 1 h 320"/>
                    <a:gd name="T24" fmla="*/ 1 w 336"/>
                    <a:gd name="T25" fmla="*/ 1 h 320"/>
                    <a:gd name="T26" fmla="*/ 1 w 336"/>
                    <a:gd name="T27" fmla="*/ 1 h 320"/>
                    <a:gd name="T28" fmla="*/ 1 w 336"/>
                    <a:gd name="T29" fmla="*/ 1 h 320"/>
                    <a:gd name="T30" fmla="*/ 1 w 336"/>
                    <a:gd name="T31" fmla="*/ 1 h 320"/>
                    <a:gd name="T32" fmla="*/ 1 w 336"/>
                    <a:gd name="T33" fmla="*/ 1 h 320"/>
                    <a:gd name="T34" fmla="*/ 1 w 336"/>
                    <a:gd name="T35" fmla="*/ 1 h 320"/>
                    <a:gd name="T36" fmla="*/ 1 w 336"/>
                    <a:gd name="T37" fmla="*/ 1 h 320"/>
                    <a:gd name="T38" fmla="*/ 1 w 336"/>
                    <a:gd name="T39" fmla="*/ 1 h 320"/>
                    <a:gd name="T40" fmla="*/ 1 w 336"/>
                    <a:gd name="T41" fmla="*/ 1 h 320"/>
                    <a:gd name="T42" fmla="*/ 1 w 336"/>
                    <a:gd name="T43" fmla="*/ 1 h 320"/>
                    <a:gd name="T44" fmla="*/ 1 w 336"/>
                    <a:gd name="T45" fmla="*/ 1 h 320"/>
                    <a:gd name="T46" fmla="*/ 1 w 336"/>
                    <a:gd name="T47" fmla="*/ 1 h 320"/>
                    <a:gd name="T48" fmla="*/ 1 w 336"/>
                    <a:gd name="T49" fmla="*/ 1 h 320"/>
                    <a:gd name="T50" fmla="*/ 1 w 336"/>
                    <a:gd name="T51" fmla="*/ 1 h 320"/>
                    <a:gd name="T52" fmla="*/ 1 w 336"/>
                    <a:gd name="T53" fmla="*/ 1 h 320"/>
                    <a:gd name="T54" fmla="*/ 1 w 336"/>
                    <a:gd name="T55" fmla="*/ 1 h 320"/>
                    <a:gd name="T56" fmla="*/ 1 w 336"/>
                    <a:gd name="T57" fmla="*/ 1 h 320"/>
                    <a:gd name="T58" fmla="*/ 1 w 336"/>
                    <a:gd name="T59" fmla="*/ 1 h 320"/>
                    <a:gd name="T60" fmla="*/ 1 w 336"/>
                    <a:gd name="T61" fmla="*/ 1 h 320"/>
                    <a:gd name="T62" fmla="*/ 1 w 336"/>
                    <a:gd name="T63" fmla="*/ 1 h 320"/>
                    <a:gd name="T64" fmla="*/ 1 w 336"/>
                    <a:gd name="T65" fmla="*/ 1 h 320"/>
                    <a:gd name="T66" fmla="*/ 1 w 336"/>
                    <a:gd name="T67" fmla="*/ 1 h 320"/>
                    <a:gd name="T68" fmla="*/ 1 w 336"/>
                    <a:gd name="T69" fmla="*/ 1 h 320"/>
                    <a:gd name="T70" fmla="*/ 1 w 336"/>
                    <a:gd name="T71" fmla="*/ 1 h 320"/>
                    <a:gd name="T72" fmla="*/ 1 w 336"/>
                    <a:gd name="T73" fmla="*/ 1 h 320"/>
                    <a:gd name="T74" fmla="*/ 1 w 336"/>
                    <a:gd name="T75" fmla="*/ 1 h 320"/>
                    <a:gd name="T76" fmla="*/ 0 w 336"/>
                    <a:gd name="T77" fmla="*/ 1 h 320"/>
                    <a:gd name="T78" fmla="*/ 0 w 336"/>
                    <a:gd name="T79" fmla="*/ 1 h 320"/>
                    <a:gd name="T80" fmla="*/ 1 w 336"/>
                    <a:gd name="T81" fmla="*/ 1 h 320"/>
                    <a:gd name="T82" fmla="*/ 1 w 336"/>
                    <a:gd name="T83" fmla="*/ 1 h 320"/>
                    <a:gd name="T84" fmla="*/ 1 w 336"/>
                    <a:gd name="T85" fmla="*/ 1 h 320"/>
                    <a:gd name="T86" fmla="*/ 1 w 336"/>
                    <a:gd name="T87" fmla="*/ 1 h 320"/>
                    <a:gd name="T88" fmla="*/ 1 w 336"/>
                    <a:gd name="T89" fmla="*/ 1 h 320"/>
                    <a:gd name="T90" fmla="*/ 1 w 336"/>
                    <a:gd name="T91" fmla="*/ 1 h 320"/>
                    <a:gd name="T92" fmla="*/ 1 w 336"/>
                    <a:gd name="T93" fmla="*/ 1 h 320"/>
                    <a:gd name="T94" fmla="*/ 1 w 336"/>
                    <a:gd name="T95" fmla="*/ 1 h 320"/>
                    <a:gd name="T96" fmla="*/ 1 w 336"/>
                    <a:gd name="T97" fmla="*/ 1 h 320"/>
                    <a:gd name="T98" fmla="*/ 1 w 336"/>
                    <a:gd name="T99" fmla="*/ 1 h 320"/>
                    <a:gd name="T100" fmla="*/ 1 w 336"/>
                    <a:gd name="T101" fmla="*/ 1 h 320"/>
                    <a:gd name="T102" fmla="*/ 1 w 336"/>
                    <a:gd name="T103" fmla="*/ 1 h 320"/>
                    <a:gd name="T104" fmla="*/ 1 w 336"/>
                    <a:gd name="T105" fmla="*/ 1 h 320"/>
                    <a:gd name="T106" fmla="*/ 1 w 336"/>
                    <a:gd name="T107" fmla="*/ 1 h 320"/>
                    <a:gd name="T108" fmla="*/ 1 w 336"/>
                    <a:gd name="T109" fmla="*/ 0 h 320"/>
                    <a:gd name="T110" fmla="*/ 1 w 336"/>
                    <a:gd name="T111" fmla="*/ 0 h 320"/>
                    <a:gd name="T112" fmla="*/ 1 w 336"/>
                    <a:gd name="T113" fmla="*/ 0 h 320"/>
                    <a:gd name="T114" fmla="*/ 1 w 336"/>
                    <a:gd name="T115" fmla="*/ 0 h 320"/>
                    <a:gd name="T116" fmla="*/ 1 w 336"/>
                    <a:gd name="T117" fmla="*/ 1 h 320"/>
                    <a:gd name="T118" fmla="*/ 1 w 336"/>
                    <a:gd name="T119" fmla="*/ 1 h 320"/>
                    <a:gd name="T120" fmla="*/ 1 w 336"/>
                    <a:gd name="T121" fmla="*/ 1 h 320"/>
                    <a:gd name="T122" fmla="*/ 1 w 336"/>
                    <a:gd name="T123" fmla="*/ 1 h 320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336"/>
                    <a:gd name="T187" fmla="*/ 0 h 320"/>
                    <a:gd name="T188" fmla="*/ 336 w 336"/>
                    <a:gd name="T189" fmla="*/ 320 h 320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336" h="320">
                      <a:moveTo>
                        <a:pt x="336" y="56"/>
                      </a:moveTo>
                      <a:lnTo>
                        <a:pt x="312" y="56"/>
                      </a:lnTo>
                      <a:lnTo>
                        <a:pt x="288" y="56"/>
                      </a:lnTo>
                      <a:lnTo>
                        <a:pt x="272" y="56"/>
                      </a:lnTo>
                      <a:lnTo>
                        <a:pt x="272" y="96"/>
                      </a:lnTo>
                      <a:lnTo>
                        <a:pt x="288" y="104"/>
                      </a:lnTo>
                      <a:lnTo>
                        <a:pt x="296" y="112"/>
                      </a:lnTo>
                      <a:lnTo>
                        <a:pt x="296" y="128"/>
                      </a:lnTo>
                      <a:lnTo>
                        <a:pt x="280" y="136"/>
                      </a:lnTo>
                      <a:lnTo>
                        <a:pt x="280" y="160"/>
                      </a:lnTo>
                      <a:lnTo>
                        <a:pt x="264" y="168"/>
                      </a:lnTo>
                      <a:lnTo>
                        <a:pt x="256" y="184"/>
                      </a:lnTo>
                      <a:lnTo>
                        <a:pt x="216" y="224"/>
                      </a:lnTo>
                      <a:lnTo>
                        <a:pt x="200" y="224"/>
                      </a:lnTo>
                      <a:lnTo>
                        <a:pt x="192" y="216"/>
                      </a:lnTo>
                      <a:lnTo>
                        <a:pt x="184" y="248"/>
                      </a:lnTo>
                      <a:lnTo>
                        <a:pt x="208" y="280"/>
                      </a:lnTo>
                      <a:lnTo>
                        <a:pt x="208" y="304"/>
                      </a:lnTo>
                      <a:lnTo>
                        <a:pt x="176" y="296"/>
                      </a:lnTo>
                      <a:lnTo>
                        <a:pt x="160" y="304"/>
                      </a:lnTo>
                      <a:lnTo>
                        <a:pt x="152" y="320"/>
                      </a:lnTo>
                      <a:lnTo>
                        <a:pt x="136" y="312"/>
                      </a:lnTo>
                      <a:lnTo>
                        <a:pt x="136" y="304"/>
                      </a:lnTo>
                      <a:lnTo>
                        <a:pt x="128" y="304"/>
                      </a:lnTo>
                      <a:lnTo>
                        <a:pt x="128" y="288"/>
                      </a:lnTo>
                      <a:lnTo>
                        <a:pt x="120" y="280"/>
                      </a:lnTo>
                      <a:lnTo>
                        <a:pt x="104" y="280"/>
                      </a:lnTo>
                      <a:lnTo>
                        <a:pt x="96" y="288"/>
                      </a:lnTo>
                      <a:lnTo>
                        <a:pt x="72" y="280"/>
                      </a:lnTo>
                      <a:lnTo>
                        <a:pt x="64" y="288"/>
                      </a:lnTo>
                      <a:lnTo>
                        <a:pt x="32" y="288"/>
                      </a:lnTo>
                      <a:lnTo>
                        <a:pt x="24" y="280"/>
                      </a:lnTo>
                      <a:lnTo>
                        <a:pt x="16" y="280"/>
                      </a:lnTo>
                      <a:lnTo>
                        <a:pt x="24" y="264"/>
                      </a:lnTo>
                      <a:lnTo>
                        <a:pt x="48" y="248"/>
                      </a:lnTo>
                      <a:lnTo>
                        <a:pt x="48" y="240"/>
                      </a:lnTo>
                      <a:lnTo>
                        <a:pt x="32" y="232"/>
                      </a:lnTo>
                      <a:lnTo>
                        <a:pt x="40" y="224"/>
                      </a:lnTo>
                      <a:lnTo>
                        <a:pt x="0" y="192"/>
                      </a:lnTo>
                      <a:lnTo>
                        <a:pt x="0" y="176"/>
                      </a:lnTo>
                      <a:lnTo>
                        <a:pt x="24" y="176"/>
                      </a:lnTo>
                      <a:lnTo>
                        <a:pt x="40" y="176"/>
                      </a:lnTo>
                      <a:lnTo>
                        <a:pt x="80" y="184"/>
                      </a:lnTo>
                      <a:lnTo>
                        <a:pt x="112" y="176"/>
                      </a:lnTo>
                      <a:lnTo>
                        <a:pt x="112" y="160"/>
                      </a:lnTo>
                      <a:lnTo>
                        <a:pt x="112" y="144"/>
                      </a:lnTo>
                      <a:lnTo>
                        <a:pt x="128" y="136"/>
                      </a:lnTo>
                      <a:lnTo>
                        <a:pt x="144" y="128"/>
                      </a:lnTo>
                      <a:lnTo>
                        <a:pt x="168" y="128"/>
                      </a:lnTo>
                      <a:lnTo>
                        <a:pt x="168" y="112"/>
                      </a:lnTo>
                      <a:lnTo>
                        <a:pt x="192" y="80"/>
                      </a:lnTo>
                      <a:lnTo>
                        <a:pt x="208" y="80"/>
                      </a:lnTo>
                      <a:lnTo>
                        <a:pt x="224" y="48"/>
                      </a:lnTo>
                      <a:lnTo>
                        <a:pt x="216" y="24"/>
                      </a:lnTo>
                      <a:lnTo>
                        <a:pt x="264" y="0"/>
                      </a:lnTo>
                      <a:lnTo>
                        <a:pt x="280" y="0"/>
                      </a:lnTo>
                      <a:lnTo>
                        <a:pt x="288" y="0"/>
                      </a:lnTo>
                      <a:lnTo>
                        <a:pt x="296" y="0"/>
                      </a:lnTo>
                      <a:lnTo>
                        <a:pt x="304" y="16"/>
                      </a:lnTo>
                      <a:lnTo>
                        <a:pt x="312" y="32"/>
                      </a:lnTo>
                      <a:lnTo>
                        <a:pt x="328" y="40"/>
                      </a:lnTo>
                      <a:lnTo>
                        <a:pt x="336" y="5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32" name="Freeform 153"/>
                <p:cNvSpPr>
                  <a:spLocks noChangeAspect="1"/>
                </p:cNvSpPr>
                <p:nvPr/>
              </p:nvSpPr>
              <p:spPr bwMode="auto">
                <a:xfrm>
                  <a:off x="3740" y="2357"/>
                  <a:ext cx="422" cy="417"/>
                </a:xfrm>
                <a:custGeom>
                  <a:avLst/>
                  <a:gdLst>
                    <a:gd name="T0" fmla="*/ 1 w 600"/>
                    <a:gd name="T1" fmla="*/ 1 h 592"/>
                    <a:gd name="T2" fmla="*/ 1 w 600"/>
                    <a:gd name="T3" fmla="*/ 1 h 592"/>
                    <a:gd name="T4" fmla="*/ 1 w 600"/>
                    <a:gd name="T5" fmla="*/ 1 h 592"/>
                    <a:gd name="T6" fmla="*/ 1 w 600"/>
                    <a:gd name="T7" fmla="*/ 1 h 592"/>
                    <a:gd name="T8" fmla="*/ 1 w 600"/>
                    <a:gd name="T9" fmla="*/ 1 h 592"/>
                    <a:gd name="T10" fmla="*/ 1 w 600"/>
                    <a:gd name="T11" fmla="*/ 1 h 592"/>
                    <a:gd name="T12" fmla="*/ 1 w 600"/>
                    <a:gd name="T13" fmla="*/ 1 h 592"/>
                    <a:gd name="T14" fmla="*/ 1 w 600"/>
                    <a:gd name="T15" fmla="*/ 1 h 592"/>
                    <a:gd name="T16" fmla="*/ 1 w 600"/>
                    <a:gd name="T17" fmla="*/ 1 h 592"/>
                    <a:gd name="T18" fmla="*/ 1 w 600"/>
                    <a:gd name="T19" fmla="*/ 1 h 592"/>
                    <a:gd name="T20" fmla="*/ 1 w 600"/>
                    <a:gd name="T21" fmla="*/ 1 h 592"/>
                    <a:gd name="T22" fmla="*/ 1 w 600"/>
                    <a:gd name="T23" fmla="*/ 1 h 592"/>
                    <a:gd name="T24" fmla="*/ 1 w 600"/>
                    <a:gd name="T25" fmla="*/ 1 h 592"/>
                    <a:gd name="T26" fmla="*/ 1 w 600"/>
                    <a:gd name="T27" fmla="*/ 1 h 592"/>
                    <a:gd name="T28" fmla="*/ 1 w 600"/>
                    <a:gd name="T29" fmla="*/ 1 h 592"/>
                    <a:gd name="T30" fmla="*/ 1 w 600"/>
                    <a:gd name="T31" fmla="*/ 1 h 592"/>
                    <a:gd name="T32" fmla="*/ 1 w 600"/>
                    <a:gd name="T33" fmla="*/ 1 h 592"/>
                    <a:gd name="T34" fmla="*/ 1 w 600"/>
                    <a:gd name="T35" fmla="*/ 1 h 592"/>
                    <a:gd name="T36" fmla="*/ 1 w 600"/>
                    <a:gd name="T37" fmla="*/ 1 h 592"/>
                    <a:gd name="T38" fmla="*/ 1 w 600"/>
                    <a:gd name="T39" fmla="*/ 1 h 592"/>
                    <a:gd name="T40" fmla="*/ 1 w 600"/>
                    <a:gd name="T41" fmla="*/ 1 h 592"/>
                    <a:gd name="T42" fmla="*/ 1 w 600"/>
                    <a:gd name="T43" fmla="*/ 1 h 592"/>
                    <a:gd name="T44" fmla="*/ 1 w 600"/>
                    <a:gd name="T45" fmla="*/ 1 h 592"/>
                    <a:gd name="T46" fmla="*/ 1 w 600"/>
                    <a:gd name="T47" fmla="*/ 1 h 592"/>
                    <a:gd name="T48" fmla="*/ 1 w 600"/>
                    <a:gd name="T49" fmla="*/ 1 h 592"/>
                    <a:gd name="T50" fmla="*/ 1 w 600"/>
                    <a:gd name="T51" fmla="*/ 1 h 592"/>
                    <a:gd name="T52" fmla="*/ 1 w 600"/>
                    <a:gd name="T53" fmla="*/ 1 h 592"/>
                    <a:gd name="T54" fmla="*/ 1 w 600"/>
                    <a:gd name="T55" fmla="*/ 1 h 592"/>
                    <a:gd name="T56" fmla="*/ 1 w 600"/>
                    <a:gd name="T57" fmla="*/ 1 h 592"/>
                    <a:gd name="T58" fmla="*/ 1 w 600"/>
                    <a:gd name="T59" fmla="*/ 1 h 592"/>
                    <a:gd name="T60" fmla="*/ 1 w 600"/>
                    <a:gd name="T61" fmla="*/ 1 h 592"/>
                    <a:gd name="T62" fmla="*/ 1 w 600"/>
                    <a:gd name="T63" fmla="*/ 1 h 592"/>
                    <a:gd name="T64" fmla="*/ 1 w 600"/>
                    <a:gd name="T65" fmla="*/ 1 h 592"/>
                    <a:gd name="T66" fmla="*/ 1 w 600"/>
                    <a:gd name="T67" fmla="*/ 1 h 592"/>
                    <a:gd name="T68" fmla="*/ 1 w 600"/>
                    <a:gd name="T69" fmla="*/ 1 h 592"/>
                    <a:gd name="T70" fmla="*/ 1 w 600"/>
                    <a:gd name="T71" fmla="*/ 1 h 592"/>
                    <a:gd name="T72" fmla="*/ 1 w 600"/>
                    <a:gd name="T73" fmla="*/ 1 h 592"/>
                    <a:gd name="T74" fmla="*/ 1 w 600"/>
                    <a:gd name="T75" fmla="*/ 1 h 592"/>
                    <a:gd name="T76" fmla="*/ 1 w 600"/>
                    <a:gd name="T77" fmla="*/ 1 h 592"/>
                    <a:gd name="T78" fmla="*/ 1 w 600"/>
                    <a:gd name="T79" fmla="*/ 1 h 592"/>
                    <a:gd name="T80" fmla="*/ 1 w 600"/>
                    <a:gd name="T81" fmla="*/ 1 h 592"/>
                    <a:gd name="T82" fmla="*/ 1 w 600"/>
                    <a:gd name="T83" fmla="*/ 1 h 592"/>
                    <a:gd name="T84" fmla="*/ 1 w 600"/>
                    <a:gd name="T85" fmla="*/ 1 h 592"/>
                    <a:gd name="T86" fmla="*/ 1 w 600"/>
                    <a:gd name="T87" fmla="*/ 0 h 592"/>
                    <a:gd name="T88" fmla="*/ 1 w 600"/>
                    <a:gd name="T89" fmla="*/ 1 h 592"/>
                    <a:gd name="T90" fmla="*/ 1 w 600"/>
                    <a:gd name="T91" fmla="*/ 1 h 592"/>
                    <a:gd name="T92" fmla="*/ 1 w 600"/>
                    <a:gd name="T93" fmla="*/ 1 h 592"/>
                    <a:gd name="T94" fmla="*/ 1 w 600"/>
                    <a:gd name="T95" fmla="*/ 1 h 592"/>
                    <a:gd name="T96" fmla="*/ 1 w 600"/>
                    <a:gd name="T97" fmla="*/ 1 h 592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600"/>
                    <a:gd name="T148" fmla="*/ 0 h 592"/>
                    <a:gd name="T149" fmla="*/ 600 w 600"/>
                    <a:gd name="T150" fmla="*/ 592 h 592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600" h="592">
                      <a:moveTo>
                        <a:pt x="256" y="104"/>
                      </a:moveTo>
                      <a:lnTo>
                        <a:pt x="256" y="120"/>
                      </a:lnTo>
                      <a:lnTo>
                        <a:pt x="248" y="136"/>
                      </a:lnTo>
                      <a:lnTo>
                        <a:pt x="248" y="152"/>
                      </a:lnTo>
                      <a:lnTo>
                        <a:pt x="264" y="160"/>
                      </a:lnTo>
                      <a:lnTo>
                        <a:pt x="272" y="160"/>
                      </a:lnTo>
                      <a:lnTo>
                        <a:pt x="312" y="168"/>
                      </a:lnTo>
                      <a:lnTo>
                        <a:pt x="336" y="168"/>
                      </a:lnTo>
                      <a:lnTo>
                        <a:pt x="360" y="192"/>
                      </a:lnTo>
                      <a:lnTo>
                        <a:pt x="384" y="200"/>
                      </a:lnTo>
                      <a:lnTo>
                        <a:pt x="408" y="192"/>
                      </a:lnTo>
                      <a:lnTo>
                        <a:pt x="408" y="176"/>
                      </a:lnTo>
                      <a:lnTo>
                        <a:pt x="408" y="160"/>
                      </a:lnTo>
                      <a:lnTo>
                        <a:pt x="416" y="160"/>
                      </a:lnTo>
                      <a:lnTo>
                        <a:pt x="432" y="168"/>
                      </a:lnTo>
                      <a:lnTo>
                        <a:pt x="432" y="176"/>
                      </a:lnTo>
                      <a:lnTo>
                        <a:pt x="440" y="192"/>
                      </a:lnTo>
                      <a:lnTo>
                        <a:pt x="496" y="184"/>
                      </a:lnTo>
                      <a:lnTo>
                        <a:pt x="496" y="160"/>
                      </a:lnTo>
                      <a:lnTo>
                        <a:pt x="528" y="136"/>
                      </a:lnTo>
                      <a:lnTo>
                        <a:pt x="576" y="120"/>
                      </a:lnTo>
                      <a:lnTo>
                        <a:pt x="584" y="128"/>
                      </a:lnTo>
                      <a:lnTo>
                        <a:pt x="584" y="136"/>
                      </a:lnTo>
                      <a:lnTo>
                        <a:pt x="600" y="152"/>
                      </a:lnTo>
                      <a:lnTo>
                        <a:pt x="584" y="168"/>
                      </a:lnTo>
                      <a:lnTo>
                        <a:pt x="560" y="176"/>
                      </a:lnTo>
                      <a:lnTo>
                        <a:pt x="536" y="240"/>
                      </a:lnTo>
                      <a:lnTo>
                        <a:pt x="528" y="248"/>
                      </a:lnTo>
                      <a:lnTo>
                        <a:pt x="528" y="256"/>
                      </a:lnTo>
                      <a:lnTo>
                        <a:pt x="512" y="256"/>
                      </a:lnTo>
                      <a:lnTo>
                        <a:pt x="520" y="288"/>
                      </a:lnTo>
                      <a:lnTo>
                        <a:pt x="504" y="296"/>
                      </a:lnTo>
                      <a:lnTo>
                        <a:pt x="504" y="280"/>
                      </a:lnTo>
                      <a:lnTo>
                        <a:pt x="496" y="256"/>
                      </a:lnTo>
                      <a:lnTo>
                        <a:pt x="480" y="256"/>
                      </a:lnTo>
                      <a:lnTo>
                        <a:pt x="480" y="240"/>
                      </a:lnTo>
                      <a:lnTo>
                        <a:pt x="488" y="224"/>
                      </a:lnTo>
                      <a:lnTo>
                        <a:pt x="496" y="216"/>
                      </a:lnTo>
                      <a:lnTo>
                        <a:pt x="488" y="208"/>
                      </a:lnTo>
                      <a:lnTo>
                        <a:pt x="448" y="208"/>
                      </a:lnTo>
                      <a:lnTo>
                        <a:pt x="440" y="200"/>
                      </a:lnTo>
                      <a:lnTo>
                        <a:pt x="424" y="192"/>
                      </a:lnTo>
                      <a:lnTo>
                        <a:pt x="408" y="200"/>
                      </a:lnTo>
                      <a:lnTo>
                        <a:pt x="416" y="208"/>
                      </a:lnTo>
                      <a:lnTo>
                        <a:pt x="424" y="216"/>
                      </a:lnTo>
                      <a:lnTo>
                        <a:pt x="424" y="224"/>
                      </a:lnTo>
                      <a:lnTo>
                        <a:pt x="408" y="224"/>
                      </a:lnTo>
                      <a:lnTo>
                        <a:pt x="408" y="232"/>
                      </a:lnTo>
                      <a:lnTo>
                        <a:pt x="424" y="240"/>
                      </a:lnTo>
                      <a:lnTo>
                        <a:pt x="424" y="256"/>
                      </a:lnTo>
                      <a:lnTo>
                        <a:pt x="424" y="272"/>
                      </a:lnTo>
                      <a:lnTo>
                        <a:pt x="424" y="296"/>
                      </a:lnTo>
                      <a:lnTo>
                        <a:pt x="392" y="312"/>
                      </a:lnTo>
                      <a:lnTo>
                        <a:pt x="384" y="320"/>
                      </a:lnTo>
                      <a:lnTo>
                        <a:pt x="392" y="328"/>
                      </a:lnTo>
                      <a:lnTo>
                        <a:pt x="384" y="336"/>
                      </a:lnTo>
                      <a:lnTo>
                        <a:pt x="368" y="344"/>
                      </a:lnTo>
                      <a:lnTo>
                        <a:pt x="352" y="352"/>
                      </a:lnTo>
                      <a:lnTo>
                        <a:pt x="344" y="360"/>
                      </a:lnTo>
                      <a:lnTo>
                        <a:pt x="336" y="368"/>
                      </a:lnTo>
                      <a:lnTo>
                        <a:pt x="328" y="376"/>
                      </a:lnTo>
                      <a:lnTo>
                        <a:pt x="320" y="384"/>
                      </a:lnTo>
                      <a:lnTo>
                        <a:pt x="304" y="392"/>
                      </a:lnTo>
                      <a:lnTo>
                        <a:pt x="296" y="408"/>
                      </a:lnTo>
                      <a:lnTo>
                        <a:pt x="288" y="424"/>
                      </a:lnTo>
                      <a:lnTo>
                        <a:pt x="272" y="424"/>
                      </a:lnTo>
                      <a:lnTo>
                        <a:pt x="264" y="432"/>
                      </a:lnTo>
                      <a:lnTo>
                        <a:pt x="256" y="432"/>
                      </a:lnTo>
                      <a:lnTo>
                        <a:pt x="248" y="440"/>
                      </a:lnTo>
                      <a:lnTo>
                        <a:pt x="248" y="464"/>
                      </a:lnTo>
                      <a:lnTo>
                        <a:pt x="248" y="472"/>
                      </a:lnTo>
                      <a:lnTo>
                        <a:pt x="248" y="504"/>
                      </a:lnTo>
                      <a:lnTo>
                        <a:pt x="240" y="520"/>
                      </a:lnTo>
                      <a:lnTo>
                        <a:pt x="240" y="544"/>
                      </a:lnTo>
                      <a:lnTo>
                        <a:pt x="232" y="544"/>
                      </a:lnTo>
                      <a:lnTo>
                        <a:pt x="232" y="552"/>
                      </a:lnTo>
                      <a:lnTo>
                        <a:pt x="224" y="560"/>
                      </a:lnTo>
                      <a:lnTo>
                        <a:pt x="216" y="568"/>
                      </a:lnTo>
                      <a:lnTo>
                        <a:pt x="208" y="576"/>
                      </a:lnTo>
                      <a:lnTo>
                        <a:pt x="208" y="584"/>
                      </a:lnTo>
                      <a:lnTo>
                        <a:pt x="192" y="592"/>
                      </a:lnTo>
                      <a:lnTo>
                        <a:pt x="184" y="592"/>
                      </a:lnTo>
                      <a:lnTo>
                        <a:pt x="176" y="576"/>
                      </a:lnTo>
                      <a:lnTo>
                        <a:pt x="168" y="552"/>
                      </a:lnTo>
                      <a:lnTo>
                        <a:pt x="160" y="536"/>
                      </a:lnTo>
                      <a:lnTo>
                        <a:pt x="152" y="520"/>
                      </a:lnTo>
                      <a:lnTo>
                        <a:pt x="136" y="504"/>
                      </a:lnTo>
                      <a:lnTo>
                        <a:pt x="136" y="488"/>
                      </a:lnTo>
                      <a:lnTo>
                        <a:pt x="136" y="480"/>
                      </a:lnTo>
                      <a:lnTo>
                        <a:pt x="128" y="464"/>
                      </a:lnTo>
                      <a:lnTo>
                        <a:pt x="120" y="432"/>
                      </a:lnTo>
                      <a:lnTo>
                        <a:pt x="112" y="424"/>
                      </a:lnTo>
                      <a:lnTo>
                        <a:pt x="96" y="384"/>
                      </a:lnTo>
                      <a:lnTo>
                        <a:pt x="96" y="360"/>
                      </a:lnTo>
                      <a:lnTo>
                        <a:pt x="96" y="320"/>
                      </a:lnTo>
                      <a:lnTo>
                        <a:pt x="88" y="320"/>
                      </a:lnTo>
                      <a:lnTo>
                        <a:pt x="88" y="296"/>
                      </a:lnTo>
                      <a:lnTo>
                        <a:pt x="80" y="296"/>
                      </a:lnTo>
                      <a:lnTo>
                        <a:pt x="80" y="312"/>
                      </a:lnTo>
                      <a:lnTo>
                        <a:pt x="80" y="320"/>
                      </a:lnTo>
                      <a:lnTo>
                        <a:pt x="72" y="328"/>
                      </a:lnTo>
                      <a:lnTo>
                        <a:pt x="48" y="328"/>
                      </a:lnTo>
                      <a:lnTo>
                        <a:pt x="40" y="320"/>
                      </a:lnTo>
                      <a:lnTo>
                        <a:pt x="16" y="296"/>
                      </a:lnTo>
                      <a:lnTo>
                        <a:pt x="16" y="288"/>
                      </a:lnTo>
                      <a:lnTo>
                        <a:pt x="24" y="288"/>
                      </a:lnTo>
                      <a:lnTo>
                        <a:pt x="32" y="288"/>
                      </a:lnTo>
                      <a:lnTo>
                        <a:pt x="40" y="280"/>
                      </a:lnTo>
                      <a:lnTo>
                        <a:pt x="24" y="280"/>
                      </a:lnTo>
                      <a:lnTo>
                        <a:pt x="16" y="280"/>
                      </a:lnTo>
                      <a:lnTo>
                        <a:pt x="8" y="280"/>
                      </a:lnTo>
                      <a:lnTo>
                        <a:pt x="8" y="272"/>
                      </a:lnTo>
                      <a:lnTo>
                        <a:pt x="0" y="264"/>
                      </a:lnTo>
                      <a:lnTo>
                        <a:pt x="8" y="248"/>
                      </a:lnTo>
                      <a:lnTo>
                        <a:pt x="24" y="240"/>
                      </a:lnTo>
                      <a:lnTo>
                        <a:pt x="56" y="248"/>
                      </a:lnTo>
                      <a:lnTo>
                        <a:pt x="56" y="224"/>
                      </a:lnTo>
                      <a:lnTo>
                        <a:pt x="32" y="192"/>
                      </a:lnTo>
                      <a:lnTo>
                        <a:pt x="40" y="160"/>
                      </a:lnTo>
                      <a:lnTo>
                        <a:pt x="48" y="168"/>
                      </a:lnTo>
                      <a:lnTo>
                        <a:pt x="64" y="168"/>
                      </a:lnTo>
                      <a:lnTo>
                        <a:pt x="104" y="128"/>
                      </a:lnTo>
                      <a:lnTo>
                        <a:pt x="112" y="112"/>
                      </a:lnTo>
                      <a:lnTo>
                        <a:pt x="128" y="104"/>
                      </a:lnTo>
                      <a:lnTo>
                        <a:pt x="128" y="80"/>
                      </a:lnTo>
                      <a:lnTo>
                        <a:pt x="144" y="72"/>
                      </a:lnTo>
                      <a:lnTo>
                        <a:pt x="144" y="56"/>
                      </a:lnTo>
                      <a:lnTo>
                        <a:pt x="136" y="48"/>
                      </a:lnTo>
                      <a:lnTo>
                        <a:pt x="120" y="40"/>
                      </a:lnTo>
                      <a:lnTo>
                        <a:pt x="120" y="0"/>
                      </a:lnTo>
                      <a:lnTo>
                        <a:pt x="136" y="0"/>
                      </a:lnTo>
                      <a:lnTo>
                        <a:pt x="160" y="0"/>
                      </a:lnTo>
                      <a:lnTo>
                        <a:pt x="184" y="0"/>
                      </a:lnTo>
                      <a:lnTo>
                        <a:pt x="192" y="0"/>
                      </a:lnTo>
                      <a:lnTo>
                        <a:pt x="200" y="8"/>
                      </a:lnTo>
                      <a:lnTo>
                        <a:pt x="208" y="16"/>
                      </a:lnTo>
                      <a:lnTo>
                        <a:pt x="208" y="32"/>
                      </a:lnTo>
                      <a:lnTo>
                        <a:pt x="224" y="40"/>
                      </a:lnTo>
                      <a:lnTo>
                        <a:pt x="224" y="48"/>
                      </a:lnTo>
                      <a:lnTo>
                        <a:pt x="216" y="56"/>
                      </a:lnTo>
                      <a:lnTo>
                        <a:pt x="208" y="48"/>
                      </a:lnTo>
                      <a:lnTo>
                        <a:pt x="208" y="56"/>
                      </a:lnTo>
                      <a:lnTo>
                        <a:pt x="216" y="64"/>
                      </a:lnTo>
                      <a:lnTo>
                        <a:pt x="216" y="88"/>
                      </a:lnTo>
                      <a:lnTo>
                        <a:pt x="224" y="88"/>
                      </a:lnTo>
                      <a:lnTo>
                        <a:pt x="240" y="88"/>
                      </a:lnTo>
                      <a:lnTo>
                        <a:pt x="248" y="104"/>
                      </a:lnTo>
                      <a:lnTo>
                        <a:pt x="256" y="104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33" name="Freeform 154"/>
                <p:cNvSpPr>
                  <a:spLocks noChangeAspect="1"/>
                </p:cNvSpPr>
                <p:nvPr/>
              </p:nvSpPr>
              <p:spPr bwMode="auto">
                <a:xfrm>
                  <a:off x="3909" y="2751"/>
                  <a:ext cx="34" cy="57"/>
                </a:xfrm>
                <a:custGeom>
                  <a:avLst/>
                  <a:gdLst>
                    <a:gd name="T0" fmla="*/ 1 w 48"/>
                    <a:gd name="T1" fmla="*/ 1 h 80"/>
                    <a:gd name="T2" fmla="*/ 1 w 48"/>
                    <a:gd name="T3" fmla="*/ 1 h 80"/>
                    <a:gd name="T4" fmla="*/ 1 w 48"/>
                    <a:gd name="T5" fmla="*/ 1 h 80"/>
                    <a:gd name="T6" fmla="*/ 1 w 48"/>
                    <a:gd name="T7" fmla="*/ 1 h 80"/>
                    <a:gd name="T8" fmla="*/ 1 w 48"/>
                    <a:gd name="T9" fmla="*/ 1 h 80"/>
                    <a:gd name="T10" fmla="*/ 1 w 48"/>
                    <a:gd name="T11" fmla="*/ 1 h 80"/>
                    <a:gd name="T12" fmla="*/ 1 w 48"/>
                    <a:gd name="T13" fmla="*/ 1 h 80"/>
                    <a:gd name="T14" fmla="*/ 1 w 48"/>
                    <a:gd name="T15" fmla="*/ 0 h 80"/>
                    <a:gd name="T16" fmla="*/ 1 w 48"/>
                    <a:gd name="T17" fmla="*/ 0 h 80"/>
                    <a:gd name="T18" fmla="*/ 0 w 48"/>
                    <a:gd name="T19" fmla="*/ 1 h 80"/>
                    <a:gd name="T20" fmla="*/ 0 w 48"/>
                    <a:gd name="T21" fmla="*/ 1 h 80"/>
                    <a:gd name="T22" fmla="*/ 0 w 48"/>
                    <a:gd name="T23" fmla="*/ 1 h 80"/>
                    <a:gd name="T24" fmla="*/ 1 w 48"/>
                    <a:gd name="T25" fmla="*/ 1 h 80"/>
                    <a:gd name="T26" fmla="*/ 1 w 48"/>
                    <a:gd name="T27" fmla="*/ 1 h 80"/>
                    <a:gd name="T28" fmla="*/ 1 w 48"/>
                    <a:gd name="T29" fmla="*/ 1 h 80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48"/>
                    <a:gd name="T46" fmla="*/ 0 h 80"/>
                    <a:gd name="T47" fmla="*/ 48 w 48"/>
                    <a:gd name="T48" fmla="*/ 80 h 80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48" h="80">
                      <a:moveTo>
                        <a:pt x="24" y="80"/>
                      </a:moveTo>
                      <a:lnTo>
                        <a:pt x="48" y="56"/>
                      </a:lnTo>
                      <a:lnTo>
                        <a:pt x="40" y="48"/>
                      </a:lnTo>
                      <a:lnTo>
                        <a:pt x="40" y="40"/>
                      </a:lnTo>
                      <a:lnTo>
                        <a:pt x="40" y="32"/>
                      </a:lnTo>
                      <a:lnTo>
                        <a:pt x="24" y="16"/>
                      </a:lnTo>
                      <a:lnTo>
                        <a:pt x="24" y="8"/>
                      </a:lnTo>
                      <a:lnTo>
                        <a:pt x="16" y="0"/>
                      </a:lnTo>
                      <a:lnTo>
                        <a:pt x="8" y="0"/>
                      </a:lnTo>
                      <a:lnTo>
                        <a:pt x="0" y="8"/>
                      </a:lnTo>
                      <a:lnTo>
                        <a:pt x="0" y="16"/>
                      </a:lnTo>
                      <a:lnTo>
                        <a:pt x="0" y="32"/>
                      </a:lnTo>
                      <a:lnTo>
                        <a:pt x="8" y="64"/>
                      </a:lnTo>
                      <a:lnTo>
                        <a:pt x="16" y="80"/>
                      </a:lnTo>
                      <a:lnTo>
                        <a:pt x="24" y="8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</p:grpSp>
          <p:grpSp>
            <p:nvGrpSpPr>
              <p:cNvPr id="247" name="Group 155"/>
              <p:cNvGrpSpPr>
                <a:grpSpLocks noChangeAspect="1"/>
              </p:cNvGrpSpPr>
              <p:nvPr/>
            </p:nvGrpSpPr>
            <p:grpSpPr bwMode="auto">
              <a:xfrm>
                <a:off x="3819" y="1969"/>
                <a:ext cx="1142" cy="619"/>
                <a:chOff x="3819" y="1969"/>
                <a:chExt cx="1142" cy="619"/>
              </a:xfrm>
              <a:grpFill/>
            </p:grpSpPr>
            <p:sp>
              <p:nvSpPr>
                <p:cNvPr id="248" name="Freeform 156"/>
                <p:cNvSpPr>
                  <a:spLocks noChangeAspect="1"/>
                </p:cNvSpPr>
                <p:nvPr/>
              </p:nvSpPr>
              <p:spPr bwMode="auto">
                <a:xfrm>
                  <a:off x="4770" y="2155"/>
                  <a:ext cx="90" cy="73"/>
                </a:xfrm>
                <a:custGeom>
                  <a:avLst/>
                  <a:gdLst>
                    <a:gd name="T0" fmla="*/ 1 w 128"/>
                    <a:gd name="T1" fmla="*/ 1 h 104"/>
                    <a:gd name="T2" fmla="*/ 1 w 128"/>
                    <a:gd name="T3" fmla="*/ 0 h 104"/>
                    <a:gd name="T4" fmla="*/ 1 w 128"/>
                    <a:gd name="T5" fmla="*/ 0 h 104"/>
                    <a:gd name="T6" fmla="*/ 1 w 128"/>
                    <a:gd name="T7" fmla="*/ 1 h 104"/>
                    <a:gd name="T8" fmla="*/ 1 w 128"/>
                    <a:gd name="T9" fmla="*/ 1 h 104"/>
                    <a:gd name="T10" fmla="*/ 1 w 128"/>
                    <a:gd name="T11" fmla="*/ 1 h 104"/>
                    <a:gd name="T12" fmla="*/ 1 w 128"/>
                    <a:gd name="T13" fmla="*/ 1 h 104"/>
                    <a:gd name="T14" fmla="*/ 1 w 128"/>
                    <a:gd name="T15" fmla="*/ 1 h 104"/>
                    <a:gd name="T16" fmla="*/ 1 w 128"/>
                    <a:gd name="T17" fmla="*/ 1 h 104"/>
                    <a:gd name="T18" fmla="*/ 1 w 128"/>
                    <a:gd name="T19" fmla="*/ 1 h 104"/>
                    <a:gd name="T20" fmla="*/ 1 w 128"/>
                    <a:gd name="T21" fmla="*/ 1 h 104"/>
                    <a:gd name="T22" fmla="*/ 1 w 128"/>
                    <a:gd name="T23" fmla="*/ 1 h 104"/>
                    <a:gd name="T24" fmla="*/ 1 w 128"/>
                    <a:gd name="T25" fmla="*/ 1 h 104"/>
                    <a:gd name="T26" fmla="*/ 1 w 128"/>
                    <a:gd name="T27" fmla="*/ 1 h 104"/>
                    <a:gd name="T28" fmla="*/ 1 w 128"/>
                    <a:gd name="T29" fmla="*/ 1 h 104"/>
                    <a:gd name="T30" fmla="*/ 1 w 128"/>
                    <a:gd name="T31" fmla="*/ 1 h 104"/>
                    <a:gd name="T32" fmla="*/ 1 w 128"/>
                    <a:gd name="T33" fmla="*/ 1 h 104"/>
                    <a:gd name="T34" fmla="*/ 1 w 128"/>
                    <a:gd name="T35" fmla="*/ 1 h 104"/>
                    <a:gd name="T36" fmla="*/ 1 w 128"/>
                    <a:gd name="T37" fmla="*/ 1 h 104"/>
                    <a:gd name="T38" fmla="*/ 1 w 128"/>
                    <a:gd name="T39" fmla="*/ 1 h 104"/>
                    <a:gd name="T40" fmla="*/ 1 w 128"/>
                    <a:gd name="T41" fmla="*/ 1 h 104"/>
                    <a:gd name="T42" fmla="*/ 1 w 128"/>
                    <a:gd name="T43" fmla="*/ 1 h 104"/>
                    <a:gd name="T44" fmla="*/ 1 w 128"/>
                    <a:gd name="T45" fmla="*/ 1 h 104"/>
                    <a:gd name="T46" fmla="*/ 1 w 128"/>
                    <a:gd name="T47" fmla="*/ 1 h 104"/>
                    <a:gd name="T48" fmla="*/ 1 w 128"/>
                    <a:gd name="T49" fmla="*/ 1 h 104"/>
                    <a:gd name="T50" fmla="*/ 1 w 128"/>
                    <a:gd name="T51" fmla="*/ 1 h 104"/>
                    <a:gd name="T52" fmla="*/ 1 w 128"/>
                    <a:gd name="T53" fmla="*/ 1 h 104"/>
                    <a:gd name="T54" fmla="*/ 1 w 128"/>
                    <a:gd name="T55" fmla="*/ 1 h 104"/>
                    <a:gd name="T56" fmla="*/ 1 w 128"/>
                    <a:gd name="T57" fmla="*/ 1 h 104"/>
                    <a:gd name="T58" fmla="*/ 1 w 128"/>
                    <a:gd name="T59" fmla="*/ 1 h 104"/>
                    <a:gd name="T60" fmla="*/ 1 w 128"/>
                    <a:gd name="T61" fmla="*/ 1 h 104"/>
                    <a:gd name="T62" fmla="*/ 0 w 128"/>
                    <a:gd name="T63" fmla="*/ 1 h 104"/>
                    <a:gd name="T64" fmla="*/ 1 w 128"/>
                    <a:gd name="T65" fmla="*/ 1 h 104"/>
                    <a:gd name="T66" fmla="*/ 1 w 128"/>
                    <a:gd name="T67" fmla="*/ 1 h 104"/>
                    <a:gd name="T68" fmla="*/ 1 w 128"/>
                    <a:gd name="T69" fmla="*/ 1 h 104"/>
                    <a:gd name="T70" fmla="*/ 1 w 128"/>
                    <a:gd name="T71" fmla="*/ 1 h 104"/>
                    <a:gd name="T72" fmla="*/ 1 w 128"/>
                    <a:gd name="T73" fmla="*/ 1 h 104"/>
                    <a:gd name="T74" fmla="*/ 1 w 128"/>
                    <a:gd name="T75" fmla="*/ 1 h 104"/>
                    <a:gd name="T76" fmla="*/ 1 w 128"/>
                    <a:gd name="T77" fmla="*/ 1 h 104"/>
                    <a:gd name="T78" fmla="*/ 1 w 128"/>
                    <a:gd name="T79" fmla="*/ 1 h 104"/>
                    <a:gd name="T80" fmla="*/ 1 w 128"/>
                    <a:gd name="T81" fmla="*/ 1 h 104"/>
                    <a:gd name="T82" fmla="*/ 1 w 128"/>
                    <a:gd name="T83" fmla="*/ 1 h 104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128"/>
                    <a:gd name="T127" fmla="*/ 0 h 104"/>
                    <a:gd name="T128" fmla="*/ 128 w 128"/>
                    <a:gd name="T129" fmla="*/ 104 h 104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128" h="104">
                      <a:moveTo>
                        <a:pt x="48" y="8"/>
                      </a:moveTo>
                      <a:lnTo>
                        <a:pt x="48" y="0"/>
                      </a:lnTo>
                      <a:lnTo>
                        <a:pt x="64" y="0"/>
                      </a:lnTo>
                      <a:lnTo>
                        <a:pt x="64" y="8"/>
                      </a:lnTo>
                      <a:lnTo>
                        <a:pt x="72" y="24"/>
                      </a:lnTo>
                      <a:lnTo>
                        <a:pt x="80" y="32"/>
                      </a:lnTo>
                      <a:lnTo>
                        <a:pt x="88" y="32"/>
                      </a:lnTo>
                      <a:lnTo>
                        <a:pt x="96" y="40"/>
                      </a:lnTo>
                      <a:lnTo>
                        <a:pt x="104" y="40"/>
                      </a:lnTo>
                      <a:lnTo>
                        <a:pt x="112" y="40"/>
                      </a:lnTo>
                      <a:lnTo>
                        <a:pt x="120" y="32"/>
                      </a:lnTo>
                      <a:lnTo>
                        <a:pt x="120" y="40"/>
                      </a:lnTo>
                      <a:lnTo>
                        <a:pt x="120" y="48"/>
                      </a:lnTo>
                      <a:lnTo>
                        <a:pt x="128" y="48"/>
                      </a:lnTo>
                      <a:lnTo>
                        <a:pt x="128" y="56"/>
                      </a:lnTo>
                      <a:lnTo>
                        <a:pt x="120" y="72"/>
                      </a:lnTo>
                      <a:lnTo>
                        <a:pt x="112" y="72"/>
                      </a:lnTo>
                      <a:lnTo>
                        <a:pt x="96" y="72"/>
                      </a:lnTo>
                      <a:lnTo>
                        <a:pt x="88" y="88"/>
                      </a:lnTo>
                      <a:lnTo>
                        <a:pt x="88" y="96"/>
                      </a:lnTo>
                      <a:lnTo>
                        <a:pt x="80" y="96"/>
                      </a:lnTo>
                      <a:lnTo>
                        <a:pt x="72" y="88"/>
                      </a:lnTo>
                      <a:lnTo>
                        <a:pt x="56" y="80"/>
                      </a:lnTo>
                      <a:lnTo>
                        <a:pt x="48" y="88"/>
                      </a:lnTo>
                      <a:lnTo>
                        <a:pt x="32" y="80"/>
                      </a:lnTo>
                      <a:lnTo>
                        <a:pt x="24" y="80"/>
                      </a:lnTo>
                      <a:lnTo>
                        <a:pt x="16" y="88"/>
                      </a:lnTo>
                      <a:lnTo>
                        <a:pt x="24" y="96"/>
                      </a:lnTo>
                      <a:lnTo>
                        <a:pt x="24" y="104"/>
                      </a:lnTo>
                      <a:lnTo>
                        <a:pt x="16" y="104"/>
                      </a:lnTo>
                      <a:lnTo>
                        <a:pt x="8" y="96"/>
                      </a:lnTo>
                      <a:lnTo>
                        <a:pt x="0" y="88"/>
                      </a:lnTo>
                      <a:lnTo>
                        <a:pt x="8" y="80"/>
                      </a:lnTo>
                      <a:lnTo>
                        <a:pt x="24" y="72"/>
                      </a:lnTo>
                      <a:lnTo>
                        <a:pt x="24" y="64"/>
                      </a:lnTo>
                      <a:lnTo>
                        <a:pt x="24" y="56"/>
                      </a:lnTo>
                      <a:lnTo>
                        <a:pt x="32" y="64"/>
                      </a:lnTo>
                      <a:lnTo>
                        <a:pt x="40" y="64"/>
                      </a:lnTo>
                      <a:lnTo>
                        <a:pt x="40" y="56"/>
                      </a:lnTo>
                      <a:lnTo>
                        <a:pt x="48" y="40"/>
                      </a:lnTo>
                      <a:lnTo>
                        <a:pt x="48" y="16"/>
                      </a:lnTo>
                      <a:lnTo>
                        <a:pt x="48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49" name="Freeform 157"/>
                <p:cNvSpPr>
                  <a:spLocks noChangeAspect="1"/>
                </p:cNvSpPr>
                <p:nvPr/>
              </p:nvSpPr>
              <p:spPr bwMode="auto">
                <a:xfrm>
                  <a:off x="4652" y="2234"/>
                  <a:ext cx="157" cy="146"/>
                </a:xfrm>
                <a:custGeom>
                  <a:avLst/>
                  <a:gdLst>
                    <a:gd name="T0" fmla="*/ 1 w 224"/>
                    <a:gd name="T1" fmla="*/ 0 h 208"/>
                    <a:gd name="T2" fmla="*/ 1 w 224"/>
                    <a:gd name="T3" fmla="*/ 1 h 208"/>
                    <a:gd name="T4" fmla="*/ 1 w 224"/>
                    <a:gd name="T5" fmla="*/ 1 h 208"/>
                    <a:gd name="T6" fmla="*/ 1 w 224"/>
                    <a:gd name="T7" fmla="*/ 1 h 208"/>
                    <a:gd name="T8" fmla="*/ 1 w 224"/>
                    <a:gd name="T9" fmla="*/ 1 h 208"/>
                    <a:gd name="T10" fmla="*/ 1 w 224"/>
                    <a:gd name="T11" fmla="*/ 1 h 208"/>
                    <a:gd name="T12" fmla="*/ 1 w 224"/>
                    <a:gd name="T13" fmla="*/ 1 h 208"/>
                    <a:gd name="T14" fmla="*/ 1 w 224"/>
                    <a:gd name="T15" fmla="*/ 1 h 208"/>
                    <a:gd name="T16" fmla="*/ 1 w 224"/>
                    <a:gd name="T17" fmla="*/ 1 h 208"/>
                    <a:gd name="T18" fmla="*/ 1 w 224"/>
                    <a:gd name="T19" fmla="*/ 1 h 208"/>
                    <a:gd name="T20" fmla="*/ 1 w 224"/>
                    <a:gd name="T21" fmla="*/ 1 h 208"/>
                    <a:gd name="T22" fmla="*/ 1 w 224"/>
                    <a:gd name="T23" fmla="*/ 1 h 208"/>
                    <a:gd name="T24" fmla="*/ 1 w 224"/>
                    <a:gd name="T25" fmla="*/ 1 h 208"/>
                    <a:gd name="T26" fmla="*/ 0 w 224"/>
                    <a:gd name="T27" fmla="*/ 1 h 208"/>
                    <a:gd name="T28" fmla="*/ 0 w 224"/>
                    <a:gd name="T29" fmla="*/ 1 h 208"/>
                    <a:gd name="T30" fmla="*/ 1 w 224"/>
                    <a:gd name="T31" fmla="*/ 1 h 208"/>
                    <a:gd name="T32" fmla="*/ 1 w 224"/>
                    <a:gd name="T33" fmla="*/ 1 h 208"/>
                    <a:gd name="T34" fmla="*/ 1 w 224"/>
                    <a:gd name="T35" fmla="*/ 1 h 208"/>
                    <a:gd name="T36" fmla="*/ 1 w 224"/>
                    <a:gd name="T37" fmla="*/ 1 h 208"/>
                    <a:gd name="T38" fmla="*/ 1 w 224"/>
                    <a:gd name="T39" fmla="*/ 1 h 208"/>
                    <a:gd name="T40" fmla="*/ 1 w 224"/>
                    <a:gd name="T41" fmla="*/ 1 h 208"/>
                    <a:gd name="T42" fmla="*/ 1 w 224"/>
                    <a:gd name="T43" fmla="*/ 1 h 208"/>
                    <a:gd name="T44" fmla="*/ 1 w 224"/>
                    <a:gd name="T45" fmla="*/ 1 h 208"/>
                    <a:gd name="T46" fmla="*/ 1 w 224"/>
                    <a:gd name="T47" fmla="*/ 1 h 208"/>
                    <a:gd name="T48" fmla="*/ 1 w 224"/>
                    <a:gd name="T49" fmla="*/ 1 h 208"/>
                    <a:gd name="T50" fmla="*/ 1 w 224"/>
                    <a:gd name="T51" fmla="*/ 1 h 208"/>
                    <a:gd name="T52" fmla="*/ 1 w 224"/>
                    <a:gd name="T53" fmla="*/ 1 h 208"/>
                    <a:gd name="T54" fmla="*/ 1 w 224"/>
                    <a:gd name="T55" fmla="*/ 1 h 208"/>
                    <a:gd name="T56" fmla="*/ 1 w 224"/>
                    <a:gd name="T57" fmla="*/ 1 h 208"/>
                    <a:gd name="T58" fmla="*/ 1 w 224"/>
                    <a:gd name="T59" fmla="*/ 1 h 208"/>
                    <a:gd name="T60" fmla="*/ 1 w 224"/>
                    <a:gd name="T61" fmla="*/ 1 h 208"/>
                    <a:gd name="T62" fmla="*/ 1 w 224"/>
                    <a:gd name="T63" fmla="*/ 1 h 208"/>
                    <a:gd name="T64" fmla="*/ 1 w 224"/>
                    <a:gd name="T65" fmla="*/ 1 h 208"/>
                    <a:gd name="T66" fmla="*/ 1 w 224"/>
                    <a:gd name="T67" fmla="*/ 1 h 208"/>
                    <a:gd name="T68" fmla="*/ 1 w 224"/>
                    <a:gd name="T69" fmla="*/ 1 h 208"/>
                    <a:gd name="T70" fmla="*/ 1 w 224"/>
                    <a:gd name="T71" fmla="*/ 1 h 208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224"/>
                    <a:gd name="T109" fmla="*/ 0 h 208"/>
                    <a:gd name="T110" fmla="*/ 224 w 224"/>
                    <a:gd name="T111" fmla="*/ 208 h 208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224" h="208">
                      <a:moveTo>
                        <a:pt x="208" y="16"/>
                      </a:moveTo>
                      <a:lnTo>
                        <a:pt x="208" y="0"/>
                      </a:lnTo>
                      <a:lnTo>
                        <a:pt x="200" y="0"/>
                      </a:lnTo>
                      <a:lnTo>
                        <a:pt x="200" y="8"/>
                      </a:lnTo>
                      <a:lnTo>
                        <a:pt x="200" y="16"/>
                      </a:lnTo>
                      <a:lnTo>
                        <a:pt x="192" y="8"/>
                      </a:lnTo>
                      <a:lnTo>
                        <a:pt x="184" y="8"/>
                      </a:lnTo>
                      <a:lnTo>
                        <a:pt x="176" y="24"/>
                      </a:lnTo>
                      <a:lnTo>
                        <a:pt x="176" y="64"/>
                      </a:lnTo>
                      <a:lnTo>
                        <a:pt x="168" y="80"/>
                      </a:lnTo>
                      <a:lnTo>
                        <a:pt x="152" y="104"/>
                      </a:lnTo>
                      <a:lnTo>
                        <a:pt x="144" y="112"/>
                      </a:lnTo>
                      <a:lnTo>
                        <a:pt x="144" y="120"/>
                      </a:lnTo>
                      <a:lnTo>
                        <a:pt x="128" y="120"/>
                      </a:lnTo>
                      <a:lnTo>
                        <a:pt x="120" y="120"/>
                      </a:lnTo>
                      <a:lnTo>
                        <a:pt x="128" y="104"/>
                      </a:lnTo>
                      <a:lnTo>
                        <a:pt x="120" y="104"/>
                      </a:lnTo>
                      <a:lnTo>
                        <a:pt x="120" y="112"/>
                      </a:lnTo>
                      <a:lnTo>
                        <a:pt x="120" y="120"/>
                      </a:lnTo>
                      <a:lnTo>
                        <a:pt x="88" y="152"/>
                      </a:lnTo>
                      <a:lnTo>
                        <a:pt x="80" y="152"/>
                      </a:lnTo>
                      <a:lnTo>
                        <a:pt x="64" y="152"/>
                      </a:lnTo>
                      <a:lnTo>
                        <a:pt x="56" y="160"/>
                      </a:lnTo>
                      <a:lnTo>
                        <a:pt x="40" y="152"/>
                      </a:lnTo>
                      <a:lnTo>
                        <a:pt x="32" y="152"/>
                      </a:lnTo>
                      <a:lnTo>
                        <a:pt x="32" y="160"/>
                      </a:lnTo>
                      <a:lnTo>
                        <a:pt x="8" y="176"/>
                      </a:lnTo>
                      <a:lnTo>
                        <a:pt x="0" y="176"/>
                      </a:lnTo>
                      <a:lnTo>
                        <a:pt x="0" y="184"/>
                      </a:lnTo>
                      <a:lnTo>
                        <a:pt x="0" y="192"/>
                      </a:lnTo>
                      <a:lnTo>
                        <a:pt x="8" y="192"/>
                      </a:lnTo>
                      <a:lnTo>
                        <a:pt x="16" y="192"/>
                      </a:lnTo>
                      <a:lnTo>
                        <a:pt x="24" y="192"/>
                      </a:lnTo>
                      <a:lnTo>
                        <a:pt x="40" y="184"/>
                      </a:lnTo>
                      <a:lnTo>
                        <a:pt x="48" y="176"/>
                      </a:lnTo>
                      <a:lnTo>
                        <a:pt x="72" y="168"/>
                      </a:lnTo>
                      <a:lnTo>
                        <a:pt x="88" y="176"/>
                      </a:lnTo>
                      <a:lnTo>
                        <a:pt x="88" y="184"/>
                      </a:lnTo>
                      <a:lnTo>
                        <a:pt x="88" y="192"/>
                      </a:lnTo>
                      <a:lnTo>
                        <a:pt x="88" y="200"/>
                      </a:lnTo>
                      <a:lnTo>
                        <a:pt x="96" y="208"/>
                      </a:lnTo>
                      <a:lnTo>
                        <a:pt x="104" y="200"/>
                      </a:lnTo>
                      <a:lnTo>
                        <a:pt x="104" y="192"/>
                      </a:lnTo>
                      <a:lnTo>
                        <a:pt x="120" y="192"/>
                      </a:lnTo>
                      <a:lnTo>
                        <a:pt x="112" y="184"/>
                      </a:lnTo>
                      <a:lnTo>
                        <a:pt x="112" y="176"/>
                      </a:lnTo>
                      <a:lnTo>
                        <a:pt x="112" y="168"/>
                      </a:lnTo>
                      <a:lnTo>
                        <a:pt x="128" y="168"/>
                      </a:lnTo>
                      <a:lnTo>
                        <a:pt x="128" y="176"/>
                      </a:lnTo>
                      <a:lnTo>
                        <a:pt x="144" y="176"/>
                      </a:lnTo>
                      <a:lnTo>
                        <a:pt x="152" y="168"/>
                      </a:lnTo>
                      <a:lnTo>
                        <a:pt x="152" y="176"/>
                      </a:lnTo>
                      <a:lnTo>
                        <a:pt x="160" y="176"/>
                      </a:lnTo>
                      <a:lnTo>
                        <a:pt x="168" y="160"/>
                      </a:lnTo>
                      <a:lnTo>
                        <a:pt x="176" y="152"/>
                      </a:lnTo>
                      <a:lnTo>
                        <a:pt x="184" y="152"/>
                      </a:lnTo>
                      <a:lnTo>
                        <a:pt x="184" y="160"/>
                      </a:lnTo>
                      <a:lnTo>
                        <a:pt x="176" y="168"/>
                      </a:lnTo>
                      <a:lnTo>
                        <a:pt x="184" y="168"/>
                      </a:lnTo>
                      <a:lnTo>
                        <a:pt x="200" y="152"/>
                      </a:lnTo>
                      <a:lnTo>
                        <a:pt x="192" y="144"/>
                      </a:lnTo>
                      <a:lnTo>
                        <a:pt x="192" y="136"/>
                      </a:lnTo>
                      <a:lnTo>
                        <a:pt x="208" y="112"/>
                      </a:lnTo>
                      <a:lnTo>
                        <a:pt x="200" y="104"/>
                      </a:lnTo>
                      <a:lnTo>
                        <a:pt x="200" y="88"/>
                      </a:lnTo>
                      <a:lnTo>
                        <a:pt x="208" y="88"/>
                      </a:lnTo>
                      <a:lnTo>
                        <a:pt x="216" y="88"/>
                      </a:lnTo>
                      <a:lnTo>
                        <a:pt x="216" y="72"/>
                      </a:lnTo>
                      <a:lnTo>
                        <a:pt x="224" y="56"/>
                      </a:lnTo>
                      <a:lnTo>
                        <a:pt x="224" y="40"/>
                      </a:lnTo>
                      <a:lnTo>
                        <a:pt x="224" y="32"/>
                      </a:lnTo>
                      <a:lnTo>
                        <a:pt x="216" y="24"/>
                      </a:lnTo>
                      <a:lnTo>
                        <a:pt x="208" y="1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50" name="Freeform 158"/>
                <p:cNvSpPr>
                  <a:spLocks noChangeAspect="1"/>
                </p:cNvSpPr>
                <p:nvPr/>
              </p:nvSpPr>
              <p:spPr bwMode="auto">
                <a:xfrm>
                  <a:off x="4668" y="2363"/>
                  <a:ext cx="34" cy="28"/>
                </a:xfrm>
                <a:custGeom>
                  <a:avLst/>
                  <a:gdLst>
                    <a:gd name="T0" fmla="*/ 1 w 48"/>
                    <a:gd name="T1" fmla="*/ 1 h 40"/>
                    <a:gd name="T2" fmla="*/ 1 w 48"/>
                    <a:gd name="T3" fmla="*/ 0 h 40"/>
                    <a:gd name="T4" fmla="*/ 1 w 48"/>
                    <a:gd name="T5" fmla="*/ 0 h 40"/>
                    <a:gd name="T6" fmla="*/ 1 w 48"/>
                    <a:gd name="T7" fmla="*/ 1 h 40"/>
                    <a:gd name="T8" fmla="*/ 1 w 48"/>
                    <a:gd name="T9" fmla="*/ 1 h 40"/>
                    <a:gd name="T10" fmla="*/ 0 w 48"/>
                    <a:gd name="T11" fmla="*/ 1 h 40"/>
                    <a:gd name="T12" fmla="*/ 1 w 48"/>
                    <a:gd name="T13" fmla="*/ 1 h 40"/>
                    <a:gd name="T14" fmla="*/ 1 w 48"/>
                    <a:gd name="T15" fmla="*/ 1 h 40"/>
                    <a:gd name="T16" fmla="*/ 1 w 48"/>
                    <a:gd name="T17" fmla="*/ 1 h 40"/>
                    <a:gd name="T18" fmla="*/ 1 w 48"/>
                    <a:gd name="T19" fmla="*/ 1 h 40"/>
                    <a:gd name="T20" fmla="*/ 1 w 48"/>
                    <a:gd name="T21" fmla="*/ 1 h 40"/>
                    <a:gd name="T22" fmla="*/ 1 w 48"/>
                    <a:gd name="T23" fmla="*/ 1 h 40"/>
                    <a:gd name="T24" fmla="*/ 1 w 48"/>
                    <a:gd name="T25" fmla="*/ 1 h 40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48"/>
                    <a:gd name="T40" fmla="*/ 0 h 40"/>
                    <a:gd name="T41" fmla="*/ 48 w 48"/>
                    <a:gd name="T42" fmla="*/ 40 h 40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48" h="40">
                      <a:moveTo>
                        <a:pt x="48" y="8"/>
                      </a:moveTo>
                      <a:lnTo>
                        <a:pt x="40" y="0"/>
                      </a:lnTo>
                      <a:lnTo>
                        <a:pt x="32" y="0"/>
                      </a:lnTo>
                      <a:lnTo>
                        <a:pt x="24" y="16"/>
                      </a:lnTo>
                      <a:lnTo>
                        <a:pt x="8" y="16"/>
                      </a:lnTo>
                      <a:lnTo>
                        <a:pt x="0" y="24"/>
                      </a:lnTo>
                      <a:lnTo>
                        <a:pt x="8" y="40"/>
                      </a:lnTo>
                      <a:lnTo>
                        <a:pt x="16" y="40"/>
                      </a:lnTo>
                      <a:lnTo>
                        <a:pt x="16" y="24"/>
                      </a:lnTo>
                      <a:lnTo>
                        <a:pt x="24" y="16"/>
                      </a:lnTo>
                      <a:lnTo>
                        <a:pt x="32" y="24"/>
                      </a:lnTo>
                      <a:lnTo>
                        <a:pt x="40" y="24"/>
                      </a:lnTo>
                      <a:lnTo>
                        <a:pt x="48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51" name="Freeform 159"/>
                <p:cNvSpPr>
                  <a:spLocks noChangeAspect="1"/>
                </p:cNvSpPr>
                <p:nvPr/>
              </p:nvSpPr>
              <p:spPr bwMode="auto">
                <a:xfrm>
                  <a:off x="4629" y="2369"/>
                  <a:ext cx="34" cy="50"/>
                </a:xfrm>
                <a:custGeom>
                  <a:avLst/>
                  <a:gdLst>
                    <a:gd name="T0" fmla="*/ 1 w 48"/>
                    <a:gd name="T1" fmla="*/ 0 h 72"/>
                    <a:gd name="T2" fmla="*/ 1 w 48"/>
                    <a:gd name="T3" fmla="*/ 1 h 72"/>
                    <a:gd name="T4" fmla="*/ 1 w 48"/>
                    <a:gd name="T5" fmla="*/ 1 h 72"/>
                    <a:gd name="T6" fmla="*/ 1 w 48"/>
                    <a:gd name="T7" fmla="*/ 1 h 72"/>
                    <a:gd name="T8" fmla="*/ 1 w 48"/>
                    <a:gd name="T9" fmla="*/ 1 h 72"/>
                    <a:gd name="T10" fmla="*/ 1 w 48"/>
                    <a:gd name="T11" fmla="*/ 1 h 72"/>
                    <a:gd name="T12" fmla="*/ 1 w 48"/>
                    <a:gd name="T13" fmla="*/ 1 h 72"/>
                    <a:gd name="T14" fmla="*/ 1 w 48"/>
                    <a:gd name="T15" fmla="*/ 1 h 72"/>
                    <a:gd name="T16" fmla="*/ 1 w 48"/>
                    <a:gd name="T17" fmla="*/ 1 h 72"/>
                    <a:gd name="T18" fmla="*/ 1 w 48"/>
                    <a:gd name="T19" fmla="*/ 1 h 72"/>
                    <a:gd name="T20" fmla="*/ 1 w 48"/>
                    <a:gd name="T21" fmla="*/ 1 h 72"/>
                    <a:gd name="T22" fmla="*/ 1 w 48"/>
                    <a:gd name="T23" fmla="*/ 1 h 72"/>
                    <a:gd name="T24" fmla="*/ 1 w 48"/>
                    <a:gd name="T25" fmla="*/ 1 h 72"/>
                    <a:gd name="T26" fmla="*/ 1 w 48"/>
                    <a:gd name="T27" fmla="*/ 1 h 72"/>
                    <a:gd name="T28" fmla="*/ 1 w 48"/>
                    <a:gd name="T29" fmla="*/ 1 h 72"/>
                    <a:gd name="T30" fmla="*/ 0 w 48"/>
                    <a:gd name="T31" fmla="*/ 1 h 72"/>
                    <a:gd name="T32" fmla="*/ 0 w 48"/>
                    <a:gd name="T33" fmla="*/ 1 h 72"/>
                    <a:gd name="T34" fmla="*/ 1 w 48"/>
                    <a:gd name="T35" fmla="*/ 1 h 72"/>
                    <a:gd name="T36" fmla="*/ 1 w 48"/>
                    <a:gd name="T37" fmla="*/ 0 h 72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48"/>
                    <a:gd name="T58" fmla="*/ 0 h 72"/>
                    <a:gd name="T59" fmla="*/ 48 w 48"/>
                    <a:gd name="T60" fmla="*/ 72 h 72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48" h="72">
                      <a:moveTo>
                        <a:pt x="24" y="0"/>
                      </a:moveTo>
                      <a:lnTo>
                        <a:pt x="40" y="16"/>
                      </a:lnTo>
                      <a:lnTo>
                        <a:pt x="48" y="32"/>
                      </a:lnTo>
                      <a:lnTo>
                        <a:pt x="40" y="48"/>
                      </a:lnTo>
                      <a:lnTo>
                        <a:pt x="40" y="64"/>
                      </a:lnTo>
                      <a:lnTo>
                        <a:pt x="24" y="72"/>
                      </a:lnTo>
                      <a:lnTo>
                        <a:pt x="24" y="56"/>
                      </a:lnTo>
                      <a:lnTo>
                        <a:pt x="16" y="56"/>
                      </a:lnTo>
                      <a:lnTo>
                        <a:pt x="16" y="64"/>
                      </a:lnTo>
                      <a:lnTo>
                        <a:pt x="8" y="64"/>
                      </a:lnTo>
                      <a:lnTo>
                        <a:pt x="16" y="48"/>
                      </a:lnTo>
                      <a:lnTo>
                        <a:pt x="16" y="40"/>
                      </a:lnTo>
                      <a:lnTo>
                        <a:pt x="24" y="32"/>
                      </a:lnTo>
                      <a:lnTo>
                        <a:pt x="16" y="24"/>
                      </a:lnTo>
                      <a:lnTo>
                        <a:pt x="8" y="32"/>
                      </a:lnTo>
                      <a:lnTo>
                        <a:pt x="0" y="24"/>
                      </a:lnTo>
                      <a:lnTo>
                        <a:pt x="0" y="16"/>
                      </a:lnTo>
                      <a:lnTo>
                        <a:pt x="8" y="8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52" name="Freeform 160"/>
                <p:cNvSpPr>
                  <a:spLocks noChangeAspect="1"/>
                </p:cNvSpPr>
                <p:nvPr/>
              </p:nvSpPr>
              <p:spPr bwMode="auto">
                <a:xfrm>
                  <a:off x="4494" y="2515"/>
                  <a:ext cx="23" cy="45"/>
                </a:xfrm>
                <a:custGeom>
                  <a:avLst/>
                  <a:gdLst>
                    <a:gd name="T0" fmla="*/ 1 w 32"/>
                    <a:gd name="T1" fmla="*/ 0 h 64"/>
                    <a:gd name="T2" fmla="*/ 1 w 32"/>
                    <a:gd name="T3" fmla="*/ 0 h 64"/>
                    <a:gd name="T4" fmla="*/ 1 w 32"/>
                    <a:gd name="T5" fmla="*/ 1 h 64"/>
                    <a:gd name="T6" fmla="*/ 1 w 32"/>
                    <a:gd name="T7" fmla="*/ 1 h 64"/>
                    <a:gd name="T8" fmla="*/ 1 w 32"/>
                    <a:gd name="T9" fmla="*/ 1 h 64"/>
                    <a:gd name="T10" fmla="*/ 1 w 32"/>
                    <a:gd name="T11" fmla="*/ 1 h 64"/>
                    <a:gd name="T12" fmla="*/ 0 w 32"/>
                    <a:gd name="T13" fmla="*/ 1 h 64"/>
                    <a:gd name="T14" fmla="*/ 0 w 32"/>
                    <a:gd name="T15" fmla="*/ 1 h 64"/>
                    <a:gd name="T16" fmla="*/ 1 w 32"/>
                    <a:gd name="T17" fmla="*/ 1 h 64"/>
                    <a:gd name="T18" fmla="*/ 1 w 32"/>
                    <a:gd name="T19" fmla="*/ 0 h 6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32"/>
                    <a:gd name="T31" fmla="*/ 0 h 64"/>
                    <a:gd name="T32" fmla="*/ 32 w 32"/>
                    <a:gd name="T33" fmla="*/ 64 h 6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32" h="64">
                      <a:moveTo>
                        <a:pt x="16" y="0"/>
                      </a:moveTo>
                      <a:lnTo>
                        <a:pt x="32" y="0"/>
                      </a:lnTo>
                      <a:lnTo>
                        <a:pt x="32" y="32"/>
                      </a:lnTo>
                      <a:lnTo>
                        <a:pt x="24" y="40"/>
                      </a:lnTo>
                      <a:lnTo>
                        <a:pt x="16" y="64"/>
                      </a:lnTo>
                      <a:lnTo>
                        <a:pt x="8" y="64"/>
                      </a:lnTo>
                      <a:lnTo>
                        <a:pt x="0" y="56"/>
                      </a:lnTo>
                      <a:lnTo>
                        <a:pt x="0" y="32"/>
                      </a:lnTo>
                      <a:lnTo>
                        <a:pt x="16" y="16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53" name="Freeform 161"/>
                <p:cNvSpPr>
                  <a:spLocks noChangeAspect="1"/>
                </p:cNvSpPr>
                <p:nvPr/>
              </p:nvSpPr>
              <p:spPr bwMode="auto">
                <a:xfrm>
                  <a:off x="4550" y="2206"/>
                  <a:ext cx="96" cy="101"/>
                </a:xfrm>
                <a:custGeom>
                  <a:avLst/>
                  <a:gdLst>
                    <a:gd name="T0" fmla="*/ 1 w 136"/>
                    <a:gd name="T1" fmla="*/ 1 h 144"/>
                    <a:gd name="T2" fmla="*/ 1 w 136"/>
                    <a:gd name="T3" fmla="*/ 1 h 144"/>
                    <a:gd name="T4" fmla="*/ 1 w 136"/>
                    <a:gd name="T5" fmla="*/ 0 h 144"/>
                    <a:gd name="T6" fmla="*/ 1 w 136"/>
                    <a:gd name="T7" fmla="*/ 1 h 144"/>
                    <a:gd name="T8" fmla="*/ 1 w 136"/>
                    <a:gd name="T9" fmla="*/ 1 h 144"/>
                    <a:gd name="T10" fmla="*/ 1 w 136"/>
                    <a:gd name="T11" fmla="*/ 1 h 144"/>
                    <a:gd name="T12" fmla="*/ 1 w 136"/>
                    <a:gd name="T13" fmla="*/ 1 h 144"/>
                    <a:gd name="T14" fmla="*/ 1 w 136"/>
                    <a:gd name="T15" fmla="*/ 1 h 144"/>
                    <a:gd name="T16" fmla="*/ 1 w 136"/>
                    <a:gd name="T17" fmla="*/ 1 h 144"/>
                    <a:gd name="T18" fmla="*/ 1 w 136"/>
                    <a:gd name="T19" fmla="*/ 1 h 144"/>
                    <a:gd name="T20" fmla="*/ 1 w 136"/>
                    <a:gd name="T21" fmla="*/ 1 h 144"/>
                    <a:gd name="T22" fmla="*/ 1 w 136"/>
                    <a:gd name="T23" fmla="*/ 1 h 144"/>
                    <a:gd name="T24" fmla="*/ 0 w 136"/>
                    <a:gd name="T25" fmla="*/ 1 h 144"/>
                    <a:gd name="T26" fmla="*/ 1 w 136"/>
                    <a:gd name="T27" fmla="*/ 1 h 144"/>
                    <a:gd name="T28" fmla="*/ 1 w 136"/>
                    <a:gd name="T29" fmla="*/ 1 h 144"/>
                    <a:gd name="T30" fmla="*/ 1 w 136"/>
                    <a:gd name="T31" fmla="*/ 1 h 144"/>
                    <a:gd name="T32" fmla="*/ 1 w 136"/>
                    <a:gd name="T33" fmla="*/ 1 h 144"/>
                    <a:gd name="T34" fmla="*/ 1 w 136"/>
                    <a:gd name="T35" fmla="*/ 1 h 144"/>
                    <a:gd name="T36" fmla="*/ 1 w 136"/>
                    <a:gd name="T37" fmla="*/ 1 h 144"/>
                    <a:gd name="T38" fmla="*/ 1 w 136"/>
                    <a:gd name="T39" fmla="*/ 1 h 144"/>
                    <a:gd name="T40" fmla="*/ 1 w 136"/>
                    <a:gd name="T41" fmla="*/ 1 h 144"/>
                    <a:gd name="T42" fmla="*/ 1 w 136"/>
                    <a:gd name="T43" fmla="*/ 1 h 144"/>
                    <a:gd name="T44" fmla="*/ 1 w 136"/>
                    <a:gd name="T45" fmla="*/ 1 h 144"/>
                    <a:gd name="T46" fmla="*/ 1 w 136"/>
                    <a:gd name="T47" fmla="*/ 1 h 144"/>
                    <a:gd name="T48" fmla="*/ 1 w 136"/>
                    <a:gd name="T49" fmla="*/ 1 h 144"/>
                    <a:gd name="T50" fmla="*/ 1 w 136"/>
                    <a:gd name="T51" fmla="*/ 1 h 144"/>
                    <a:gd name="T52" fmla="*/ 1 w 136"/>
                    <a:gd name="T53" fmla="*/ 1 h 144"/>
                    <a:gd name="T54" fmla="*/ 1 w 136"/>
                    <a:gd name="T55" fmla="*/ 1 h 144"/>
                    <a:gd name="T56" fmla="*/ 1 w 136"/>
                    <a:gd name="T57" fmla="*/ 1 h 144"/>
                    <a:gd name="T58" fmla="*/ 1 w 136"/>
                    <a:gd name="T59" fmla="*/ 1 h 144"/>
                    <a:gd name="T60" fmla="*/ 1 w 136"/>
                    <a:gd name="T61" fmla="*/ 1 h 144"/>
                    <a:gd name="T62" fmla="*/ 1 w 136"/>
                    <a:gd name="T63" fmla="*/ 1 h 144"/>
                    <a:gd name="T64" fmla="*/ 1 w 136"/>
                    <a:gd name="T65" fmla="*/ 1 h 144"/>
                    <a:gd name="T66" fmla="*/ 1 w 136"/>
                    <a:gd name="T67" fmla="*/ 1 h 144"/>
                    <a:gd name="T68" fmla="*/ 1 w 136"/>
                    <a:gd name="T69" fmla="*/ 1 h 144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136"/>
                    <a:gd name="T106" fmla="*/ 0 h 144"/>
                    <a:gd name="T107" fmla="*/ 136 w 136"/>
                    <a:gd name="T108" fmla="*/ 144 h 144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136" h="144">
                      <a:moveTo>
                        <a:pt x="136" y="8"/>
                      </a:moveTo>
                      <a:lnTo>
                        <a:pt x="128" y="8"/>
                      </a:lnTo>
                      <a:lnTo>
                        <a:pt x="120" y="0"/>
                      </a:lnTo>
                      <a:lnTo>
                        <a:pt x="96" y="24"/>
                      </a:lnTo>
                      <a:lnTo>
                        <a:pt x="80" y="16"/>
                      </a:lnTo>
                      <a:lnTo>
                        <a:pt x="88" y="40"/>
                      </a:lnTo>
                      <a:lnTo>
                        <a:pt x="80" y="48"/>
                      </a:lnTo>
                      <a:lnTo>
                        <a:pt x="64" y="48"/>
                      </a:lnTo>
                      <a:lnTo>
                        <a:pt x="64" y="32"/>
                      </a:lnTo>
                      <a:lnTo>
                        <a:pt x="56" y="32"/>
                      </a:lnTo>
                      <a:lnTo>
                        <a:pt x="40" y="56"/>
                      </a:lnTo>
                      <a:lnTo>
                        <a:pt x="8" y="64"/>
                      </a:lnTo>
                      <a:lnTo>
                        <a:pt x="0" y="88"/>
                      </a:lnTo>
                      <a:lnTo>
                        <a:pt x="8" y="88"/>
                      </a:lnTo>
                      <a:lnTo>
                        <a:pt x="16" y="96"/>
                      </a:lnTo>
                      <a:lnTo>
                        <a:pt x="24" y="96"/>
                      </a:lnTo>
                      <a:lnTo>
                        <a:pt x="24" y="104"/>
                      </a:lnTo>
                      <a:lnTo>
                        <a:pt x="24" y="120"/>
                      </a:lnTo>
                      <a:lnTo>
                        <a:pt x="8" y="128"/>
                      </a:lnTo>
                      <a:lnTo>
                        <a:pt x="16" y="144"/>
                      </a:lnTo>
                      <a:lnTo>
                        <a:pt x="32" y="144"/>
                      </a:lnTo>
                      <a:lnTo>
                        <a:pt x="40" y="136"/>
                      </a:lnTo>
                      <a:lnTo>
                        <a:pt x="56" y="120"/>
                      </a:lnTo>
                      <a:lnTo>
                        <a:pt x="88" y="112"/>
                      </a:lnTo>
                      <a:lnTo>
                        <a:pt x="72" y="104"/>
                      </a:lnTo>
                      <a:lnTo>
                        <a:pt x="64" y="104"/>
                      </a:lnTo>
                      <a:lnTo>
                        <a:pt x="64" y="88"/>
                      </a:lnTo>
                      <a:lnTo>
                        <a:pt x="72" y="80"/>
                      </a:lnTo>
                      <a:lnTo>
                        <a:pt x="88" y="80"/>
                      </a:lnTo>
                      <a:lnTo>
                        <a:pt x="104" y="64"/>
                      </a:lnTo>
                      <a:lnTo>
                        <a:pt x="120" y="48"/>
                      </a:lnTo>
                      <a:lnTo>
                        <a:pt x="120" y="40"/>
                      </a:lnTo>
                      <a:lnTo>
                        <a:pt x="120" y="24"/>
                      </a:lnTo>
                      <a:lnTo>
                        <a:pt x="128" y="8"/>
                      </a:lnTo>
                      <a:lnTo>
                        <a:pt x="136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54" name="Freeform 162"/>
                <p:cNvSpPr>
                  <a:spLocks noChangeAspect="1"/>
                </p:cNvSpPr>
                <p:nvPr/>
              </p:nvSpPr>
              <p:spPr bwMode="auto">
                <a:xfrm>
                  <a:off x="3819" y="1969"/>
                  <a:ext cx="889" cy="619"/>
                </a:xfrm>
                <a:custGeom>
                  <a:avLst/>
                  <a:gdLst>
                    <a:gd name="T0" fmla="*/ 1 w 1264"/>
                    <a:gd name="T1" fmla="*/ 1 h 880"/>
                    <a:gd name="T2" fmla="*/ 1 w 1264"/>
                    <a:gd name="T3" fmla="*/ 1 h 880"/>
                    <a:gd name="T4" fmla="*/ 1 w 1264"/>
                    <a:gd name="T5" fmla="*/ 1 h 880"/>
                    <a:gd name="T6" fmla="*/ 1 w 1264"/>
                    <a:gd name="T7" fmla="*/ 1 h 880"/>
                    <a:gd name="T8" fmla="*/ 1 w 1264"/>
                    <a:gd name="T9" fmla="*/ 1 h 880"/>
                    <a:gd name="T10" fmla="*/ 1 w 1264"/>
                    <a:gd name="T11" fmla="*/ 1 h 880"/>
                    <a:gd name="T12" fmla="*/ 1 w 1264"/>
                    <a:gd name="T13" fmla="*/ 0 h 880"/>
                    <a:gd name="T14" fmla="*/ 1 w 1264"/>
                    <a:gd name="T15" fmla="*/ 1 h 880"/>
                    <a:gd name="T16" fmla="*/ 1 w 1264"/>
                    <a:gd name="T17" fmla="*/ 1 h 880"/>
                    <a:gd name="T18" fmla="*/ 1 w 1264"/>
                    <a:gd name="T19" fmla="*/ 1 h 880"/>
                    <a:gd name="T20" fmla="*/ 1 w 1264"/>
                    <a:gd name="T21" fmla="*/ 1 h 880"/>
                    <a:gd name="T22" fmla="*/ 1 w 1264"/>
                    <a:gd name="T23" fmla="*/ 1 h 880"/>
                    <a:gd name="T24" fmla="*/ 1 w 1264"/>
                    <a:gd name="T25" fmla="*/ 1 h 880"/>
                    <a:gd name="T26" fmla="*/ 1 w 1264"/>
                    <a:gd name="T27" fmla="*/ 1 h 880"/>
                    <a:gd name="T28" fmla="*/ 1 w 1264"/>
                    <a:gd name="T29" fmla="*/ 1 h 880"/>
                    <a:gd name="T30" fmla="*/ 1 w 1264"/>
                    <a:gd name="T31" fmla="*/ 1 h 880"/>
                    <a:gd name="T32" fmla="*/ 1 w 1264"/>
                    <a:gd name="T33" fmla="*/ 1 h 880"/>
                    <a:gd name="T34" fmla="*/ 1 w 1264"/>
                    <a:gd name="T35" fmla="*/ 1 h 880"/>
                    <a:gd name="T36" fmla="*/ 1 w 1264"/>
                    <a:gd name="T37" fmla="*/ 1 h 880"/>
                    <a:gd name="T38" fmla="*/ 1 w 1264"/>
                    <a:gd name="T39" fmla="*/ 1 h 880"/>
                    <a:gd name="T40" fmla="*/ 1 w 1264"/>
                    <a:gd name="T41" fmla="*/ 1 h 880"/>
                    <a:gd name="T42" fmla="*/ 1 w 1264"/>
                    <a:gd name="T43" fmla="*/ 1 h 880"/>
                    <a:gd name="T44" fmla="*/ 1 w 1264"/>
                    <a:gd name="T45" fmla="*/ 1 h 880"/>
                    <a:gd name="T46" fmla="*/ 1 w 1264"/>
                    <a:gd name="T47" fmla="*/ 1 h 880"/>
                    <a:gd name="T48" fmla="*/ 1 w 1264"/>
                    <a:gd name="T49" fmla="*/ 1 h 880"/>
                    <a:gd name="T50" fmla="*/ 1 w 1264"/>
                    <a:gd name="T51" fmla="*/ 1 h 880"/>
                    <a:gd name="T52" fmla="*/ 1 w 1264"/>
                    <a:gd name="T53" fmla="*/ 1 h 880"/>
                    <a:gd name="T54" fmla="*/ 1 w 1264"/>
                    <a:gd name="T55" fmla="*/ 1 h 880"/>
                    <a:gd name="T56" fmla="*/ 1 w 1264"/>
                    <a:gd name="T57" fmla="*/ 1 h 880"/>
                    <a:gd name="T58" fmla="*/ 1 w 1264"/>
                    <a:gd name="T59" fmla="*/ 1 h 880"/>
                    <a:gd name="T60" fmla="*/ 1 w 1264"/>
                    <a:gd name="T61" fmla="*/ 1 h 880"/>
                    <a:gd name="T62" fmla="*/ 1 w 1264"/>
                    <a:gd name="T63" fmla="*/ 1 h 880"/>
                    <a:gd name="T64" fmla="*/ 1 w 1264"/>
                    <a:gd name="T65" fmla="*/ 1 h 880"/>
                    <a:gd name="T66" fmla="*/ 1 w 1264"/>
                    <a:gd name="T67" fmla="*/ 1 h 880"/>
                    <a:gd name="T68" fmla="*/ 1 w 1264"/>
                    <a:gd name="T69" fmla="*/ 1 h 880"/>
                    <a:gd name="T70" fmla="*/ 1 w 1264"/>
                    <a:gd name="T71" fmla="*/ 1 h 880"/>
                    <a:gd name="T72" fmla="*/ 1 w 1264"/>
                    <a:gd name="T73" fmla="*/ 1 h 880"/>
                    <a:gd name="T74" fmla="*/ 1 w 1264"/>
                    <a:gd name="T75" fmla="*/ 1 h 880"/>
                    <a:gd name="T76" fmla="*/ 1 w 1264"/>
                    <a:gd name="T77" fmla="*/ 1 h 880"/>
                    <a:gd name="T78" fmla="*/ 1 w 1264"/>
                    <a:gd name="T79" fmla="*/ 1 h 880"/>
                    <a:gd name="T80" fmla="*/ 1 w 1264"/>
                    <a:gd name="T81" fmla="*/ 1 h 880"/>
                    <a:gd name="T82" fmla="*/ 1 w 1264"/>
                    <a:gd name="T83" fmla="*/ 1 h 880"/>
                    <a:gd name="T84" fmla="*/ 1 w 1264"/>
                    <a:gd name="T85" fmla="*/ 1 h 880"/>
                    <a:gd name="T86" fmla="*/ 1 w 1264"/>
                    <a:gd name="T87" fmla="*/ 1 h 880"/>
                    <a:gd name="T88" fmla="*/ 1 w 1264"/>
                    <a:gd name="T89" fmla="*/ 1 h 880"/>
                    <a:gd name="T90" fmla="*/ 1 w 1264"/>
                    <a:gd name="T91" fmla="*/ 1 h 880"/>
                    <a:gd name="T92" fmla="*/ 1 w 1264"/>
                    <a:gd name="T93" fmla="*/ 1 h 880"/>
                    <a:gd name="T94" fmla="*/ 1 w 1264"/>
                    <a:gd name="T95" fmla="*/ 1 h 880"/>
                    <a:gd name="T96" fmla="*/ 1 w 1264"/>
                    <a:gd name="T97" fmla="*/ 1 h 880"/>
                    <a:gd name="T98" fmla="*/ 1 w 1264"/>
                    <a:gd name="T99" fmla="*/ 1 h 880"/>
                    <a:gd name="T100" fmla="*/ 1 w 1264"/>
                    <a:gd name="T101" fmla="*/ 1 h 880"/>
                    <a:gd name="T102" fmla="*/ 1 w 1264"/>
                    <a:gd name="T103" fmla="*/ 1 h 880"/>
                    <a:gd name="T104" fmla="*/ 1 w 1264"/>
                    <a:gd name="T105" fmla="*/ 1 h 880"/>
                    <a:gd name="T106" fmla="*/ 1 w 1264"/>
                    <a:gd name="T107" fmla="*/ 1 h 880"/>
                    <a:gd name="T108" fmla="*/ 1 w 1264"/>
                    <a:gd name="T109" fmla="*/ 1 h 880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1264"/>
                    <a:gd name="T166" fmla="*/ 0 h 880"/>
                    <a:gd name="T167" fmla="*/ 1264 w 1264"/>
                    <a:gd name="T168" fmla="*/ 880 h 880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1264" h="880">
                      <a:moveTo>
                        <a:pt x="1040" y="424"/>
                      </a:moveTo>
                      <a:lnTo>
                        <a:pt x="1048" y="400"/>
                      </a:lnTo>
                      <a:lnTo>
                        <a:pt x="1080" y="392"/>
                      </a:lnTo>
                      <a:lnTo>
                        <a:pt x="1096" y="368"/>
                      </a:lnTo>
                      <a:lnTo>
                        <a:pt x="1104" y="368"/>
                      </a:lnTo>
                      <a:lnTo>
                        <a:pt x="1104" y="384"/>
                      </a:lnTo>
                      <a:lnTo>
                        <a:pt x="1120" y="384"/>
                      </a:lnTo>
                      <a:lnTo>
                        <a:pt x="1128" y="376"/>
                      </a:lnTo>
                      <a:lnTo>
                        <a:pt x="1120" y="352"/>
                      </a:lnTo>
                      <a:lnTo>
                        <a:pt x="1136" y="360"/>
                      </a:lnTo>
                      <a:lnTo>
                        <a:pt x="1168" y="344"/>
                      </a:lnTo>
                      <a:lnTo>
                        <a:pt x="1184" y="328"/>
                      </a:lnTo>
                      <a:lnTo>
                        <a:pt x="1192" y="304"/>
                      </a:lnTo>
                      <a:lnTo>
                        <a:pt x="1176" y="280"/>
                      </a:lnTo>
                      <a:lnTo>
                        <a:pt x="1200" y="272"/>
                      </a:lnTo>
                      <a:lnTo>
                        <a:pt x="1216" y="272"/>
                      </a:lnTo>
                      <a:lnTo>
                        <a:pt x="1232" y="264"/>
                      </a:lnTo>
                      <a:lnTo>
                        <a:pt x="1240" y="224"/>
                      </a:lnTo>
                      <a:lnTo>
                        <a:pt x="1256" y="208"/>
                      </a:lnTo>
                      <a:lnTo>
                        <a:pt x="1264" y="168"/>
                      </a:lnTo>
                      <a:lnTo>
                        <a:pt x="1256" y="168"/>
                      </a:lnTo>
                      <a:lnTo>
                        <a:pt x="1232" y="184"/>
                      </a:lnTo>
                      <a:lnTo>
                        <a:pt x="1208" y="184"/>
                      </a:lnTo>
                      <a:lnTo>
                        <a:pt x="1200" y="192"/>
                      </a:lnTo>
                      <a:lnTo>
                        <a:pt x="1184" y="192"/>
                      </a:lnTo>
                      <a:lnTo>
                        <a:pt x="1176" y="160"/>
                      </a:lnTo>
                      <a:lnTo>
                        <a:pt x="1152" y="136"/>
                      </a:lnTo>
                      <a:lnTo>
                        <a:pt x="1136" y="128"/>
                      </a:lnTo>
                      <a:lnTo>
                        <a:pt x="1112" y="128"/>
                      </a:lnTo>
                      <a:lnTo>
                        <a:pt x="1112" y="104"/>
                      </a:lnTo>
                      <a:lnTo>
                        <a:pt x="1096" y="72"/>
                      </a:lnTo>
                      <a:lnTo>
                        <a:pt x="1096" y="56"/>
                      </a:lnTo>
                      <a:lnTo>
                        <a:pt x="1072" y="16"/>
                      </a:lnTo>
                      <a:lnTo>
                        <a:pt x="1056" y="16"/>
                      </a:lnTo>
                      <a:lnTo>
                        <a:pt x="1024" y="0"/>
                      </a:lnTo>
                      <a:lnTo>
                        <a:pt x="976" y="8"/>
                      </a:lnTo>
                      <a:lnTo>
                        <a:pt x="952" y="40"/>
                      </a:lnTo>
                      <a:lnTo>
                        <a:pt x="968" y="40"/>
                      </a:lnTo>
                      <a:lnTo>
                        <a:pt x="968" y="56"/>
                      </a:lnTo>
                      <a:lnTo>
                        <a:pt x="952" y="72"/>
                      </a:lnTo>
                      <a:lnTo>
                        <a:pt x="944" y="96"/>
                      </a:lnTo>
                      <a:lnTo>
                        <a:pt x="936" y="104"/>
                      </a:lnTo>
                      <a:lnTo>
                        <a:pt x="936" y="120"/>
                      </a:lnTo>
                      <a:lnTo>
                        <a:pt x="904" y="144"/>
                      </a:lnTo>
                      <a:lnTo>
                        <a:pt x="888" y="128"/>
                      </a:lnTo>
                      <a:lnTo>
                        <a:pt x="888" y="136"/>
                      </a:lnTo>
                      <a:lnTo>
                        <a:pt x="872" y="168"/>
                      </a:lnTo>
                      <a:lnTo>
                        <a:pt x="864" y="184"/>
                      </a:lnTo>
                      <a:lnTo>
                        <a:pt x="864" y="192"/>
                      </a:lnTo>
                      <a:lnTo>
                        <a:pt x="872" y="200"/>
                      </a:lnTo>
                      <a:lnTo>
                        <a:pt x="880" y="192"/>
                      </a:lnTo>
                      <a:lnTo>
                        <a:pt x="896" y="200"/>
                      </a:lnTo>
                      <a:lnTo>
                        <a:pt x="904" y="184"/>
                      </a:lnTo>
                      <a:lnTo>
                        <a:pt x="944" y="200"/>
                      </a:lnTo>
                      <a:lnTo>
                        <a:pt x="952" y="224"/>
                      </a:lnTo>
                      <a:lnTo>
                        <a:pt x="944" y="224"/>
                      </a:lnTo>
                      <a:lnTo>
                        <a:pt x="928" y="224"/>
                      </a:lnTo>
                      <a:lnTo>
                        <a:pt x="912" y="224"/>
                      </a:lnTo>
                      <a:lnTo>
                        <a:pt x="912" y="232"/>
                      </a:lnTo>
                      <a:lnTo>
                        <a:pt x="896" y="240"/>
                      </a:lnTo>
                      <a:lnTo>
                        <a:pt x="888" y="232"/>
                      </a:lnTo>
                      <a:lnTo>
                        <a:pt x="880" y="232"/>
                      </a:lnTo>
                      <a:lnTo>
                        <a:pt x="872" y="264"/>
                      </a:lnTo>
                      <a:lnTo>
                        <a:pt x="856" y="264"/>
                      </a:lnTo>
                      <a:lnTo>
                        <a:pt x="848" y="256"/>
                      </a:lnTo>
                      <a:lnTo>
                        <a:pt x="824" y="280"/>
                      </a:lnTo>
                      <a:lnTo>
                        <a:pt x="792" y="272"/>
                      </a:lnTo>
                      <a:lnTo>
                        <a:pt x="776" y="296"/>
                      </a:lnTo>
                      <a:lnTo>
                        <a:pt x="792" y="304"/>
                      </a:lnTo>
                      <a:lnTo>
                        <a:pt x="784" y="320"/>
                      </a:lnTo>
                      <a:lnTo>
                        <a:pt x="768" y="320"/>
                      </a:lnTo>
                      <a:lnTo>
                        <a:pt x="752" y="344"/>
                      </a:lnTo>
                      <a:lnTo>
                        <a:pt x="720" y="352"/>
                      </a:lnTo>
                      <a:lnTo>
                        <a:pt x="704" y="360"/>
                      </a:lnTo>
                      <a:lnTo>
                        <a:pt x="688" y="352"/>
                      </a:lnTo>
                      <a:lnTo>
                        <a:pt x="656" y="368"/>
                      </a:lnTo>
                      <a:lnTo>
                        <a:pt x="640" y="368"/>
                      </a:lnTo>
                      <a:lnTo>
                        <a:pt x="624" y="360"/>
                      </a:lnTo>
                      <a:lnTo>
                        <a:pt x="600" y="360"/>
                      </a:lnTo>
                      <a:lnTo>
                        <a:pt x="576" y="344"/>
                      </a:lnTo>
                      <a:lnTo>
                        <a:pt x="544" y="336"/>
                      </a:lnTo>
                      <a:lnTo>
                        <a:pt x="520" y="344"/>
                      </a:lnTo>
                      <a:lnTo>
                        <a:pt x="504" y="336"/>
                      </a:lnTo>
                      <a:lnTo>
                        <a:pt x="504" y="344"/>
                      </a:lnTo>
                      <a:lnTo>
                        <a:pt x="496" y="352"/>
                      </a:lnTo>
                      <a:lnTo>
                        <a:pt x="472" y="352"/>
                      </a:lnTo>
                      <a:lnTo>
                        <a:pt x="456" y="328"/>
                      </a:lnTo>
                      <a:lnTo>
                        <a:pt x="464" y="304"/>
                      </a:lnTo>
                      <a:lnTo>
                        <a:pt x="392" y="280"/>
                      </a:lnTo>
                      <a:lnTo>
                        <a:pt x="368" y="272"/>
                      </a:lnTo>
                      <a:lnTo>
                        <a:pt x="352" y="248"/>
                      </a:lnTo>
                      <a:lnTo>
                        <a:pt x="368" y="232"/>
                      </a:lnTo>
                      <a:lnTo>
                        <a:pt x="336" y="192"/>
                      </a:lnTo>
                      <a:lnTo>
                        <a:pt x="312" y="192"/>
                      </a:lnTo>
                      <a:lnTo>
                        <a:pt x="288" y="152"/>
                      </a:lnTo>
                      <a:lnTo>
                        <a:pt x="280" y="152"/>
                      </a:lnTo>
                      <a:lnTo>
                        <a:pt x="240" y="184"/>
                      </a:lnTo>
                      <a:lnTo>
                        <a:pt x="248" y="216"/>
                      </a:lnTo>
                      <a:lnTo>
                        <a:pt x="240" y="224"/>
                      </a:lnTo>
                      <a:lnTo>
                        <a:pt x="224" y="216"/>
                      </a:lnTo>
                      <a:lnTo>
                        <a:pt x="200" y="216"/>
                      </a:lnTo>
                      <a:lnTo>
                        <a:pt x="184" y="256"/>
                      </a:lnTo>
                      <a:lnTo>
                        <a:pt x="184" y="272"/>
                      </a:lnTo>
                      <a:lnTo>
                        <a:pt x="176" y="280"/>
                      </a:lnTo>
                      <a:lnTo>
                        <a:pt x="160" y="264"/>
                      </a:lnTo>
                      <a:lnTo>
                        <a:pt x="120" y="280"/>
                      </a:lnTo>
                      <a:lnTo>
                        <a:pt x="136" y="296"/>
                      </a:lnTo>
                      <a:lnTo>
                        <a:pt x="136" y="320"/>
                      </a:lnTo>
                      <a:lnTo>
                        <a:pt x="144" y="328"/>
                      </a:lnTo>
                      <a:lnTo>
                        <a:pt x="136" y="352"/>
                      </a:lnTo>
                      <a:lnTo>
                        <a:pt x="120" y="368"/>
                      </a:lnTo>
                      <a:lnTo>
                        <a:pt x="96" y="376"/>
                      </a:lnTo>
                      <a:lnTo>
                        <a:pt x="80" y="384"/>
                      </a:lnTo>
                      <a:lnTo>
                        <a:pt x="64" y="392"/>
                      </a:lnTo>
                      <a:lnTo>
                        <a:pt x="64" y="408"/>
                      </a:lnTo>
                      <a:lnTo>
                        <a:pt x="48" y="408"/>
                      </a:lnTo>
                      <a:lnTo>
                        <a:pt x="40" y="400"/>
                      </a:lnTo>
                      <a:lnTo>
                        <a:pt x="8" y="416"/>
                      </a:lnTo>
                      <a:lnTo>
                        <a:pt x="0" y="432"/>
                      </a:lnTo>
                      <a:lnTo>
                        <a:pt x="8" y="448"/>
                      </a:lnTo>
                      <a:lnTo>
                        <a:pt x="24" y="448"/>
                      </a:lnTo>
                      <a:lnTo>
                        <a:pt x="24" y="464"/>
                      </a:lnTo>
                      <a:lnTo>
                        <a:pt x="16" y="488"/>
                      </a:lnTo>
                      <a:lnTo>
                        <a:pt x="24" y="496"/>
                      </a:lnTo>
                      <a:lnTo>
                        <a:pt x="32" y="496"/>
                      </a:lnTo>
                      <a:lnTo>
                        <a:pt x="40" y="512"/>
                      </a:lnTo>
                      <a:lnTo>
                        <a:pt x="48" y="528"/>
                      </a:lnTo>
                      <a:lnTo>
                        <a:pt x="64" y="536"/>
                      </a:lnTo>
                      <a:lnTo>
                        <a:pt x="72" y="552"/>
                      </a:lnTo>
                      <a:lnTo>
                        <a:pt x="88" y="536"/>
                      </a:lnTo>
                      <a:lnTo>
                        <a:pt x="104" y="536"/>
                      </a:lnTo>
                      <a:lnTo>
                        <a:pt x="112" y="544"/>
                      </a:lnTo>
                      <a:lnTo>
                        <a:pt x="112" y="560"/>
                      </a:lnTo>
                      <a:lnTo>
                        <a:pt x="112" y="568"/>
                      </a:lnTo>
                      <a:lnTo>
                        <a:pt x="112" y="576"/>
                      </a:lnTo>
                      <a:lnTo>
                        <a:pt x="112" y="592"/>
                      </a:lnTo>
                      <a:lnTo>
                        <a:pt x="120" y="600"/>
                      </a:lnTo>
                      <a:lnTo>
                        <a:pt x="112" y="600"/>
                      </a:lnTo>
                      <a:lnTo>
                        <a:pt x="104" y="608"/>
                      </a:lnTo>
                      <a:lnTo>
                        <a:pt x="96" y="600"/>
                      </a:lnTo>
                      <a:lnTo>
                        <a:pt x="96" y="608"/>
                      </a:lnTo>
                      <a:lnTo>
                        <a:pt x="104" y="616"/>
                      </a:lnTo>
                      <a:lnTo>
                        <a:pt x="104" y="640"/>
                      </a:lnTo>
                      <a:lnTo>
                        <a:pt x="112" y="640"/>
                      </a:lnTo>
                      <a:lnTo>
                        <a:pt x="128" y="640"/>
                      </a:lnTo>
                      <a:lnTo>
                        <a:pt x="144" y="656"/>
                      </a:lnTo>
                      <a:lnTo>
                        <a:pt x="168" y="656"/>
                      </a:lnTo>
                      <a:lnTo>
                        <a:pt x="200" y="672"/>
                      </a:lnTo>
                      <a:lnTo>
                        <a:pt x="224" y="688"/>
                      </a:lnTo>
                      <a:lnTo>
                        <a:pt x="248" y="704"/>
                      </a:lnTo>
                      <a:lnTo>
                        <a:pt x="296" y="712"/>
                      </a:lnTo>
                      <a:lnTo>
                        <a:pt x="304" y="712"/>
                      </a:lnTo>
                      <a:lnTo>
                        <a:pt x="320" y="720"/>
                      </a:lnTo>
                      <a:lnTo>
                        <a:pt x="336" y="704"/>
                      </a:lnTo>
                      <a:lnTo>
                        <a:pt x="344" y="704"/>
                      </a:lnTo>
                      <a:lnTo>
                        <a:pt x="352" y="712"/>
                      </a:lnTo>
                      <a:lnTo>
                        <a:pt x="368" y="712"/>
                      </a:lnTo>
                      <a:lnTo>
                        <a:pt x="384" y="712"/>
                      </a:lnTo>
                      <a:lnTo>
                        <a:pt x="416" y="688"/>
                      </a:lnTo>
                      <a:lnTo>
                        <a:pt x="464" y="672"/>
                      </a:lnTo>
                      <a:lnTo>
                        <a:pt x="472" y="680"/>
                      </a:lnTo>
                      <a:lnTo>
                        <a:pt x="472" y="688"/>
                      </a:lnTo>
                      <a:lnTo>
                        <a:pt x="488" y="704"/>
                      </a:lnTo>
                      <a:lnTo>
                        <a:pt x="504" y="704"/>
                      </a:lnTo>
                      <a:lnTo>
                        <a:pt x="512" y="728"/>
                      </a:lnTo>
                      <a:lnTo>
                        <a:pt x="520" y="760"/>
                      </a:lnTo>
                      <a:lnTo>
                        <a:pt x="496" y="776"/>
                      </a:lnTo>
                      <a:lnTo>
                        <a:pt x="496" y="800"/>
                      </a:lnTo>
                      <a:lnTo>
                        <a:pt x="512" y="800"/>
                      </a:lnTo>
                      <a:lnTo>
                        <a:pt x="528" y="824"/>
                      </a:lnTo>
                      <a:lnTo>
                        <a:pt x="528" y="840"/>
                      </a:lnTo>
                      <a:lnTo>
                        <a:pt x="544" y="840"/>
                      </a:lnTo>
                      <a:lnTo>
                        <a:pt x="544" y="848"/>
                      </a:lnTo>
                      <a:lnTo>
                        <a:pt x="560" y="856"/>
                      </a:lnTo>
                      <a:lnTo>
                        <a:pt x="568" y="864"/>
                      </a:lnTo>
                      <a:lnTo>
                        <a:pt x="584" y="864"/>
                      </a:lnTo>
                      <a:lnTo>
                        <a:pt x="576" y="840"/>
                      </a:lnTo>
                      <a:lnTo>
                        <a:pt x="584" y="832"/>
                      </a:lnTo>
                      <a:lnTo>
                        <a:pt x="592" y="832"/>
                      </a:lnTo>
                      <a:lnTo>
                        <a:pt x="600" y="824"/>
                      </a:lnTo>
                      <a:lnTo>
                        <a:pt x="616" y="832"/>
                      </a:lnTo>
                      <a:lnTo>
                        <a:pt x="640" y="832"/>
                      </a:lnTo>
                      <a:lnTo>
                        <a:pt x="648" y="816"/>
                      </a:lnTo>
                      <a:lnTo>
                        <a:pt x="664" y="824"/>
                      </a:lnTo>
                      <a:lnTo>
                        <a:pt x="680" y="824"/>
                      </a:lnTo>
                      <a:lnTo>
                        <a:pt x="688" y="832"/>
                      </a:lnTo>
                      <a:lnTo>
                        <a:pt x="680" y="840"/>
                      </a:lnTo>
                      <a:lnTo>
                        <a:pt x="696" y="856"/>
                      </a:lnTo>
                      <a:lnTo>
                        <a:pt x="704" y="856"/>
                      </a:lnTo>
                      <a:lnTo>
                        <a:pt x="712" y="856"/>
                      </a:lnTo>
                      <a:lnTo>
                        <a:pt x="728" y="856"/>
                      </a:lnTo>
                      <a:lnTo>
                        <a:pt x="744" y="864"/>
                      </a:lnTo>
                      <a:lnTo>
                        <a:pt x="744" y="872"/>
                      </a:lnTo>
                      <a:lnTo>
                        <a:pt x="744" y="880"/>
                      </a:lnTo>
                      <a:lnTo>
                        <a:pt x="752" y="880"/>
                      </a:lnTo>
                      <a:lnTo>
                        <a:pt x="752" y="872"/>
                      </a:lnTo>
                      <a:lnTo>
                        <a:pt x="768" y="864"/>
                      </a:lnTo>
                      <a:lnTo>
                        <a:pt x="776" y="864"/>
                      </a:lnTo>
                      <a:lnTo>
                        <a:pt x="784" y="864"/>
                      </a:lnTo>
                      <a:lnTo>
                        <a:pt x="792" y="856"/>
                      </a:lnTo>
                      <a:lnTo>
                        <a:pt x="800" y="856"/>
                      </a:lnTo>
                      <a:lnTo>
                        <a:pt x="816" y="848"/>
                      </a:lnTo>
                      <a:lnTo>
                        <a:pt x="816" y="832"/>
                      </a:lnTo>
                      <a:lnTo>
                        <a:pt x="824" y="824"/>
                      </a:lnTo>
                      <a:lnTo>
                        <a:pt x="832" y="832"/>
                      </a:lnTo>
                      <a:lnTo>
                        <a:pt x="832" y="840"/>
                      </a:lnTo>
                      <a:lnTo>
                        <a:pt x="840" y="840"/>
                      </a:lnTo>
                      <a:lnTo>
                        <a:pt x="856" y="832"/>
                      </a:lnTo>
                      <a:lnTo>
                        <a:pt x="864" y="832"/>
                      </a:lnTo>
                      <a:lnTo>
                        <a:pt x="880" y="824"/>
                      </a:lnTo>
                      <a:lnTo>
                        <a:pt x="888" y="824"/>
                      </a:lnTo>
                      <a:lnTo>
                        <a:pt x="888" y="816"/>
                      </a:lnTo>
                      <a:lnTo>
                        <a:pt x="912" y="800"/>
                      </a:lnTo>
                      <a:lnTo>
                        <a:pt x="912" y="792"/>
                      </a:lnTo>
                      <a:lnTo>
                        <a:pt x="928" y="784"/>
                      </a:lnTo>
                      <a:lnTo>
                        <a:pt x="936" y="784"/>
                      </a:lnTo>
                      <a:lnTo>
                        <a:pt x="936" y="776"/>
                      </a:lnTo>
                      <a:lnTo>
                        <a:pt x="952" y="768"/>
                      </a:lnTo>
                      <a:lnTo>
                        <a:pt x="952" y="744"/>
                      </a:lnTo>
                      <a:lnTo>
                        <a:pt x="960" y="744"/>
                      </a:lnTo>
                      <a:lnTo>
                        <a:pt x="960" y="736"/>
                      </a:lnTo>
                      <a:lnTo>
                        <a:pt x="968" y="720"/>
                      </a:lnTo>
                      <a:lnTo>
                        <a:pt x="976" y="712"/>
                      </a:lnTo>
                      <a:lnTo>
                        <a:pt x="984" y="704"/>
                      </a:lnTo>
                      <a:lnTo>
                        <a:pt x="984" y="696"/>
                      </a:lnTo>
                      <a:lnTo>
                        <a:pt x="984" y="688"/>
                      </a:lnTo>
                      <a:lnTo>
                        <a:pt x="992" y="680"/>
                      </a:lnTo>
                      <a:lnTo>
                        <a:pt x="992" y="664"/>
                      </a:lnTo>
                      <a:lnTo>
                        <a:pt x="984" y="656"/>
                      </a:lnTo>
                      <a:lnTo>
                        <a:pt x="976" y="664"/>
                      </a:lnTo>
                      <a:lnTo>
                        <a:pt x="968" y="664"/>
                      </a:lnTo>
                      <a:lnTo>
                        <a:pt x="968" y="656"/>
                      </a:lnTo>
                      <a:lnTo>
                        <a:pt x="984" y="648"/>
                      </a:lnTo>
                      <a:lnTo>
                        <a:pt x="992" y="640"/>
                      </a:lnTo>
                      <a:lnTo>
                        <a:pt x="992" y="632"/>
                      </a:lnTo>
                      <a:lnTo>
                        <a:pt x="984" y="624"/>
                      </a:lnTo>
                      <a:lnTo>
                        <a:pt x="992" y="624"/>
                      </a:lnTo>
                      <a:lnTo>
                        <a:pt x="992" y="616"/>
                      </a:lnTo>
                      <a:lnTo>
                        <a:pt x="984" y="608"/>
                      </a:lnTo>
                      <a:lnTo>
                        <a:pt x="976" y="600"/>
                      </a:lnTo>
                      <a:lnTo>
                        <a:pt x="976" y="584"/>
                      </a:lnTo>
                      <a:lnTo>
                        <a:pt x="968" y="576"/>
                      </a:lnTo>
                      <a:lnTo>
                        <a:pt x="960" y="560"/>
                      </a:lnTo>
                      <a:lnTo>
                        <a:pt x="952" y="552"/>
                      </a:lnTo>
                      <a:lnTo>
                        <a:pt x="936" y="544"/>
                      </a:lnTo>
                      <a:lnTo>
                        <a:pt x="944" y="536"/>
                      </a:lnTo>
                      <a:lnTo>
                        <a:pt x="952" y="520"/>
                      </a:lnTo>
                      <a:lnTo>
                        <a:pt x="960" y="512"/>
                      </a:lnTo>
                      <a:lnTo>
                        <a:pt x="968" y="512"/>
                      </a:lnTo>
                      <a:lnTo>
                        <a:pt x="976" y="512"/>
                      </a:lnTo>
                      <a:lnTo>
                        <a:pt x="984" y="504"/>
                      </a:lnTo>
                      <a:lnTo>
                        <a:pt x="992" y="496"/>
                      </a:lnTo>
                      <a:lnTo>
                        <a:pt x="1000" y="496"/>
                      </a:lnTo>
                      <a:lnTo>
                        <a:pt x="1008" y="496"/>
                      </a:lnTo>
                      <a:lnTo>
                        <a:pt x="1008" y="480"/>
                      </a:lnTo>
                      <a:lnTo>
                        <a:pt x="976" y="480"/>
                      </a:lnTo>
                      <a:lnTo>
                        <a:pt x="968" y="480"/>
                      </a:lnTo>
                      <a:lnTo>
                        <a:pt x="944" y="488"/>
                      </a:lnTo>
                      <a:lnTo>
                        <a:pt x="928" y="488"/>
                      </a:lnTo>
                      <a:lnTo>
                        <a:pt x="936" y="472"/>
                      </a:lnTo>
                      <a:lnTo>
                        <a:pt x="920" y="472"/>
                      </a:lnTo>
                      <a:lnTo>
                        <a:pt x="904" y="456"/>
                      </a:lnTo>
                      <a:lnTo>
                        <a:pt x="912" y="448"/>
                      </a:lnTo>
                      <a:lnTo>
                        <a:pt x="928" y="440"/>
                      </a:lnTo>
                      <a:lnTo>
                        <a:pt x="936" y="440"/>
                      </a:lnTo>
                      <a:lnTo>
                        <a:pt x="936" y="432"/>
                      </a:lnTo>
                      <a:lnTo>
                        <a:pt x="944" y="424"/>
                      </a:lnTo>
                      <a:lnTo>
                        <a:pt x="944" y="416"/>
                      </a:lnTo>
                      <a:lnTo>
                        <a:pt x="960" y="408"/>
                      </a:lnTo>
                      <a:lnTo>
                        <a:pt x="976" y="400"/>
                      </a:lnTo>
                      <a:lnTo>
                        <a:pt x="992" y="400"/>
                      </a:lnTo>
                      <a:lnTo>
                        <a:pt x="992" y="408"/>
                      </a:lnTo>
                      <a:lnTo>
                        <a:pt x="976" y="432"/>
                      </a:lnTo>
                      <a:lnTo>
                        <a:pt x="992" y="432"/>
                      </a:lnTo>
                      <a:lnTo>
                        <a:pt x="992" y="448"/>
                      </a:lnTo>
                      <a:lnTo>
                        <a:pt x="1000" y="440"/>
                      </a:lnTo>
                      <a:lnTo>
                        <a:pt x="1024" y="424"/>
                      </a:lnTo>
                      <a:lnTo>
                        <a:pt x="1040" y="424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55" name="Freeform 163"/>
                <p:cNvSpPr>
                  <a:spLocks noChangeAspect="1"/>
                </p:cNvSpPr>
                <p:nvPr/>
              </p:nvSpPr>
              <p:spPr bwMode="auto">
                <a:xfrm>
                  <a:off x="4021" y="2009"/>
                  <a:ext cx="467" cy="219"/>
                </a:xfrm>
                <a:custGeom>
                  <a:avLst/>
                  <a:gdLst>
                    <a:gd name="T0" fmla="*/ 1 w 664"/>
                    <a:gd name="T1" fmla="*/ 1 h 312"/>
                    <a:gd name="T2" fmla="*/ 1 w 664"/>
                    <a:gd name="T3" fmla="*/ 1 h 312"/>
                    <a:gd name="T4" fmla="*/ 1 w 664"/>
                    <a:gd name="T5" fmla="*/ 1 h 312"/>
                    <a:gd name="T6" fmla="*/ 1 w 664"/>
                    <a:gd name="T7" fmla="*/ 1 h 312"/>
                    <a:gd name="T8" fmla="*/ 1 w 664"/>
                    <a:gd name="T9" fmla="*/ 1 h 312"/>
                    <a:gd name="T10" fmla="*/ 1 w 664"/>
                    <a:gd name="T11" fmla="*/ 1 h 312"/>
                    <a:gd name="T12" fmla="*/ 1 w 664"/>
                    <a:gd name="T13" fmla="*/ 1 h 312"/>
                    <a:gd name="T14" fmla="*/ 1 w 664"/>
                    <a:gd name="T15" fmla="*/ 1 h 312"/>
                    <a:gd name="T16" fmla="*/ 1 w 664"/>
                    <a:gd name="T17" fmla="*/ 1 h 312"/>
                    <a:gd name="T18" fmla="*/ 1 w 664"/>
                    <a:gd name="T19" fmla="*/ 1 h 312"/>
                    <a:gd name="T20" fmla="*/ 1 w 664"/>
                    <a:gd name="T21" fmla="*/ 1 h 312"/>
                    <a:gd name="T22" fmla="*/ 1 w 664"/>
                    <a:gd name="T23" fmla="*/ 1 h 312"/>
                    <a:gd name="T24" fmla="*/ 1 w 664"/>
                    <a:gd name="T25" fmla="*/ 1 h 312"/>
                    <a:gd name="T26" fmla="*/ 1 w 664"/>
                    <a:gd name="T27" fmla="*/ 1 h 312"/>
                    <a:gd name="T28" fmla="*/ 1 w 664"/>
                    <a:gd name="T29" fmla="*/ 1 h 312"/>
                    <a:gd name="T30" fmla="*/ 1 w 664"/>
                    <a:gd name="T31" fmla="*/ 1 h 312"/>
                    <a:gd name="T32" fmla="*/ 1 w 664"/>
                    <a:gd name="T33" fmla="*/ 1 h 312"/>
                    <a:gd name="T34" fmla="*/ 1 w 664"/>
                    <a:gd name="T35" fmla="*/ 1 h 312"/>
                    <a:gd name="T36" fmla="*/ 1 w 664"/>
                    <a:gd name="T37" fmla="*/ 1 h 312"/>
                    <a:gd name="T38" fmla="*/ 1 w 664"/>
                    <a:gd name="T39" fmla="*/ 1 h 312"/>
                    <a:gd name="T40" fmla="*/ 1 w 664"/>
                    <a:gd name="T41" fmla="*/ 1 h 312"/>
                    <a:gd name="T42" fmla="*/ 1 w 664"/>
                    <a:gd name="T43" fmla="*/ 1 h 312"/>
                    <a:gd name="T44" fmla="*/ 1 w 664"/>
                    <a:gd name="T45" fmla="*/ 1 h 312"/>
                    <a:gd name="T46" fmla="*/ 1 w 664"/>
                    <a:gd name="T47" fmla="*/ 1 h 312"/>
                    <a:gd name="T48" fmla="*/ 1 w 664"/>
                    <a:gd name="T49" fmla="*/ 1 h 312"/>
                    <a:gd name="T50" fmla="*/ 1 w 664"/>
                    <a:gd name="T51" fmla="*/ 1 h 312"/>
                    <a:gd name="T52" fmla="*/ 1 w 664"/>
                    <a:gd name="T53" fmla="*/ 1 h 312"/>
                    <a:gd name="T54" fmla="*/ 1 w 664"/>
                    <a:gd name="T55" fmla="*/ 1 h 312"/>
                    <a:gd name="T56" fmla="*/ 1 w 664"/>
                    <a:gd name="T57" fmla="*/ 1 h 312"/>
                    <a:gd name="T58" fmla="*/ 1 w 664"/>
                    <a:gd name="T59" fmla="*/ 1 h 312"/>
                    <a:gd name="T60" fmla="*/ 1 w 664"/>
                    <a:gd name="T61" fmla="*/ 1 h 312"/>
                    <a:gd name="T62" fmla="*/ 1 w 664"/>
                    <a:gd name="T63" fmla="*/ 1 h 312"/>
                    <a:gd name="T64" fmla="*/ 1 w 664"/>
                    <a:gd name="T65" fmla="*/ 1 h 312"/>
                    <a:gd name="T66" fmla="*/ 1 w 664"/>
                    <a:gd name="T67" fmla="*/ 1 h 312"/>
                    <a:gd name="T68" fmla="*/ 1 w 664"/>
                    <a:gd name="T69" fmla="*/ 1 h 312"/>
                    <a:gd name="T70" fmla="*/ 1 w 664"/>
                    <a:gd name="T71" fmla="*/ 1 h 312"/>
                    <a:gd name="T72" fmla="*/ 1 w 664"/>
                    <a:gd name="T73" fmla="*/ 1 h 312"/>
                    <a:gd name="T74" fmla="*/ 1 w 664"/>
                    <a:gd name="T75" fmla="*/ 1 h 312"/>
                    <a:gd name="T76" fmla="*/ 1 w 664"/>
                    <a:gd name="T77" fmla="*/ 1 h 312"/>
                    <a:gd name="T78" fmla="*/ 1 w 664"/>
                    <a:gd name="T79" fmla="*/ 1 h 312"/>
                    <a:gd name="T80" fmla="*/ 1 w 664"/>
                    <a:gd name="T81" fmla="*/ 1 h 312"/>
                    <a:gd name="T82" fmla="*/ 0 w 664"/>
                    <a:gd name="T83" fmla="*/ 1 h 312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664"/>
                    <a:gd name="T127" fmla="*/ 0 h 312"/>
                    <a:gd name="T128" fmla="*/ 664 w 664"/>
                    <a:gd name="T129" fmla="*/ 312 h 312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664" h="312">
                      <a:moveTo>
                        <a:pt x="0" y="96"/>
                      </a:moveTo>
                      <a:lnTo>
                        <a:pt x="24" y="136"/>
                      </a:lnTo>
                      <a:lnTo>
                        <a:pt x="48" y="136"/>
                      </a:lnTo>
                      <a:lnTo>
                        <a:pt x="80" y="176"/>
                      </a:lnTo>
                      <a:lnTo>
                        <a:pt x="64" y="192"/>
                      </a:lnTo>
                      <a:lnTo>
                        <a:pt x="80" y="216"/>
                      </a:lnTo>
                      <a:lnTo>
                        <a:pt x="104" y="224"/>
                      </a:lnTo>
                      <a:lnTo>
                        <a:pt x="176" y="248"/>
                      </a:lnTo>
                      <a:lnTo>
                        <a:pt x="168" y="272"/>
                      </a:lnTo>
                      <a:lnTo>
                        <a:pt x="184" y="296"/>
                      </a:lnTo>
                      <a:lnTo>
                        <a:pt x="208" y="296"/>
                      </a:lnTo>
                      <a:lnTo>
                        <a:pt x="216" y="288"/>
                      </a:lnTo>
                      <a:lnTo>
                        <a:pt x="216" y="280"/>
                      </a:lnTo>
                      <a:lnTo>
                        <a:pt x="232" y="288"/>
                      </a:lnTo>
                      <a:lnTo>
                        <a:pt x="256" y="280"/>
                      </a:lnTo>
                      <a:lnTo>
                        <a:pt x="288" y="288"/>
                      </a:lnTo>
                      <a:lnTo>
                        <a:pt x="312" y="304"/>
                      </a:lnTo>
                      <a:lnTo>
                        <a:pt x="336" y="304"/>
                      </a:lnTo>
                      <a:lnTo>
                        <a:pt x="352" y="312"/>
                      </a:lnTo>
                      <a:lnTo>
                        <a:pt x="368" y="312"/>
                      </a:lnTo>
                      <a:lnTo>
                        <a:pt x="400" y="296"/>
                      </a:lnTo>
                      <a:lnTo>
                        <a:pt x="416" y="304"/>
                      </a:lnTo>
                      <a:lnTo>
                        <a:pt x="432" y="296"/>
                      </a:lnTo>
                      <a:lnTo>
                        <a:pt x="464" y="288"/>
                      </a:lnTo>
                      <a:lnTo>
                        <a:pt x="480" y="264"/>
                      </a:lnTo>
                      <a:lnTo>
                        <a:pt x="496" y="264"/>
                      </a:lnTo>
                      <a:lnTo>
                        <a:pt x="504" y="248"/>
                      </a:lnTo>
                      <a:lnTo>
                        <a:pt x="488" y="240"/>
                      </a:lnTo>
                      <a:lnTo>
                        <a:pt x="504" y="216"/>
                      </a:lnTo>
                      <a:lnTo>
                        <a:pt x="536" y="224"/>
                      </a:lnTo>
                      <a:lnTo>
                        <a:pt x="560" y="200"/>
                      </a:lnTo>
                      <a:lnTo>
                        <a:pt x="568" y="208"/>
                      </a:lnTo>
                      <a:lnTo>
                        <a:pt x="584" y="208"/>
                      </a:lnTo>
                      <a:lnTo>
                        <a:pt x="592" y="176"/>
                      </a:lnTo>
                      <a:lnTo>
                        <a:pt x="600" y="176"/>
                      </a:lnTo>
                      <a:lnTo>
                        <a:pt x="608" y="184"/>
                      </a:lnTo>
                      <a:lnTo>
                        <a:pt x="624" y="176"/>
                      </a:lnTo>
                      <a:lnTo>
                        <a:pt x="624" y="168"/>
                      </a:lnTo>
                      <a:lnTo>
                        <a:pt x="640" y="168"/>
                      </a:lnTo>
                      <a:lnTo>
                        <a:pt x="656" y="168"/>
                      </a:lnTo>
                      <a:lnTo>
                        <a:pt x="664" y="168"/>
                      </a:lnTo>
                      <a:lnTo>
                        <a:pt x="656" y="144"/>
                      </a:lnTo>
                      <a:lnTo>
                        <a:pt x="616" y="128"/>
                      </a:lnTo>
                      <a:lnTo>
                        <a:pt x="608" y="144"/>
                      </a:lnTo>
                      <a:lnTo>
                        <a:pt x="592" y="136"/>
                      </a:lnTo>
                      <a:lnTo>
                        <a:pt x="584" y="144"/>
                      </a:lnTo>
                      <a:lnTo>
                        <a:pt x="576" y="136"/>
                      </a:lnTo>
                      <a:lnTo>
                        <a:pt x="576" y="128"/>
                      </a:lnTo>
                      <a:lnTo>
                        <a:pt x="584" y="112"/>
                      </a:lnTo>
                      <a:lnTo>
                        <a:pt x="600" y="80"/>
                      </a:lnTo>
                      <a:lnTo>
                        <a:pt x="600" y="72"/>
                      </a:lnTo>
                      <a:lnTo>
                        <a:pt x="576" y="80"/>
                      </a:lnTo>
                      <a:lnTo>
                        <a:pt x="560" y="64"/>
                      </a:lnTo>
                      <a:lnTo>
                        <a:pt x="544" y="56"/>
                      </a:lnTo>
                      <a:lnTo>
                        <a:pt x="528" y="72"/>
                      </a:lnTo>
                      <a:lnTo>
                        <a:pt x="504" y="88"/>
                      </a:lnTo>
                      <a:lnTo>
                        <a:pt x="480" y="88"/>
                      </a:lnTo>
                      <a:lnTo>
                        <a:pt x="456" y="96"/>
                      </a:lnTo>
                      <a:lnTo>
                        <a:pt x="448" y="88"/>
                      </a:lnTo>
                      <a:lnTo>
                        <a:pt x="416" y="80"/>
                      </a:lnTo>
                      <a:lnTo>
                        <a:pt x="416" y="64"/>
                      </a:lnTo>
                      <a:lnTo>
                        <a:pt x="360" y="48"/>
                      </a:lnTo>
                      <a:lnTo>
                        <a:pt x="320" y="64"/>
                      </a:lnTo>
                      <a:lnTo>
                        <a:pt x="288" y="16"/>
                      </a:lnTo>
                      <a:lnTo>
                        <a:pt x="232" y="0"/>
                      </a:lnTo>
                      <a:lnTo>
                        <a:pt x="224" y="16"/>
                      </a:lnTo>
                      <a:lnTo>
                        <a:pt x="208" y="32"/>
                      </a:lnTo>
                      <a:lnTo>
                        <a:pt x="216" y="48"/>
                      </a:lnTo>
                      <a:lnTo>
                        <a:pt x="216" y="72"/>
                      </a:lnTo>
                      <a:lnTo>
                        <a:pt x="184" y="80"/>
                      </a:lnTo>
                      <a:lnTo>
                        <a:pt x="184" y="64"/>
                      </a:lnTo>
                      <a:lnTo>
                        <a:pt x="168" y="64"/>
                      </a:lnTo>
                      <a:lnTo>
                        <a:pt x="168" y="80"/>
                      </a:lnTo>
                      <a:lnTo>
                        <a:pt x="160" y="80"/>
                      </a:lnTo>
                      <a:lnTo>
                        <a:pt x="128" y="56"/>
                      </a:lnTo>
                      <a:lnTo>
                        <a:pt x="112" y="56"/>
                      </a:lnTo>
                      <a:lnTo>
                        <a:pt x="96" y="40"/>
                      </a:lnTo>
                      <a:lnTo>
                        <a:pt x="80" y="40"/>
                      </a:lnTo>
                      <a:lnTo>
                        <a:pt x="64" y="56"/>
                      </a:lnTo>
                      <a:lnTo>
                        <a:pt x="56" y="56"/>
                      </a:lnTo>
                      <a:lnTo>
                        <a:pt x="40" y="80"/>
                      </a:lnTo>
                      <a:lnTo>
                        <a:pt x="8" y="88"/>
                      </a:lnTo>
                      <a:lnTo>
                        <a:pt x="8" y="96"/>
                      </a:lnTo>
                      <a:lnTo>
                        <a:pt x="0" y="9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56" name="Freeform 164"/>
                <p:cNvSpPr>
                  <a:spLocks noChangeAspect="1"/>
                </p:cNvSpPr>
                <p:nvPr/>
              </p:nvSpPr>
              <p:spPr bwMode="auto">
                <a:xfrm>
                  <a:off x="4578" y="2284"/>
                  <a:ext cx="51" cy="79"/>
                </a:xfrm>
                <a:custGeom>
                  <a:avLst/>
                  <a:gdLst>
                    <a:gd name="T0" fmla="*/ 0 w 72"/>
                    <a:gd name="T1" fmla="*/ 1 h 112"/>
                    <a:gd name="T2" fmla="*/ 1 w 72"/>
                    <a:gd name="T3" fmla="*/ 1 h 112"/>
                    <a:gd name="T4" fmla="*/ 1 w 72"/>
                    <a:gd name="T5" fmla="*/ 0 h 112"/>
                    <a:gd name="T6" fmla="*/ 1 w 72"/>
                    <a:gd name="T7" fmla="*/ 1 h 112"/>
                    <a:gd name="T8" fmla="*/ 1 w 72"/>
                    <a:gd name="T9" fmla="*/ 1 h 112"/>
                    <a:gd name="T10" fmla="*/ 1 w 72"/>
                    <a:gd name="T11" fmla="*/ 1 h 112"/>
                    <a:gd name="T12" fmla="*/ 1 w 72"/>
                    <a:gd name="T13" fmla="*/ 1 h 112"/>
                    <a:gd name="T14" fmla="*/ 1 w 72"/>
                    <a:gd name="T15" fmla="*/ 1 h 112"/>
                    <a:gd name="T16" fmla="*/ 1 w 72"/>
                    <a:gd name="T17" fmla="*/ 1 h 112"/>
                    <a:gd name="T18" fmla="*/ 1 w 72"/>
                    <a:gd name="T19" fmla="*/ 1 h 112"/>
                    <a:gd name="T20" fmla="*/ 1 w 72"/>
                    <a:gd name="T21" fmla="*/ 1 h 112"/>
                    <a:gd name="T22" fmla="*/ 1 w 72"/>
                    <a:gd name="T23" fmla="*/ 1 h 112"/>
                    <a:gd name="T24" fmla="*/ 1 w 72"/>
                    <a:gd name="T25" fmla="*/ 1 h 112"/>
                    <a:gd name="T26" fmla="*/ 1 w 72"/>
                    <a:gd name="T27" fmla="*/ 1 h 112"/>
                    <a:gd name="T28" fmla="*/ 1 w 72"/>
                    <a:gd name="T29" fmla="*/ 1 h 112"/>
                    <a:gd name="T30" fmla="*/ 0 w 72"/>
                    <a:gd name="T31" fmla="*/ 1 h 112"/>
                    <a:gd name="T32" fmla="*/ 1 w 72"/>
                    <a:gd name="T33" fmla="*/ 1 h 112"/>
                    <a:gd name="T34" fmla="*/ 1 w 72"/>
                    <a:gd name="T35" fmla="*/ 1 h 112"/>
                    <a:gd name="T36" fmla="*/ 1 w 72"/>
                    <a:gd name="T37" fmla="*/ 1 h 112"/>
                    <a:gd name="T38" fmla="*/ 1 w 72"/>
                    <a:gd name="T39" fmla="*/ 1 h 112"/>
                    <a:gd name="T40" fmla="*/ 0 w 72"/>
                    <a:gd name="T41" fmla="*/ 1 h 112"/>
                    <a:gd name="T42" fmla="*/ 1 w 72"/>
                    <a:gd name="T43" fmla="*/ 1 h 112"/>
                    <a:gd name="T44" fmla="*/ 1 w 72"/>
                    <a:gd name="T45" fmla="*/ 1 h 112"/>
                    <a:gd name="T46" fmla="*/ 1 w 72"/>
                    <a:gd name="T47" fmla="*/ 1 h 112"/>
                    <a:gd name="T48" fmla="*/ 0 w 72"/>
                    <a:gd name="T49" fmla="*/ 1 h 112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72"/>
                    <a:gd name="T76" fmla="*/ 0 h 112"/>
                    <a:gd name="T77" fmla="*/ 72 w 72"/>
                    <a:gd name="T78" fmla="*/ 112 h 112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72" h="112">
                      <a:moveTo>
                        <a:pt x="0" y="24"/>
                      </a:moveTo>
                      <a:lnTo>
                        <a:pt x="16" y="8"/>
                      </a:lnTo>
                      <a:lnTo>
                        <a:pt x="48" y="0"/>
                      </a:lnTo>
                      <a:lnTo>
                        <a:pt x="56" y="16"/>
                      </a:lnTo>
                      <a:lnTo>
                        <a:pt x="64" y="32"/>
                      </a:lnTo>
                      <a:lnTo>
                        <a:pt x="64" y="48"/>
                      </a:lnTo>
                      <a:lnTo>
                        <a:pt x="72" y="72"/>
                      </a:lnTo>
                      <a:lnTo>
                        <a:pt x="64" y="80"/>
                      </a:lnTo>
                      <a:lnTo>
                        <a:pt x="64" y="88"/>
                      </a:lnTo>
                      <a:lnTo>
                        <a:pt x="56" y="96"/>
                      </a:lnTo>
                      <a:lnTo>
                        <a:pt x="48" y="104"/>
                      </a:lnTo>
                      <a:lnTo>
                        <a:pt x="40" y="104"/>
                      </a:lnTo>
                      <a:lnTo>
                        <a:pt x="24" y="112"/>
                      </a:lnTo>
                      <a:lnTo>
                        <a:pt x="16" y="112"/>
                      </a:lnTo>
                      <a:lnTo>
                        <a:pt x="8" y="112"/>
                      </a:lnTo>
                      <a:lnTo>
                        <a:pt x="0" y="96"/>
                      </a:lnTo>
                      <a:lnTo>
                        <a:pt x="8" y="96"/>
                      </a:lnTo>
                      <a:lnTo>
                        <a:pt x="8" y="88"/>
                      </a:lnTo>
                      <a:lnTo>
                        <a:pt x="8" y="72"/>
                      </a:lnTo>
                      <a:lnTo>
                        <a:pt x="8" y="56"/>
                      </a:lnTo>
                      <a:lnTo>
                        <a:pt x="0" y="48"/>
                      </a:lnTo>
                      <a:lnTo>
                        <a:pt x="8" y="48"/>
                      </a:lnTo>
                      <a:lnTo>
                        <a:pt x="8" y="32"/>
                      </a:lnTo>
                      <a:lnTo>
                        <a:pt x="8" y="24"/>
                      </a:lnTo>
                      <a:lnTo>
                        <a:pt x="0" y="24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57" name="Freeform 165"/>
                <p:cNvSpPr>
                  <a:spLocks noChangeAspect="1"/>
                </p:cNvSpPr>
                <p:nvPr/>
              </p:nvSpPr>
              <p:spPr bwMode="auto">
                <a:xfrm>
                  <a:off x="3869" y="2346"/>
                  <a:ext cx="34" cy="45"/>
                </a:xfrm>
                <a:custGeom>
                  <a:avLst/>
                  <a:gdLst>
                    <a:gd name="T0" fmla="*/ 1 w 48"/>
                    <a:gd name="T1" fmla="*/ 1 h 64"/>
                    <a:gd name="T2" fmla="*/ 1 w 48"/>
                    <a:gd name="T3" fmla="*/ 1 h 64"/>
                    <a:gd name="T4" fmla="*/ 1 w 48"/>
                    <a:gd name="T5" fmla="*/ 1 h 64"/>
                    <a:gd name="T6" fmla="*/ 1 w 48"/>
                    <a:gd name="T7" fmla="*/ 1 h 64"/>
                    <a:gd name="T8" fmla="*/ 1 w 48"/>
                    <a:gd name="T9" fmla="*/ 1 h 64"/>
                    <a:gd name="T10" fmla="*/ 1 w 48"/>
                    <a:gd name="T11" fmla="*/ 1 h 64"/>
                    <a:gd name="T12" fmla="*/ 1 w 48"/>
                    <a:gd name="T13" fmla="*/ 1 h 64"/>
                    <a:gd name="T14" fmla="*/ 1 w 48"/>
                    <a:gd name="T15" fmla="*/ 0 h 64"/>
                    <a:gd name="T16" fmla="*/ 1 w 48"/>
                    <a:gd name="T17" fmla="*/ 0 h 64"/>
                    <a:gd name="T18" fmla="*/ 0 w 48"/>
                    <a:gd name="T19" fmla="*/ 1 h 64"/>
                    <a:gd name="T20" fmla="*/ 1 w 48"/>
                    <a:gd name="T21" fmla="*/ 1 h 64"/>
                    <a:gd name="T22" fmla="*/ 1 w 48"/>
                    <a:gd name="T23" fmla="*/ 1 h 64"/>
                    <a:gd name="T24" fmla="*/ 1 w 48"/>
                    <a:gd name="T25" fmla="*/ 1 h 64"/>
                    <a:gd name="T26" fmla="*/ 1 w 48"/>
                    <a:gd name="T27" fmla="*/ 1 h 64"/>
                    <a:gd name="T28" fmla="*/ 1 w 48"/>
                    <a:gd name="T29" fmla="*/ 1 h 64"/>
                    <a:gd name="T30" fmla="*/ 1 w 48"/>
                    <a:gd name="T31" fmla="*/ 1 h 64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48"/>
                    <a:gd name="T49" fmla="*/ 0 h 64"/>
                    <a:gd name="T50" fmla="*/ 48 w 48"/>
                    <a:gd name="T51" fmla="*/ 64 h 64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48" h="64">
                      <a:moveTo>
                        <a:pt x="40" y="64"/>
                      </a:moveTo>
                      <a:lnTo>
                        <a:pt x="48" y="64"/>
                      </a:lnTo>
                      <a:lnTo>
                        <a:pt x="40" y="56"/>
                      </a:lnTo>
                      <a:lnTo>
                        <a:pt x="40" y="40"/>
                      </a:lnTo>
                      <a:lnTo>
                        <a:pt x="40" y="32"/>
                      </a:lnTo>
                      <a:lnTo>
                        <a:pt x="40" y="24"/>
                      </a:lnTo>
                      <a:lnTo>
                        <a:pt x="40" y="8"/>
                      </a:lnTo>
                      <a:lnTo>
                        <a:pt x="32" y="0"/>
                      </a:lnTo>
                      <a:lnTo>
                        <a:pt x="16" y="0"/>
                      </a:lnTo>
                      <a:lnTo>
                        <a:pt x="0" y="16"/>
                      </a:lnTo>
                      <a:lnTo>
                        <a:pt x="8" y="16"/>
                      </a:lnTo>
                      <a:lnTo>
                        <a:pt x="16" y="24"/>
                      </a:lnTo>
                      <a:lnTo>
                        <a:pt x="24" y="32"/>
                      </a:lnTo>
                      <a:lnTo>
                        <a:pt x="24" y="48"/>
                      </a:lnTo>
                      <a:lnTo>
                        <a:pt x="40" y="56"/>
                      </a:lnTo>
                      <a:lnTo>
                        <a:pt x="40" y="64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58" name="Freeform 166"/>
                <p:cNvSpPr>
                  <a:spLocks noChangeAspect="1"/>
                </p:cNvSpPr>
                <p:nvPr/>
              </p:nvSpPr>
              <p:spPr bwMode="auto">
                <a:xfrm>
                  <a:off x="4860" y="2172"/>
                  <a:ext cx="17" cy="11"/>
                </a:xfrm>
                <a:custGeom>
                  <a:avLst/>
                  <a:gdLst>
                    <a:gd name="T0" fmla="*/ 0 w 24"/>
                    <a:gd name="T1" fmla="*/ 1 h 16"/>
                    <a:gd name="T2" fmla="*/ 1 w 24"/>
                    <a:gd name="T3" fmla="*/ 1 h 16"/>
                    <a:gd name="T4" fmla="*/ 1 w 24"/>
                    <a:gd name="T5" fmla="*/ 1 h 16"/>
                    <a:gd name="T6" fmla="*/ 1 w 24"/>
                    <a:gd name="T7" fmla="*/ 1 h 16"/>
                    <a:gd name="T8" fmla="*/ 1 w 24"/>
                    <a:gd name="T9" fmla="*/ 0 h 16"/>
                    <a:gd name="T10" fmla="*/ 1 w 24"/>
                    <a:gd name="T11" fmla="*/ 0 h 16"/>
                    <a:gd name="T12" fmla="*/ 0 w 24"/>
                    <a:gd name="T13" fmla="*/ 1 h 1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4"/>
                    <a:gd name="T22" fmla="*/ 0 h 16"/>
                    <a:gd name="T23" fmla="*/ 24 w 24"/>
                    <a:gd name="T24" fmla="*/ 16 h 1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4" h="16">
                      <a:moveTo>
                        <a:pt x="0" y="16"/>
                      </a:moveTo>
                      <a:lnTo>
                        <a:pt x="8" y="16"/>
                      </a:lnTo>
                      <a:lnTo>
                        <a:pt x="16" y="8"/>
                      </a:lnTo>
                      <a:lnTo>
                        <a:pt x="24" y="8"/>
                      </a:lnTo>
                      <a:lnTo>
                        <a:pt x="24" y="0"/>
                      </a:lnTo>
                      <a:lnTo>
                        <a:pt x="16" y="0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59" name="Freeform 167"/>
                <p:cNvSpPr>
                  <a:spLocks noChangeAspect="1"/>
                </p:cNvSpPr>
                <p:nvPr/>
              </p:nvSpPr>
              <p:spPr bwMode="auto">
                <a:xfrm>
                  <a:off x="4877" y="2155"/>
                  <a:ext cx="33" cy="22"/>
                </a:xfrm>
                <a:custGeom>
                  <a:avLst/>
                  <a:gdLst>
                    <a:gd name="T0" fmla="*/ 1 w 48"/>
                    <a:gd name="T1" fmla="*/ 1 h 32"/>
                    <a:gd name="T2" fmla="*/ 1 w 48"/>
                    <a:gd name="T3" fmla="*/ 0 h 32"/>
                    <a:gd name="T4" fmla="*/ 1 w 48"/>
                    <a:gd name="T5" fmla="*/ 1 h 32"/>
                    <a:gd name="T6" fmla="*/ 0 w 48"/>
                    <a:gd name="T7" fmla="*/ 1 h 32"/>
                    <a:gd name="T8" fmla="*/ 1 w 48"/>
                    <a:gd name="T9" fmla="*/ 1 h 32"/>
                    <a:gd name="T10" fmla="*/ 1 w 48"/>
                    <a:gd name="T11" fmla="*/ 1 h 32"/>
                    <a:gd name="T12" fmla="*/ 1 w 48"/>
                    <a:gd name="T13" fmla="*/ 1 h 32"/>
                    <a:gd name="T14" fmla="*/ 1 w 48"/>
                    <a:gd name="T15" fmla="*/ 0 h 32"/>
                    <a:gd name="T16" fmla="*/ 1 w 48"/>
                    <a:gd name="T17" fmla="*/ 0 h 32"/>
                    <a:gd name="T18" fmla="*/ 1 w 48"/>
                    <a:gd name="T19" fmla="*/ 1 h 3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48"/>
                    <a:gd name="T31" fmla="*/ 0 h 32"/>
                    <a:gd name="T32" fmla="*/ 48 w 48"/>
                    <a:gd name="T33" fmla="*/ 32 h 32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48" h="32">
                      <a:moveTo>
                        <a:pt x="24" y="8"/>
                      </a:moveTo>
                      <a:lnTo>
                        <a:pt x="24" y="0"/>
                      </a:lnTo>
                      <a:lnTo>
                        <a:pt x="8" y="24"/>
                      </a:lnTo>
                      <a:lnTo>
                        <a:pt x="0" y="32"/>
                      </a:lnTo>
                      <a:lnTo>
                        <a:pt x="8" y="32"/>
                      </a:lnTo>
                      <a:lnTo>
                        <a:pt x="16" y="16"/>
                      </a:lnTo>
                      <a:lnTo>
                        <a:pt x="32" y="8"/>
                      </a:lnTo>
                      <a:lnTo>
                        <a:pt x="48" y="0"/>
                      </a:lnTo>
                      <a:lnTo>
                        <a:pt x="32" y="0"/>
                      </a:lnTo>
                      <a:lnTo>
                        <a:pt x="24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60" name="Freeform 168"/>
                <p:cNvSpPr>
                  <a:spLocks noChangeAspect="1"/>
                </p:cNvSpPr>
                <p:nvPr/>
              </p:nvSpPr>
              <p:spPr bwMode="auto">
                <a:xfrm>
                  <a:off x="4916" y="2138"/>
                  <a:ext cx="17" cy="11"/>
                </a:xfrm>
                <a:custGeom>
                  <a:avLst/>
                  <a:gdLst>
                    <a:gd name="T0" fmla="*/ 0 w 24"/>
                    <a:gd name="T1" fmla="*/ 1 h 16"/>
                    <a:gd name="T2" fmla="*/ 1 w 24"/>
                    <a:gd name="T3" fmla="*/ 1 h 16"/>
                    <a:gd name="T4" fmla="*/ 1 w 24"/>
                    <a:gd name="T5" fmla="*/ 0 h 16"/>
                    <a:gd name="T6" fmla="*/ 1 w 24"/>
                    <a:gd name="T7" fmla="*/ 0 h 16"/>
                    <a:gd name="T8" fmla="*/ 0 w 24"/>
                    <a:gd name="T9" fmla="*/ 1 h 1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4"/>
                    <a:gd name="T16" fmla="*/ 0 h 16"/>
                    <a:gd name="T17" fmla="*/ 24 w 24"/>
                    <a:gd name="T18" fmla="*/ 16 h 1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4" h="16">
                      <a:moveTo>
                        <a:pt x="0" y="16"/>
                      </a:moveTo>
                      <a:lnTo>
                        <a:pt x="8" y="16"/>
                      </a:lnTo>
                      <a:lnTo>
                        <a:pt x="24" y="0"/>
                      </a:lnTo>
                      <a:lnTo>
                        <a:pt x="16" y="0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61" name="Freeform 169"/>
                <p:cNvSpPr>
                  <a:spLocks noChangeAspect="1"/>
                </p:cNvSpPr>
                <p:nvPr/>
              </p:nvSpPr>
              <p:spPr bwMode="auto">
                <a:xfrm>
                  <a:off x="4950" y="2115"/>
                  <a:ext cx="11" cy="12"/>
                </a:xfrm>
                <a:custGeom>
                  <a:avLst/>
                  <a:gdLst>
                    <a:gd name="T0" fmla="*/ 1 w 16"/>
                    <a:gd name="T1" fmla="*/ 2 h 16"/>
                    <a:gd name="T2" fmla="*/ 1 w 16"/>
                    <a:gd name="T3" fmla="*/ 0 h 16"/>
                    <a:gd name="T4" fmla="*/ 1 w 16"/>
                    <a:gd name="T5" fmla="*/ 0 h 16"/>
                    <a:gd name="T6" fmla="*/ 0 w 16"/>
                    <a:gd name="T7" fmla="*/ 2 h 16"/>
                    <a:gd name="T8" fmla="*/ 1 w 16"/>
                    <a:gd name="T9" fmla="*/ 2 h 16"/>
                    <a:gd name="T10" fmla="*/ 1 w 16"/>
                    <a:gd name="T11" fmla="*/ 2 h 1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6"/>
                    <a:gd name="T19" fmla="*/ 0 h 16"/>
                    <a:gd name="T20" fmla="*/ 16 w 16"/>
                    <a:gd name="T21" fmla="*/ 16 h 1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6" h="16">
                      <a:moveTo>
                        <a:pt x="16" y="8"/>
                      </a:moveTo>
                      <a:lnTo>
                        <a:pt x="16" y="0"/>
                      </a:lnTo>
                      <a:lnTo>
                        <a:pt x="8" y="0"/>
                      </a:lnTo>
                      <a:lnTo>
                        <a:pt x="0" y="16"/>
                      </a:lnTo>
                      <a:lnTo>
                        <a:pt x="8" y="16"/>
                      </a:lnTo>
                      <a:lnTo>
                        <a:pt x="16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</p:grpSp>
        </p:grpSp>
        <p:grpSp>
          <p:nvGrpSpPr>
            <p:cNvPr id="18" name="Group 170"/>
            <p:cNvGrpSpPr>
              <a:grpSpLocks noChangeAspect="1"/>
            </p:cNvGrpSpPr>
            <p:nvPr/>
          </p:nvGrpSpPr>
          <p:grpSpPr bwMode="auto">
            <a:xfrm>
              <a:off x="2519" y="2273"/>
              <a:ext cx="1148" cy="1153"/>
              <a:chOff x="2519" y="2273"/>
              <a:chExt cx="1148" cy="1153"/>
            </a:xfrm>
            <a:grpFill/>
          </p:grpSpPr>
          <p:sp>
            <p:nvSpPr>
              <p:cNvPr id="184" name="Freeform 171"/>
              <p:cNvSpPr>
                <a:spLocks noChangeAspect="1"/>
              </p:cNvSpPr>
              <p:nvPr/>
            </p:nvSpPr>
            <p:spPr bwMode="auto">
              <a:xfrm>
                <a:off x="2997" y="3213"/>
                <a:ext cx="231" cy="213"/>
              </a:xfrm>
              <a:custGeom>
                <a:avLst/>
                <a:gdLst>
                  <a:gd name="T0" fmla="*/ 0 w 328"/>
                  <a:gd name="T1" fmla="*/ 1 h 304"/>
                  <a:gd name="T2" fmla="*/ 0 w 328"/>
                  <a:gd name="T3" fmla="*/ 1 h 304"/>
                  <a:gd name="T4" fmla="*/ 1 w 328"/>
                  <a:gd name="T5" fmla="*/ 1 h 304"/>
                  <a:gd name="T6" fmla="*/ 1 w 328"/>
                  <a:gd name="T7" fmla="*/ 1 h 304"/>
                  <a:gd name="T8" fmla="*/ 1 w 328"/>
                  <a:gd name="T9" fmla="*/ 1 h 304"/>
                  <a:gd name="T10" fmla="*/ 1 w 328"/>
                  <a:gd name="T11" fmla="*/ 1 h 304"/>
                  <a:gd name="T12" fmla="*/ 1 w 328"/>
                  <a:gd name="T13" fmla="*/ 1 h 304"/>
                  <a:gd name="T14" fmla="*/ 1 w 328"/>
                  <a:gd name="T15" fmla="*/ 1 h 304"/>
                  <a:gd name="T16" fmla="*/ 1 w 328"/>
                  <a:gd name="T17" fmla="*/ 1 h 304"/>
                  <a:gd name="T18" fmla="*/ 1 w 328"/>
                  <a:gd name="T19" fmla="*/ 1 h 304"/>
                  <a:gd name="T20" fmla="*/ 1 w 328"/>
                  <a:gd name="T21" fmla="*/ 1 h 304"/>
                  <a:gd name="T22" fmla="*/ 1 w 328"/>
                  <a:gd name="T23" fmla="*/ 1 h 304"/>
                  <a:gd name="T24" fmla="*/ 1 w 328"/>
                  <a:gd name="T25" fmla="*/ 1 h 304"/>
                  <a:gd name="T26" fmla="*/ 1 w 328"/>
                  <a:gd name="T27" fmla="*/ 1 h 304"/>
                  <a:gd name="T28" fmla="*/ 1 w 328"/>
                  <a:gd name="T29" fmla="*/ 1 h 304"/>
                  <a:gd name="T30" fmla="*/ 1 w 328"/>
                  <a:gd name="T31" fmla="*/ 1 h 304"/>
                  <a:gd name="T32" fmla="*/ 1 w 328"/>
                  <a:gd name="T33" fmla="*/ 1 h 304"/>
                  <a:gd name="T34" fmla="*/ 1 w 328"/>
                  <a:gd name="T35" fmla="*/ 1 h 304"/>
                  <a:gd name="T36" fmla="*/ 1 w 328"/>
                  <a:gd name="T37" fmla="*/ 1 h 304"/>
                  <a:gd name="T38" fmla="*/ 1 w 328"/>
                  <a:gd name="T39" fmla="*/ 1 h 304"/>
                  <a:gd name="T40" fmla="*/ 1 w 328"/>
                  <a:gd name="T41" fmla="*/ 1 h 304"/>
                  <a:gd name="T42" fmla="*/ 1 w 328"/>
                  <a:gd name="T43" fmla="*/ 1 h 304"/>
                  <a:gd name="T44" fmla="*/ 1 w 328"/>
                  <a:gd name="T45" fmla="*/ 1 h 304"/>
                  <a:gd name="T46" fmla="*/ 1 w 328"/>
                  <a:gd name="T47" fmla="*/ 1 h 304"/>
                  <a:gd name="T48" fmla="*/ 1 w 328"/>
                  <a:gd name="T49" fmla="*/ 1 h 304"/>
                  <a:gd name="T50" fmla="*/ 1 w 328"/>
                  <a:gd name="T51" fmla="*/ 1 h 304"/>
                  <a:gd name="T52" fmla="*/ 1 w 328"/>
                  <a:gd name="T53" fmla="*/ 1 h 304"/>
                  <a:gd name="T54" fmla="*/ 1 w 328"/>
                  <a:gd name="T55" fmla="*/ 1 h 304"/>
                  <a:gd name="T56" fmla="*/ 1 w 328"/>
                  <a:gd name="T57" fmla="*/ 1 h 304"/>
                  <a:gd name="T58" fmla="*/ 1 w 328"/>
                  <a:gd name="T59" fmla="*/ 1 h 304"/>
                  <a:gd name="T60" fmla="*/ 1 w 328"/>
                  <a:gd name="T61" fmla="*/ 0 h 304"/>
                  <a:gd name="T62" fmla="*/ 1 w 328"/>
                  <a:gd name="T63" fmla="*/ 1 h 304"/>
                  <a:gd name="T64" fmla="*/ 1 w 328"/>
                  <a:gd name="T65" fmla="*/ 1 h 304"/>
                  <a:gd name="T66" fmla="*/ 1 w 328"/>
                  <a:gd name="T67" fmla="*/ 1 h 304"/>
                  <a:gd name="T68" fmla="*/ 1 w 328"/>
                  <a:gd name="T69" fmla="*/ 1 h 304"/>
                  <a:gd name="T70" fmla="*/ 1 w 328"/>
                  <a:gd name="T71" fmla="*/ 1 h 304"/>
                  <a:gd name="T72" fmla="*/ 1 w 328"/>
                  <a:gd name="T73" fmla="*/ 1 h 304"/>
                  <a:gd name="T74" fmla="*/ 1 w 328"/>
                  <a:gd name="T75" fmla="*/ 1 h 304"/>
                  <a:gd name="T76" fmla="*/ 1 w 328"/>
                  <a:gd name="T77" fmla="*/ 1 h 304"/>
                  <a:gd name="T78" fmla="*/ 1 w 328"/>
                  <a:gd name="T79" fmla="*/ 1 h 304"/>
                  <a:gd name="T80" fmla="*/ 1 w 328"/>
                  <a:gd name="T81" fmla="*/ 1 h 304"/>
                  <a:gd name="T82" fmla="*/ 1 w 328"/>
                  <a:gd name="T83" fmla="*/ 1 h 304"/>
                  <a:gd name="T84" fmla="*/ 1 w 328"/>
                  <a:gd name="T85" fmla="*/ 1 h 304"/>
                  <a:gd name="T86" fmla="*/ 1 w 328"/>
                  <a:gd name="T87" fmla="*/ 1 h 304"/>
                  <a:gd name="T88" fmla="*/ 1 w 328"/>
                  <a:gd name="T89" fmla="*/ 1 h 304"/>
                  <a:gd name="T90" fmla="*/ 1 w 328"/>
                  <a:gd name="T91" fmla="*/ 1 h 304"/>
                  <a:gd name="T92" fmla="*/ 1 w 328"/>
                  <a:gd name="T93" fmla="*/ 1 h 304"/>
                  <a:gd name="T94" fmla="*/ 1 w 328"/>
                  <a:gd name="T95" fmla="*/ 1 h 304"/>
                  <a:gd name="T96" fmla="*/ 1 w 328"/>
                  <a:gd name="T97" fmla="*/ 1 h 304"/>
                  <a:gd name="T98" fmla="*/ 1 w 328"/>
                  <a:gd name="T99" fmla="*/ 1 h 304"/>
                  <a:gd name="T100" fmla="*/ 1 w 328"/>
                  <a:gd name="T101" fmla="*/ 1 h 304"/>
                  <a:gd name="T102" fmla="*/ 0 w 328"/>
                  <a:gd name="T103" fmla="*/ 1 h 304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328"/>
                  <a:gd name="T157" fmla="*/ 0 h 304"/>
                  <a:gd name="T158" fmla="*/ 328 w 328"/>
                  <a:gd name="T159" fmla="*/ 304 h 304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328" h="304">
                    <a:moveTo>
                      <a:pt x="0" y="152"/>
                    </a:moveTo>
                    <a:lnTo>
                      <a:pt x="0" y="160"/>
                    </a:lnTo>
                    <a:lnTo>
                      <a:pt x="16" y="184"/>
                    </a:lnTo>
                    <a:lnTo>
                      <a:pt x="32" y="208"/>
                    </a:lnTo>
                    <a:lnTo>
                      <a:pt x="40" y="240"/>
                    </a:lnTo>
                    <a:lnTo>
                      <a:pt x="40" y="256"/>
                    </a:lnTo>
                    <a:lnTo>
                      <a:pt x="32" y="264"/>
                    </a:lnTo>
                    <a:lnTo>
                      <a:pt x="40" y="272"/>
                    </a:lnTo>
                    <a:lnTo>
                      <a:pt x="72" y="304"/>
                    </a:lnTo>
                    <a:lnTo>
                      <a:pt x="80" y="296"/>
                    </a:lnTo>
                    <a:lnTo>
                      <a:pt x="96" y="288"/>
                    </a:lnTo>
                    <a:lnTo>
                      <a:pt x="120" y="288"/>
                    </a:lnTo>
                    <a:lnTo>
                      <a:pt x="136" y="280"/>
                    </a:lnTo>
                    <a:lnTo>
                      <a:pt x="176" y="288"/>
                    </a:lnTo>
                    <a:lnTo>
                      <a:pt x="184" y="280"/>
                    </a:lnTo>
                    <a:lnTo>
                      <a:pt x="200" y="280"/>
                    </a:lnTo>
                    <a:lnTo>
                      <a:pt x="224" y="264"/>
                    </a:lnTo>
                    <a:lnTo>
                      <a:pt x="248" y="240"/>
                    </a:lnTo>
                    <a:lnTo>
                      <a:pt x="264" y="232"/>
                    </a:lnTo>
                    <a:lnTo>
                      <a:pt x="280" y="208"/>
                    </a:lnTo>
                    <a:lnTo>
                      <a:pt x="288" y="184"/>
                    </a:lnTo>
                    <a:lnTo>
                      <a:pt x="304" y="160"/>
                    </a:lnTo>
                    <a:lnTo>
                      <a:pt x="320" y="144"/>
                    </a:lnTo>
                    <a:lnTo>
                      <a:pt x="320" y="128"/>
                    </a:lnTo>
                    <a:lnTo>
                      <a:pt x="328" y="120"/>
                    </a:lnTo>
                    <a:lnTo>
                      <a:pt x="328" y="112"/>
                    </a:lnTo>
                    <a:lnTo>
                      <a:pt x="312" y="104"/>
                    </a:lnTo>
                    <a:lnTo>
                      <a:pt x="304" y="80"/>
                    </a:lnTo>
                    <a:lnTo>
                      <a:pt x="312" y="56"/>
                    </a:lnTo>
                    <a:lnTo>
                      <a:pt x="304" y="8"/>
                    </a:lnTo>
                    <a:lnTo>
                      <a:pt x="272" y="0"/>
                    </a:lnTo>
                    <a:lnTo>
                      <a:pt x="256" y="8"/>
                    </a:lnTo>
                    <a:lnTo>
                      <a:pt x="248" y="8"/>
                    </a:lnTo>
                    <a:lnTo>
                      <a:pt x="224" y="24"/>
                    </a:lnTo>
                    <a:lnTo>
                      <a:pt x="216" y="32"/>
                    </a:lnTo>
                    <a:lnTo>
                      <a:pt x="192" y="40"/>
                    </a:lnTo>
                    <a:lnTo>
                      <a:pt x="192" y="64"/>
                    </a:lnTo>
                    <a:lnTo>
                      <a:pt x="176" y="80"/>
                    </a:lnTo>
                    <a:lnTo>
                      <a:pt x="160" y="88"/>
                    </a:lnTo>
                    <a:lnTo>
                      <a:pt x="152" y="80"/>
                    </a:lnTo>
                    <a:lnTo>
                      <a:pt x="136" y="80"/>
                    </a:lnTo>
                    <a:lnTo>
                      <a:pt x="112" y="104"/>
                    </a:lnTo>
                    <a:lnTo>
                      <a:pt x="96" y="104"/>
                    </a:lnTo>
                    <a:lnTo>
                      <a:pt x="88" y="72"/>
                    </a:lnTo>
                    <a:lnTo>
                      <a:pt x="72" y="56"/>
                    </a:lnTo>
                    <a:lnTo>
                      <a:pt x="72" y="152"/>
                    </a:lnTo>
                    <a:lnTo>
                      <a:pt x="48" y="160"/>
                    </a:lnTo>
                    <a:lnTo>
                      <a:pt x="32" y="152"/>
                    </a:lnTo>
                    <a:lnTo>
                      <a:pt x="24" y="144"/>
                    </a:lnTo>
                    <a:lnTo>
                      <a:pt x="16" y="144"/>
                    </a:lnTo>
                    <a:lnTo>
                      <a:pt x="8" y="144"/>
                    </a:lnTo>
                    <a:lnTo>
                      <a:pt x="0" y="152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185" name="Freeform 172"/>
              <p:cNvSpPr>
                <a:spLocks noChangeAspect="1"/>
              </p:cNvSpPr>
              <p:nvPr/>
            </p:nvSpPr>
            <p:spPr bwMode="auto">
              <a:xfrm>
                <a:off x="3380" y="3066"/>
                <a:ext cx="101" cy="209"/>
              </a:xfrm>
              <a:custGeom>
                <a:avLst/>
                <a:gdLst>
                  <a:gd name="T0" fmla="*/ 1 w 144"/>
                  <a:gd name="T1" fmla="*/ 0 h 296"/>
                  <a:gd name="T2" fmla="*/ 1 w 144"/>
                  <a:gd name="T3" fmla="*/ 0 h 296"/>
                  <a:gd name="T4" fmla="*/ 1 w 144"/>
                  <a:gd name="T5" fmla="*/ 1 h 296"/>
                  <a:gd name="T6" fmla="*/ 1 w 144"/>
                  <a:gd name="T7" fmla="*/ 1 h 296"/>
                  <a:gd name="T8" fmla="*/ 1 w 144"/>
                  <a:gd name="T9" fmla="*/ 1 h 296"/>
                  <a:gd name="T10" fmla="*/ 1 w 144"/>
                  <a:gd name="T11" fmla="*/ 1 h 296"/>
                  <a:gd name="T12" fmla="*/ 1 w 144"/>
                  <a:gd name="T13" fmla="*/ 1 h 296"/>
                  <a:gd name="T14" fmla="*/ 1 w 144"/>
                  <a:gd name="T15" fmla="*/ 1 h 296"/>
                  <a:gd name="T16" fmla="*/ 1 w 144"/>
                  <a:gd name="T17" fmla="*/ 1 h 296"/>
                  <a:gd name="T18" fmla="*/ 1 w 144"/>
                  <a:gd name="T19" fmla="*/ 1 h 296"/>
                  <a:gd name="T20" fmla="*/ 1 w 144"/>
                  <a:gd name="T21" fmla="*/ 1 h 296"/>
                  <a:gd name="T22" fmla="*/ 1 w 144"/>
                  <a:gd name="T23" fmla="*/ 1 h 296"/>
                  <a:gd name="T24" fmla="*/ 1 w 144"/>
                  <a:gd name="T25" fmla="*/ 1 h 296"/>
                  <a:gd name="T26" fmla="*/ 1 w 144"/>
                  <a:gd name="T27" fmla="*/ 1 h 296"/>
                  <a:gd name="T28" fmla="*/ 1 w 144"/>
                  <a:gd name="T29" fmla="*/ 1 h 296"/>
                  <a:gd name="T30" fmla="*/ 1 w 144"/>
                  <a:gd name="T31" fmla="*/ 1 h 296"/>
                  <a:gd name="T32" fmla="*/ 1 w 144"/>
                  <a:gd name="T33" fmla="*/ 1 h 296"/>
                  <a:gd name="T34" fmla="*/ 1 w 144"/>
                  <a:gd name="T35" fmla="*/ 1 h 296"/>
                  <a:gd name="T36" fmla="*/ 1 w 144"/>
                  <a:gd name="T37" fmla="*/ 1 h 296"/>
                  <a:gd name="T38" fmla="*/ 0 w 144"/>
                  <a:gd name="T39" fmla="*/ 1 h 296"/>
                  <a:gd name="T40" fmla="*/ 0 w 144"/>
                  <a:gd name="T41" fmla="*/ 1 h 296"/>
                  <a:gd name="T42" fmla="*/ 1 w 144"/>
                  <a:gd name="T43" fmla="*/ 1 h 296"/>
                  <a:gd name="T44" fmla="*/ 1 w 144"/>
                  <a:gd name="T45" fmla="*/ 1 h 296"/>
                  <a:gd name="T46" fmla="*/ 1 w 144"/>
                  <a:gd name="T47" fmla="*/ 1 h 296"/>
                  <a:gd name="T48" fmla="*/ 1 w 144"/>
                  <a:gd name="T49" fmla="*/ 1 h 296"/>
                  <a:gd name="T50" fmla="*/ 1 w 144"/>
                  <a:gd name="T51" fmla="*/ 1 h 296"/>
                  <a:gd name="T52" fmla="*/ 1 w 144"/>
                  <a:gd name="T53" fmla="*/ 1 h 296"/>
                  <a:gd name="T54" fmla="*/ 1 w 144"/>
                  <a:gd name="T55" fmla="*/ 1 h 296"/>
                  <a:gd name="T56" fmla="*/ 1 w 144"/>
                  <a:gd name="T57" fmla="*/ 1 h 296"/>
                  <a:gd name="T58" fmla="*/ 1 w 144"/>
                  <a:gd name="T59" fmla="*/ 1 h 296"/>
                  <a:gd name="T60" fmla="*/ 1 w 144"/>
                  <a:gd name="T61" fmla="*/ 1 h 296"/>
                  <a:gd name="T62" fmla="*/ 1 w 144"/>
                  <a:gd name="T63" fmla="*/ 1 h 296"/>
                  <a:gd name="T64" fmla="*/ 1 w 144"/>
                  <a:gd name="T65" fmla="*/ 1 h 296"/>
                  <a:gd name="T66" fmla="*/ 1 w 144"/>
                  <a:gd name="T67" fmla="*/ 1 h 296"/>
                  <a:gd name="T68" fmla="*/ 1 w 144"/>
                  <a:gd name="T69" fmla="*/ 1 h 296"/>
                  <a:gd name="T70" fmla="*/ 1 w 144"/>
                  <a:gd name="T71" fmla="*/ 1 h 296"/>
                  <a:gd name="T72" fmla="*/ 1 w 144"/>
                  <a:gd name="T73" fmla="*/ 0 h 29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144"/>
                  <a:gd name="T112" fmla="*/ 0 h 296"/>
                  <a:gd name="T113" fmla="*/ 144 w 144"/>
                  <a:gd name="T114" fmla="*/ 296 h 29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144" h="296">
                    <a:moveTo>
                      <a:pt x="120" y="0"/>
                    </a:moveTo>
                    <a:lnTo>
                      <a:pt x="128" y="0"/>
                    </a:lnTo>
                    <a:lnTo>
                      <a:pt x="128" y="8"/>
                    </a:lnTo>
                    <a:lnTo>
                      <a:pt x="128" y="24"/>
                    </a:lnTo>
                    <a:lnTo>
                      <a:pt x="144" y="64"/>
                    </a:lnTo>
                    <a:lnTo>
                      <a:pt x="144" y="80"/>
                    </a:lnTo>
                    <a:lnTo>
                      <a:pt x="128" y="80"/>
                    </a:lnTo>
                    <a:lnTo>
                      <a:pt x="128" y="104"/>
                    </a:lnTo>
                    <a:lnTo>
                      <a:pt x="128" y="112"/>
                    </a:lnTo>
                    <a:lnTo>
                      <a:pt x="112" y="168"/>
                    </a:lnTo>
                    <a:lnTo>
                      <a:pt x="104" y="200"/>
                    </a:lnTo>
                    <a:lnTo>
                      <a:pt x="88" y="224"/>
                    </a:lnTo>
                    <a:lnTo>
                      <a:pt x="88" y="264"/>
                    </a:lnTo>
                    <a:lnTo>
                      <a:pt x="72" y="280"/>
                    </a:lnTo>
                    <a:lnTo>
                      <a:pt x="56" y="288"/>
                    </a:lnTo>
                    <a:lnTo>
                      <a:pt x="40" y="296"/>
                    </a:lnTo>
                    <a:lnTo>
                      <a:pt x="24" y="288"/>
                    </a:lnTo>
                    <a:lnTo>
                      <a:pt x="16" y="272"/>
                    </a:lnTo>
                    <a:lnTo>
                      <a:pt x="8" y="248"/>
                    </a:lnTo>
                    <a:lnTo>
                      <a:pt x="0" y="232"/>
                    </a:lnTo>
                    <a:lnTo>
                      <a:pt x="0" y="208"/>
                    </a:lnTo>
                    <a:lnTo>
                      <a:pt x="16" y="184"/>
                    </a:lnTo>
                    <a:lnTo>
                      <a:pt x="24" y="144"/>
                    </a:lnTo>
                    <a:lnTo>
                      <a:pt x="16" y="136"/>
                    </a:lnTo>
                    <a:lnTo>
                      <a:pt x="16" y="104"/>
                    </a:lnTo>
                    <a:lnTo>
                      <a:pt x="24" y="88"/>
                    </a:lnTo>
                    <a:lnTo>
                      <a:pt x="40" y="88"/>
                    </a:lnTo>
                    <a:lnTo>
                      <a:pt x="40" y="80"/>
                    </a:lnTo>
                    <a:lnTo>
                      <a:pt x="56" y="80"/>
                    </a:lnTo>
                    <a:lnTo>
                      <a:pt x="64" y="72"/>
                    </a:lnTo>
                    <a:lnTo>
                      <a:pt x="80" y="64"/>
                    </a:lnTo>
                    <a:lnTo>
                      <a:pt x="88" y="56"/>
                    </a:lnTo>
                    <a:lnTo>
                      <a:pt x="96" y="48"/>
                    </a:lnTo>
                    <a:lnTo>
                      <a:pt x="96" y="40"/>
                    </a:lnTo>
                    <a:lnTo>
                      <a:pt x="104" y="32"/>
                    </a:lnTo>
                    <a:lnTo>
                      <a:pt x="112" y="8"/>
                    </a:lnTo>
                    <a:lnTo>
                      <a:pt x="120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186" name="Freeform 173"/>
              <p:cNvSpPr>
                <a:spLocks noChangeAspect="1"/>
              </p:cNvSpPr>
              <p:nvPr/>
            </p:nvSpPr>
            <p:spPr bwMode="auto">
              <a:xfrm>
                <a:off x="3245" y="2419"/>
                <a:ext cx="11" cy="6"/>
              </a:xfrm>
              <a:custGeom>
                <a:avLst/>
                <a:gdLst>
                  <a:gd name="T0" fmla="*/ 1 w 16"/>
                  <a:gd name="T1" fmla="*/ 0 h 8"/>
                  <a:gd name="T2" fmla="*/ 0 w 16"/>
                  <a:gd name="T3" fmla="*/ 0 h 8"/>
                  <a:gd name="T4" fmla="*/ 1 w 16"/>
                  <a:gd name="T5" fmla="*/ 2 h 8"/>
                  <a:gd name="T6" fmla="*/ 1 w 16"/>
                  <a:gd name="T7" fmla="*/ 0 h 8"/>
                  <a:gd name="T8" fmla="*/ 1 w 16"/>
                  <a:gd name="T9" fmla="*/ 0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"/>
                  <a:gd name="T16" fmla="*/ 0 h 8"/>
                  <a:gd name="T17" fmla="*/ 16 w 16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" h="8">
                    <a:moveTo>
                      <a:pt x="8" y="0"/>
                    </a:moveTo>
                    <a:lnTo>
                      <a:pt x="0" y="0"/>
                    </a:lnTo>
                    <a:lnTo>
                      <a:pt x="8" y="8"/>
                    </a:lnTo>
                    <a:lnTo>
                      <a:pt x="16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187" name="Freeform 174"/>
              <p:cNvSpPr>
                <a:spLocks noChangeAspect="1"/>
              </p:cNvSpPr>
              <p:nvPr/>
            </p:nvSpPr>
            <p:spPr bwMode="auto">
              <a:xfrm>
                <a:off x="2586" y="2526"/>
                <a:ext cx="242" cy="220"/>
              </a:xfrm>
              <a:custGeom>
                <a:avLst/>
                <a:gdLst>
                  <a:gd name="T0" fmla="*/ 1 w 344"/>
                  <a:gd name="T1" fmla="*/ 0 h 312"/>
                  <a:gd name="T2" fmla="*/ 1 w 344"/>
                  <a:gd name="T3" fmla="*/ 0 h 312"/>
                  <a:gd name="T4" fmla="*/ 1 w 344"/>
                  <a:gd name="T5" fmla="*/ 1 h 312"/>
                  <a:gd name="T6" fmla="*/ 1 w 344"/>
                  <a:gd name="T7" fmla="*/ 1 h 312"/>
                  <a:gd name="T8" fmla="*/ 1 w 344"/>
                  <a:gd name="T9" fmla="*/ 1 h 312"/>
                  <a:gd name="T10" fmla="*/ 1 w 344"/>
                  <a:gd name="T11" fmla="*/ 1 h 312"/>
                  <a:gd name="T12" fmla="*/ 1 w 344"/>
                  <a:gd name="T13" fmla="*/ 1 h 312"/>
                  <a:gd name="T14" fmla="*/ 1 w 344"/>
                  <a:gd name="T15" fmla="*/ 1 h 312"/>
                  <a:gd name="T16" fmla="*/ 1 w 344"/>
                  <a:gd name="T17" fmla="*/ 1 h 312"/>
                  <a:gd name="T18" fmla="*/ 1 w 344"/>
                  <a:gd name="T19" fmla="*/ 1 h 312"/>
                  <a:gd name="T20" fmla="*/ 0 w 344"/>
                  <a:gd name="T21" fmla="*/ 1 h 312"/>
                  <a:gd name="T22" fmla="*/ 1 w 344"/>
                  <a:gd name="T23" fmla="*/ 1 h 312"/>
                  <a:gd name="T24" fmla="*/ 1 w 344"/>
                  <a:gd name="T25" fmla="*/ 1 h 312"/>
                  <a:gd name="T26" fmla="*/ 1 w 344"/>
                  <a:gd name="T27" fmla="*/ 1 h 312"/>
                  <a:gd name="T28" fmla="*/ 1 w 344"/>
                  <a:gd name="T29" fmla="*/ 1 h 312"/>
                  <a:gd name="T30" fmla="*/ 1 w 344"/>
                  <a:gd name="T31" fmla="*/ 1 h 312"/>
                  <a:gd name="T32" fmla="*/ 1 w 344"/>
                  <a:gd name="T33" fmla="*/ 1 h 312"/>
                  <a:gd name="T34" fmla="*/ 1 w 344"/>
                  <a:gd name="T35" fmla="*/ 1 h 312"/>
                  <a:gd name="T36" fmla="*/ 1 w 344"/>
                  <a:gd name="T37" fmla="*/ 1 h 312"/>
                  <a:gd name="T38" fmla="*/ 1 w 344"/>
                  <a:gd name="T39" fmla="*/ 1 h 312"/>
                  <a:gd name="T40" fmla="*/ 1 w 344"/>
                  <a:gd name="T41" fmla="*/ 1 h 312"/>
                  <a:gd name="T42" fmla="*/ 1 w 344"/>
                  <a:gd name="T43" fmla="*/ 1 h 312"/>
                  <a:gd name="T44" fmla="*/ 1 w 344"/>
                  <a:gd name="T45" fmla="*/ 1 h 312"/>
                  <a:gd name="T46" fmla="*/ 1 w 344"/>
                  <a:gd name="T47" fmla="*/ 1 h 312"/>
                  <a:gd name="T48" fmla="*/ 1 w 344"/>
                  <a:gd name="T49" fmla="*/ 1 h 312"/>
                  <a:gd name="T50" fmla="*/ 1 w 344"/>
                  <a:gd name="T51" fmla="*/ 1 h 312"/>
                  <a:gd name="T52" fmla="*/ 1 w 344"/>
                  <a:gd name="T53" fmla="*/ 1 h 312"/>
                  <a:gd name="T54" fmla="*/ 1 w 344"/>
                  <a:gd name="T55" fmla="*/ 1 h 312"/>
                  <a:gd name="T56" fmla="*/ 1 w 344"/>
                  <a:gd name="T57" fmla="*/ 1 h 312"/>
                  <a:gd name="T58" fmla="*/ 1 w 344"/>
                  <a:gd name="T59" fmla="*/ 1 h 312"/>
                  <a:gd name="T60" fmla="*/ 1 w 344"/>
                  <a:gd name="T61" fmla="*/ 1 h 312"/>
                  <a:gd name="T62" fmla="*/ 1 w 344"/>
                  <a:gd name="T63" fmla="*/ 1 h 312"/>
                  <a:gd name="T64" fmla="*/ 1 w 344"/>
                  <a:gd name="T65" fmla="*/ 1 h 312"/>
                  <a:gd name="T66" fmla="*/ 1 w 344"/>
                  <a:gd name="T67" fmla="*/ 1 h 312"/>
                  <a:gd name="T68" fmla="*/ 1 w 344"/>
                  <a:gd name="T69" fmla="*/ 1 h 312"/>
                  <a:gd name="T70" fmla="*/ 1 w 344"/>
                  <a:gd name="T71" fmla="*/ 1 h 312"/>
                  <a:gd name="T72" fmla="*/ 1 w 344"/>
                  <a:gd name="T73" fmla="*/ 1 h 312"/>
                  <a:gd name="T74" fmla="*/ 1 w 344"/>
                  <a:gd name="T75" fmla="*/ 1 h 312"/>
                  <a:gd name="T76" fmla="*/ 1 w 344"/>
                  <a:gd name="T77" fmla="*/ 1 h 312"/>
                  <a:gd name="T78" fmla="*/ 1 w 344"/>
                  <a:gd name="T79" fmla="*/ 1 h 312"/>
                  <a:gd name="T80" fmla="*/ 1 w 344"/>
                  <a:gd name="T81" fmla="*/ 1 h 312"/>
                  <a:gd name="T82" fmla="*/ 1 w 344"/>
                  <a:gd name="T83" fmla="*/ 1 h 312"/>
                  <a:gd name="T84" fmla="*/ 1 w 344"/>
                  <a:gd name="T85" fmla="*/ 1 h 312"/>
                  <a:gd name="T86" fmla="*/ 1 w 344"/>
                  <a:gd name="T87" fmla="*/ 1 h 312"/>
                  <a:gd name="T88" fmla="*/ 1 w 344"/>
                  <a:gd name="T89" fmla="*/ 0 h 312"/>
                  <a:gd name="T90" fmla="*/ 1 w 344"/>
                  <a:gd name="T91" fmla="*/ 0 h 312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344"/>
                  <a:gd name="T139" fmla="*/ 0 h 312"/>
                  <a:gd name="T140" fmla="*/ 344 w 344"/>
                  <a:gd name="T141" fmla="*/ 312 h 312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344" h="312">
                    <a:moveTo>
                      <a:pt x="160" y="0"/>
                    </a:moveTo>
                    <a:lnTo>
                      <a:pt x="112" y="0"/>
                    </a:lnTo>
                    <a:lnTo>
                      <a:pt x="136" y="200"/>
                    </a:lnTo>
                    <a:lnTo>
                      <a:pt x="64" y="200"/>
                    </a:lnTo>
                    <a:lnTo>
                      <a:pt x="56" y="192"/>
                    </a:lnTo>
                    <a:lnTo>
                      <a:pt x="48" y="200"/>
                    </a:lnTo>
                    <a:lnTo>
                      <a:pt x="32" y="200"/>
                    </a:lnTo>
                    <a:lnTo>
                      <a:pt x="24" y="208"/>
                    </a:lnTo>
                    <a:lnTo>
                      <a:pt x="16" y="200"/>
                    </a:lnTo>
                    <a:lnTo>
                      <a:pt x="8" y="200"/>
                    </a:lnTo>
                    <a:lnTo>
                      <a:pt x="0" y="216"/>
                    </a:lnTo>
                    <a:lnTo>
                      <a:pt x="8" y="248"/>
                    </a:lnTo>
                    <a:lnTo>
                      <a:pt x="16" y="256"/>
                    </a:lnTo>
                    <a:lnTo>
                      <a:pt x="16" y="272"/>
                    </a:lnTo>
                    <a:lnTo>
                      <a:pt x="40" y="280"/>
                    </a:lnTo>
                    <a:lnTo>
                      <a:pt x="56" y="280"/>
                    </a:lnTo>
                    <a:lnTo>
                      <a:pt x="64" y="272"/>
                    </a:lnTo>
                    <a:lnTo>
                      <a:pt x="72" y="280"/>
                    </a:lnTo>
                    <a:lnTo>
                      <a:pt x="88" y="312"/>
                    </a:lnTo>
                    <a:lnTo>
                      <a:pt x="104" y="312"/>
                    </a:lnTo>
                    <a:lnTo>
                      <a:pt x="112" y="296"/>
                    </a:lnTo>
                    <a:lnTo>
                      <a:pt x="128" y="312"/>
                    </a:lnTo>
                    <a:lnTo>
                      <a:pt x="144" y="312"/>
                    </a:lnTo>
                    <a:lnTo>
                      <a:pt x="144" y="288"/>
                    </a:lnTo>
                    <a:lnTo>
                      <a:pt x="152" y="280"/>
                    </a:lnTo>
                    <a:lnTo>
                      <a:pt x="152" y="272"/>
                    </a:lnTo>
                    <a:lnTo>
                      <a:pt x="168" y="256"/>
                    </a:lnTo>
                    <a:lnTo>
                      <a:pt x="168" y="248"/>
                    </a:lnTo>
                    <a:lnTo>
                      <a:pt x="184" y="248"/>
                    </a:lnTo>
                    <a:lnTo>
                      <a:pt x="208" y="224"/>
                    </a:lnTo>
                    <a:lnTo>
                      <a:pt x="216" y="224"/>
                    </a:lnTo>
                    <a:lnTo>
                      <a:pt x="224" y="208"/>
                    </a:lnTo>
                    <a:lnTo>
                      <a:pt x="248" y="208"/>
                    </a:lnTo>
                    <a:lnTo>
                      <a:pt x="256" y="216"/>
                    </a:lnTo>
                    <a:lnTo>
                      <a:pt x="280" y="216"/>
                    </a:lnTo>
                    <a:lnTo>
                      <a:pt x="296" y="208"/>
                    </a:lnTo>
                    <a:lnTo>
                      <a:pt x="320" y="208"/>
                    </a:lnTo>
                    <a:lnTo>
                      <a:pt x="344" y="120"/>
                    </a:lnTo>
                    <a:lnTo>
                      <a:pt x="312" y="128"/>
                    </a:lnTo>
                    <a:lnTo>
                      <a:pt x="312" y="112"/>
                    </a:lnTo>
                    <a:lnTo>
                      <a:pt x="304" y="104"/>
                    </a:lnTo>
                    <a:lnTo>
                      <a:pt x="296" y="104"/>
                    </a:lnTo>
                    <a:lnTo>
                      <a:pt x="280" y="104"/>
                    </a:lnTo>
                    <a:lnTo>
                      <a:pt x="272" y="88"/>
                    </a:lnTo>
                    <a:lnTo>
                      <a:pt x="168" y="0"/>
                    </a:lnTo>
                    <a:lnTo>
                      <a:pt x="160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188" name="Freeform 175"/>
              <p:cNvSpPr>
                <a:spLocks noChangeAspect="1"/>
              </p:cNvSpPr>
              <p:nvPr/>
            </p:nvSpPr>
            <p:spPr bwMode="auto">
              <a:xfrm>
                <a:off x="2688" y="2672"/>
                <a:ext cx="107" cy="85"/>
              </a:xfrm>
              <a:custGeom>
                <a:avLst/>
                <a:gdLst>
                  <a:gd name="T0" fmla="*/ 1 w 152"/>
                  <a:gd name="T1" fmla="*/ 1 h 120"/>
                  <a:gd name="T2" fmla="*/ 1 w 152"/>
                  <a:gd name="T3" fmla="*/ 1 h 120"/>
                  <a:gd name="T4" fmla="*/ 1 w 152"/>
                  <a:gd name="T5" fmla="*/ 1 h 120"/>
                  <a:gd name="T6" fmla="*/ 1 w 152"/>
                  <a:gd name="T7" fmla="*/ 1 h 120"/>
                  <a:gd name="T8" fmla="*/ 1 w 152"/>
                  <a:gd name="T9" fmla="*/ 1 h 120"/>
                  <a:gd name="T10" fmla="*/ 1 w 152"/>
                  <a:gd name="T11" fmla="*/ 1 h 120"/>
                  <a:gd name="T12" fmla="*/ 1 w 152"/>
                  <a:gd name="T13" fmla="*/ 1 h 120"/>
                  <a:gd name="T14" fmla="*/ 1 w 152"/>
                  <a:gd name="T15" fmla="*/ 1 h 120"/>
                  <a:gd name="T16" fmla="*/ 1 w 152"/>
                  <a:gd name="T17" fmla="*/ 1 h 120"/>
                  <a:gd name="T18" fmla="*/ 1 w 152"/>
                  <a:gd name="T19" fmla="*/ 1 h 120"/>
                  <a:gd name="T20" fmla="*/ 1 w 152"/>
                  <a:gd name="T21" fmla="*/ 1 h 120"/>
                  <a:gd name="T22" fmla="*/ 1 w 152"/>
                  <a:gd name="T23" fmla="*/ 1 h 120"/>
                  <a:gd name="T24" fmla="*/ 1 w 152"/>
                  <a:gd name="T25" fmla="*/ 1 h 120"/>
                  <a:gd name="T26" fmla="*/ 1 w 152"/>
                  <a:gd name="T27" fmla="*/ 1 h 120"/>
                  <a:gd name="T28" fmla="*/ 1 w 152"/>
                  <a:gd name="T29" fmla="*/ 1 h 120"/>
                  <a:gd name="T30" fmla="*/ 1 w 152"/>
                  <a:gd name="T31" fmla="*/ 1 h 120"/>
                  <a:gd name="T32" fmla="*/ 1 w 152"/>
                  <a:gd name="T33" fmla="*/ 1 h 120"/>
                  <a:gd name="T34" fmla="*/ 0 w 152"/>
                  <a:gd name="T35" fmla="*/ 1 h 120"/>
                  <a:gd name="T36" fmla="*/ 0 w 152"/>
                  <a:gd name="T37" fmla="*/ 1 h 120"/>
                  <a:gd name="T38" fmla="*/ 1 w 152"/>
                  <a:gd name="T39" fmla="*/ 1 h 120"/>
                  <a:gd name="T40" fmla="*/ 1 w 152"/>
                  <a:gd name="T41" fmla="*/ 1 h 120"/>
                  <a:gd name="T42" fmla="*/ 1 w 152"/>
                  <a:gd name="T43" fmla="*/ 1 h 120"/>
                  <a:gd name="T44" fmla="*/ 1 w 152"/>
                  <a:gd name="T45" fmla="*/ 1 h 120"/>
                  <a:gd name="T46" fmla="*/ 1 w 152"/>
                  <a:gd name="T47" fmla="*/ 1 h 120"/>
                  <a:gd name="T48" fmla="*/ 1 w 152"/>
                  <a:gd name="T49" fmla="*/ 1 h 120"/>
                  <a:gd name="T50" fmla="*/ 1 w 152"/>
                  <a:gd name="T51" fmla="*/ 1 h 120"/>
                  <a:gd name="T52" fmla="*/ 1 w 152"/>
                  <a:gd name="T53" fmla="*/ 0 h 120"/>
                  <a:gd name="T54" fmla="*/ 1 w 152"/>
                  <a:gd name="T55" fmla="*/ 0 h 120"/>
                  <a:gd name="T56" fmla="*/ 1 w 152"/>
                  <a:gd name="T57" fmla="*/ 1 h 120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52"/>
                  <a:gd name="T88" fmla="*/ 0 h 120"/>
                  <a:gd name="T89" fmla="*/ 152 w 152"/>
                  <a:gd name="T90" fmla="*/ 120 h 120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52" h="120">
                    <a:moveTo>
                      <a:pt x="112" y="8"/>
                    </a:moveTo>
                    <a:lnTo>
                      <a:pt x="112" y="24"/>
                    </a:lnTo>
                    <a:lnTo>
                      <a:pt x="120" y="32"/>
                    </a:lnTo>
                    <a:lnTo>
                      <a:pt x="128" y="32"/>
                    </a:lnTo>
                    <a:lnTo>
                      <a:pt x="136" y="48"/>
                    </a:lnTo>
                    <a:lnTo>
                      <a:pt x="152" y="56"/>
                    </a:lnTo>
                    <a:lnTo>
                      <a:pt x="152" y="64"/>
                    </a:lnTo>
                    <a:lnTo>
                      <a:pt x="152" y="72"/>
                    </a:lnTo>
                    <a:lnTo>
                      <a:pt x="120" y="88"/>
                    </a:lnTo>
                    <a:lnTo>
                      <a:pt x="104" y="88"/>
                    </a:lnTo>
                    <a:lnTo>
                      <a:pt x="96" y="80"/>
                    </a:lnTo>
                    <a:lnTo>
                      <a:pt x="88" y="88"/>
                    </a:lnTo>
                    <a:lnTo>
                      <a:pt x="72" y="80"/>
                    </a:lnTo>
                    <a:lnTo>
                      <a:pt x="56" y="80"/>
                    </a:lnTo>
                    <a:lnTo>
                      <a:pt x="48" y="112"/>
                    </a:lnTo>
                    <a:lnTo>
                      <a:pt x="24" y="112"/>
                    </a:lnTo>
                    <a:lnTo>
                      <a:pt x="16" y="120"/>
                    </a:lnTo>
                    <a:lnTo>
                      <a:pt x="0" y="104"/>
                    </a:lnTo>
                    <a:lnTo>
                      <a:pt x="0" y="80"/>
                    </a:lnTo>
                    <a:lnTo>
                      <a:pt x="8" y="72"/>
                    </a:lnTo>
                    <a:lnTo>
                      <a:pt x="8" y="64"/>
                    </a:lnTo>
                    <a:lnTo>
                      <a:pt x="24" y="48"/>
                    </a:lnTo>
                    <a:lnTo>
                      <a:pt x="24" y="40"/>
                    </a:lnTo>
                    <a:lnTo>
                      <a:pt x="40" y="40"/>
                    </a:lnTo>
                    <a:lnTo>
                      <a:pt x="64" y="16"/>
                    </a:lnTo>
                    <a:lnTo>
                      <a:pt x="72" y="16"/>
                    </a:lnTo>
                    <a:lnTo>
                      <a:pt x="80" y="0"/>
                    </a:lnTo>
                    <a:lnTo>
                      <a:pt x="104" y="0"/>
                    </a:lnTo>
                    <a:lnTo>
                      <a:pt x="112" y="8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189" name="Freeform 176"/>
              <p:cNvSpPr>
                <a:spLocks noChangeAspect="1"/>
              </p:cNvSpPr>
              <p:nvPr/>
            </p:nvSpPr>
            <p:spPr bwMode="auto">
              <a:xfrm>
                <a:off x="2930" y="2959"/>
                <a:ext cx="22" cy="17"/>
              </a:xfrm>
              <a:custGeom>
                <a:avLst/>
                <a:gdLst>
                  <a:gd name="T0" fmla="*/ 0 w 32"/>
                  <a:gd name="T1" fmla="*/ 1 h 24"/>
                  <a:gd name="T2" fmla="*/ 1 w 32"/>
                  <a:gd name="T3" fmla="*/ 0 h 24"/>
                  <a:gd name="T4" fmla="*/ 1 w 32"/>
                  <a:gd name="T5" fmla="*/ 0 h 24"/>
                  <a:gd name="T6" fmla="*/ 1 w 32"/>
                  <a:gd name="T7" fmla="*/ 1 h 24"/>
                  <a:gd name="T8" fmla="*/ 1 w 32"/>
                  <a:gd name="T9" fmla="*/ 1 h 24"/>
                  <a:gd name="T10" fmla="*/ 1 w 32"/>
                  <a:gd name="T11" fmla="*/ 1 h 24"/>
                  <a:gd name="T12" fmla="*/ 0 w 32"/>
                  <a:gd name="T13" fmla="*/ 1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2"/>
                  <a:gd name="T22" fmla="*/ 0 h 24"/>
                  <a:gd name="T23" fmla="*/ 32 w 32"/>
                  <a:gd name="T24" fmla="*/ 24 h 2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2" h="24">
                    <a:moveTo>
                      <a:pt x="0" y="8"/>
                    </a:moveTo>
                    <a:lnTo>
                      <a:pt x="24" y="0"/>
                    </a:lnTo>
                    <a:lnTo>
                      <a:pt x="32" y="0"/>
                    </a:lnTo>
                    <a:lnTo>
                      <a:pt x="32" y="8"/>
                    </a:lnTo>
                    <a:lnTo>
                      <a:pt x="24" y="16"/>
                    </a:lnTo>
                    <a:lnTo>
                      <a:pt x="8" y="24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190" name="Freeform 177"/>
              <p:cNvSpPr>
                <a:spLocks noChangeAspect="1"/>
              </p:cNvSpPr>
              <p:nvPr/>
            </p:nvSpPr>
            <p:spPr bwMode="auto">
              <a:xfrm>
                <a:off x="3082" y="3010"/>
                <a:ext cx="157" cy="141"/>
              </a:xfrm>
              <a:custGeom>
                <a:avLst/>
                <a:gdLst>
                  <a:gd name="T0" fmla="*/ 1 w 224"/>
                  <a:gd name="T1" fmla="*/ 1 h 200"/>
                  <a:gd name="T2" fmla="*/ 1 w 224"/>
                  <a:gd name="T3" fmla="*/ 1 h 200"/>
                  <a:gd name="T4" fmla="*/ 1 w 224"/>
                  <a:gd name="T5" fmla="*/ 1 h 200"/>
                  <a:gd name="T6" fmla="*/ 1 w 224"/>
                  <a:gd name="T7" fmla="*/ 1 h 200"/>
                  <a:gd name="T8" fmla="*/ 1 w 224"/>
                  <a:gd name="T9" fmla="*/ 1 h 200"/>
                  <a:gd name="T10" fmla="*/ 1 w 224"/>
                  <a:gd name="T11" fmla="*/ 1 h 200"/>
                  <a:gd name="T12" fmla="*/ 1 w 224"/>
                  <a:gd name="T13" fmla="*/ 1 h 200"/>
                  <a:gd name="T14" fmla="*/ 1 w 224"/>
                  <a:gd name="T15" fmla="*/ 1 h 200"/>
                  <a:gd name="T16" fmla="*/ 1 w 224"/>
                  <a:gd name="T17" fmla="*/ 1 h 200"/>
                  <a:gd name="T18" fmla="*/ 1 w 224"/>
                  <a:gd name="T19" fmla="*/ 1 h 200"/>
                  <a:gd name="T20" fmla="*/ 1 w 224"/>
                  <a:gd name="T21" fmla="*/ 1 h 200"/>
                  <a:gd name="T22" fmla="*/ 1 w 224"/>
                  <a:gd name="T23" fmla="*/ 1 h 200"/>
                  <a:gd name="T24" fmla="*/ 1 w 224"/>
                  <a:gd name="T25" fmla="*/ 1 h 200"/>
                  <a:gd name="T26" fmla="*/ 1 w 224"/>
                  <a:gd name="T27" fmla="*/ 1 h 200"/>
                  <a:gd name="T28" fmla="*/ 1 w 224"/>
                  <a:gd name="T29" fmla="*/ 1 h 200"/>
                  <a:gd name="T30" fmla="*/ 1 w 224"/>
                  <a:gd name="T31" fmla="*/ 1 h 200"/>
                  <a:gd name="T32" fmla="*/ 1 w 224"/>
                  <a:gd name="T33" fmla="*/ 1 h 200"/>
                  <a:gd name="T34" fmla="*/ 1 w 224"/>
                  <a:gd name="T35" fmla="*/ 1 h 200"/>
                  <a:gd name="T36" fmla="*/ 1 w 224"/>
                  <a:gd name="T37" fmla="*/ 1 h 200"/>
                  <a:gd name="T38" fmla="*/ 1 w 224"/>
                  <a:gd name="T39" fmla="*/ 1 h 200"/>
                  <a:gd name="T40" fmla="*/ 1 w 224"/>
                  <a:gd name="T41" fmla="*/ 1 h 200"/>
                  <a:gd name="T42" fmla="*/ 1 w 224"/>
                  <a:gd name="T43" fmla="*/ 1 h 200"/>
                  <a:gd name="T44" fmla="*/ 1 w 224"/>
                  <a:gd name="T45" fmla="*/ 0 h 200"/>
                  <a:gd name="T46" fmla="*/ 1 w 224"/>
                  <a:gd name="T47" fmla="*/ 1 h 200"/>
                  <a:gd name="T48" fmla="*/ 1 w 224"/>
                  <a:gd name="T49" fmla="*/ 1 h 200"/>
                  <a:gd name="T50" fmla="*/ 1 w 224"/>
                  <a:gd name="T51" fmla="*/ 1 h 200"/>
                  <a:gd name="T52" fmla="*/ 1 w 224"/>
                  <a:gd name="T53" fmla="*/ 1 h 200"/>
                  <a:gd name="T54" fmla="*/ 1 w 224"/>
                  <a:gd name="T55" fmla="*/ 1 h 200"/>
                  <a:gd name="T56" fmla="*/ 1 w 224"/>
                  <a:gd name="T57" fmla="*/ 1 h 200"/>
                  <a:gd name="T58" fmla="*/ 1 w 224"/>
                  <a:gd name="T59" fmla="*/ 1 h 200"/>
                  <a:gd name="T60" fmla="*/ 1 w 224"/>
                  <a:gd name="T61" fmla="*/ 1 h 200"/>
                  <a:gd name="T62" fmla="*/ 1 w 224"/>
                  <a:gd name="T63" fmla="*/ 1 h 200"/>
                  <a:gd name="T64" fmla="*/ 1 w 224"/>
                  <a:gd name="T65" fmla="*/ 1 h 200"/>
                  <a:gd name="T66" fmla="*/ 1 w 224"/>
                  <a:gd name="T67" fmla="*/ 1 h 200"/>
                  <a:gd name="T68" fmla="*/ 1 w 224"/>
                  <a:gd name="T69" fmla="*/ 1 h 200"/>
                  <a:gd name="T70" fmla="*/ 1 w 224"/>
                  <a:gd name="T71" fmla="*/ 1 h 200"/>
                  <a:gd name="T72" fmla="*/ 1 w 224"/>
                  <a:gd name="T73" fmla="*/ 1 h 200"/>
                  <a:gd name="T74" fmla="*/ 1 w 224"/>
                  <a:gd name="T75" fmla="*/ 1 h 200"/>
                  <a:gd name="T76" fmla="*/ 1 w 224"/>
                  <a:gd name="T77" fmla="*/ 1 h 200"/>
                  <a:gd name="T78" fmla="*/ 1 w 224"/>
                  <a:gd name="T79" fmla="*/ 1 h 200"/>
                  <a:gd name="T80" fmla="*/ 1 w 224"/>
                  <a:gd name="T81" fmla="*/ 1 h 200"/>
                  <a:gd name="T82" fmla="*/ 1 w 224"/>
                  <a:gd name="T83" fmla="*/ 1 h 200"/>
                  <a:gd name="T84" fmla="*/ 1 w 224"/>
                  <a:gd name="T85" fmla="*/ 1 h 200"/>
                  <a:gd name="T86" fmla="*/ 0 w 224"/>
                  <a:gd name="T87" fmla="*/ 1 h 200"/>
                  <a:gd name="T88" fmla="*/ 0 w 224"/>
                  <a:gd name="T89" fmla="*/ 1 h 200"/>
                  <a:gd name="T90" fmla="*/ 1 w 224"/>
                  <a:gd name="T91" fmla="*/ 1 h 20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224"/>
                  <a:gd name="T139" fmla="*/ 0 h 200"/>
                  <a:gd name="T140" fmla="*/ 224 w 224"/>
                  <a:gd name="T141" fmla="*/ 200 h 200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224" h="200">
                    <a:moveTo>
                      <a:pt x="16" y="184"/>
                    </a:moveTo>
                    <a:lnTo>
                      <a:pt x="24" y="192"/>
                    </a:lnTo>
                    <a:lnTo>
                      <a:pt x="48" y="192"/>
                    </a:lnTo>
                    <a:lnTo>
                      <a:pt x="64" y="192"/>
                    </a:lnTo>
                    <a:lnTo>
                      <a:pt x="72" y="200"/>
                    </a:lnTo>
                    <a:lnTo>
                      <a:pt x="88" y="200"/>
                    </a:lnTo>
                    <a:lnTo>
                      <a:pt x="104" y="184"/>
                    </a:lnTo>
                    <a:lnTo>
                      <a:pt x="112" y="184"/>
                    </a:lnTo>
                    <a:lnTo>
                      <a:pt x="128" y="176"/>
                    </a:lnTo>
                    <a:lnTo>
                      <a:pt x="128" y="160"/>
                    </a:lnTo>
                    <a:lnTo>
                      <a:pt x="136" y="160"/>
                    </a:lnTo>
                    <a:lnTo>
                      <a:pt x="152" y="152"/>
                    </a:lnTo>
                    <a:lnTo>
                      <a:pt x="160" y="136"/>
                    </a:lnTo>
                    <a:lnTo>
                      <a:pt x="168" y="136"/>
                    </a:lnTo>
                    <a:lnTo>
                      <a:pt x="184" y="128"/>
                    </a:lnTo>
                    <a:lnTo>
                      <a:pt x="192" y="128"/>
                    </a:lnTo>
                    <a:lnTo>
                      <a:pt x="216" y="120"/>
                    </a:lnTo>
                    <a:lnTo>
                      <a:pt x="216" y="80"/>
                    </a:lnTo>
                    <a:lnTo>
                      <a:pt x="224" y="80"/>
                    </a:lnTo>
                    <a:lnTo>
                      <a:pt x="224" y="40"/>
                    </a:lnTo>
                    <a:lnTo>
                      <a:pt x="208" y="24"/>
                    </a:lnTo>
                    <a:lnTo>
                      <a:pt x="184" y="16"/>
                    </a:lnTo>
                    <a:lnTo>
                      <a:pt x="168" y="0"/>
                    </a:lnTo>
                    <a:lnTo>
                      <a:pt x="152" y="8"/>
                    </a:lnTo>
                    <a:lnTo>
                      <a:pt x="136" y="8"/>
                    </a:lnTo>
                    <a:lnTo>
                      <a:pt x="128" y="16"/>
                    </a:lnTo>
                    <a:lnTo>
                      <a:pt x="120" y="64"/>
                    </a:lnTo>
                    <a:lnTo>
                      <a:pt x="128" y="80"/>
                    </a:lnTo>
                    <a:lnTo>
                      <a:pt x="136" y="80"/>
                    </a:lnTo>
                    <a:lnTo>
                      <a:pt x="144" y="72"/>
                    </a:lnTo>
                    <a:lnTo>
                      <a:pt x="152" y="80"/>
                    </a:lnTo>
                    <a:lnTo>
                      <a:pt x="152" y="104"/>
                    </a:lnTo>
                    <a:lnTo>
                      <a:pt x="144" y="112"/>
                    </a:lnTo>
                    <a:lnTo>
                      <a:pt x="96" y="64"/>
                    </a:lnTo>
                    <a:lnTo>
                      <a:pt x="88" y="64"/>
                    </a:lnTo>
                    <a:lnTo>
                      <a:pt x="80" y="72"/>
                    </a:lnTo>
                    <a:lnTo>
                      <a:pt x="72" y="72"/>
                    </a:lnTo>
                    <a:lnTo>
                      <a:pt x="64" y="64"/>
                    </a:lnTo>
                    <a:lnTo>
                      <a:pt x="56" y="56"/>
                    </a:lnTo>
                    <a:lnTo>
                      <a:pt x="56" y="64"/>
                    </a:lnTo>
                    <a:lnTo>
                      <a:pt x="48" y="64"/>
                    </a:lnTo>
                    <a:lnTo>
                      <a:pt x="40" y="64"/>
                    </a:lnTo>
                    <a:lnTo>
                      <a:pt x="32" y="96"/>
                    </a:lnTo>
                    <a:lnTo>
                      <a:pt x="0" y="96"/>
                    </a:lnTo>
                    <a:lnTo>
                      <a:pt x="0" y="176"/>
                    </a:lnTo>
                    <a:lnTo>
                      <a:pt x="16" y="184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191" name="Freeform 178"/>
              <p:cNvSpPr>
                <a:spLocks noChangeAspect="1"/>
              </p:cNvSpPr>
              <p:nvPr/>
            </p:nvSpPr>
            <p:spPr bwMode="auto">
              <a:xfrm>
                <a:off x="3177" y="2903"/>
                <a:ext cx="28" cy="23"/>
              </a:xfrm>
              <a:custGeom>
                <a:avLst/>
                <a:gdLst>
                  <a:gd name="T0" fmla="*/ 0 w 40"/>
                  <a:gd name="T1" fmla="*/ 1 h 32"/>
                  <a:gd name="T2" fmla="*/ 1 w 40"/>
                  <a:gd name="T3" fmla="*/ 1 h 32"/>
                  <a:gd name="T4" fmla="*/ 1 w 40"/>
                  <a:gd name="T5" fmla="*/ 0 h 32"/>
                  <a:gd name="T6" fmla="*/ 1 w 40"/>
                  <a:gd name="T7" fmla="*/ 0 h 32"/>
                  <a:gd name="T8" fmla="*/ 1 w 40"/>
                  <a:gd name="T9" fmla="*/ 1 h 32"/>
                  <a:gd name="T10" fmla="*/ 1 w 40"/>
                  <a:gd name="T11" fmla="*/ 1 h 32"/>
                  <a:gd name="T12" fmla="*/ 1 w 40"/>
                  <a:gd name="T13" fmla="*/ 1 h 32"/>
                  <a:gd name="T14" fmla="*/ 1 w 40"/>
                  <a:gd name="T15" fmla="*/ 1 h 32"/>
                  <a:gd name="T16" fmla="*/ 1 w 40"/>
                  <a:gd name="T17" fmla="*/ 1 h 32"/>
                  <a:gd name="T18" fmla="*/ 1 w 40"/>
                  <a:gd name="T19" fmla="*/ 1 h 32"/>
                  <a:gd name="T20" fmla="*/ 0 w 40"/>
                  <a:gd name="T21" fmla="*/ 1 h 32"/>
                  <a:gd name="T22" fmla="*/ 0 w 40"/>
                  <a:gd name="T23" fmla="*/ 1 h 3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40"/>
                  <a:gd name="T37" fmla="*/ 0 h 32"/>
                  <a:gd name="T38" fmla="*/ 40 w 40"/>
                  <a:gd name="T39" fmla="*/ 32 h 32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40" h="32">
                    <a:moveTo>
                      <a:pt x="0" y="8"/>
                    </a:moveTo>
                    <a:lnTo>
                      <a:pt x="16" y="8"/>
                    </a:lnTo>
                    <a:lnTo>
                      <a:pt x="24" y="0"/>
                    </a:lnTo>
                    <a:lnTo>
                      <a:pt x="32" y="0"/>
                    </a:lnTo>
                    <a:lnTo>
                      <a:pt x="40" y="8"/>
                    </a:lnTo>
                    <a:lnTo>
                      <a:pt x="32" y="16"/>
                    </a:lnTo>
                    <a:lnTo>
                      <a:pt x="24" y="24"/>
                    </a:lnTo>
                    <a:lnTo>
                      <a:pt x="24" y="32"/>
                    </a:lnTo>
                    <a:lnTo>
                      <a:pt x="16" y="32"/>
                    </a:lnTo>
                    <a:lnTo>
                      <a:pt x="8" y="32"/>
                    </a:lnTo>
                    <a:lnTo>
                      <a:pt x="0" y="32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192" name="Freeform 179"/>
              <p:cNvSpPr>
                <a:spLocks noChangeAspect="1"/>
              </p:cNvSpPr>
              <p:nvPr/>
            </p:nvSpPr>
            <p:spPr bwMode="auto">
              <a:xfrm>
                <a:off x="3228" y="3027"/>
                <a:ext cx="39" cy="112"/>
              </a:xfrm>
              <a:custGeom>
                <a:avLst/>
                <a:gdLst>
                  <a:gd name="T0" fmla="*/ 0 w 56"/>
                  <a:gd name="T1" fmla="*/ 0 h 160"/>
                  <a:gd name="T2" fmla="*/ 1 w 56"/>
                  <a:gd name="T3" fmla="*/ 1 h 160"/>
                  <a:gd name="T4" fmla="*/ 1 w 56"/>
                  <a:gd name="T5" fmla="*/ 1 h 160"/>
                  <a:gd name="T6" fmla="*/ 1 w 56"/>
                  <a:gd name="T7" fmla="*/ 1 h 160"/>
                  <a:gd name="T8" fmla="*/ 1 w 56"/>
                  <a:gd name="T9" fmla="*/ 1 h 160"/>
                  <a:gd name="T10" fmla="*/ 1 w 56"/>
                  <a:gd name="T11" fmla="*/ 1 h 160"/>
                  <a:gd name="T12" fmla="*/ 1 w 56"/>
                  <a:gd name="T13" fmla="*/ 1 h 160"/>
                  <a:gd name="T14" fmla="*/ 1 w 56"/>
                  <a:gd name="T15" fmla="*/ 1 h 160"/>
                  <a:gd name="T16" fmla="*/ 1 w 56"/>
                  <a:gd name="T17" fmla="*/ 1 h 160"/>
                  <a:gd name="T18" fmla="*/ 1 w 56"/>
                  <a:gd name="T19" fmla="*/ 1 h 160"/>
                  <a:gd name="T20" fmla="*/ 1 w 56"/>
                  <a:gd name="T21" fmla="*/ 1 h 160"/>
                  <a:gd name="T22" fmla="*/ 1 w 56"/>
                  <a:gd name="T23" fmla="*/ 1 h 160"/>
                  <a:gd name="T24" fmla="*/ 1 w 56"/>
                  <a:gd name="T25" fmla="*/ 1 h 160"/>
                  <a:gd name="T26" fmla="*/ 1 w 56"/>
                  <a:gd name="T27" fmla="*/ 1 h 160"/>
                  <a:gd name="T28" fmla="*/ 1 w 56"/>
                  <a:gd name="T29" fmla="*/ 1 h 160"/>
                  <a:gd name="T30" fmla="*/ 1 w 56"/>
                  <a:gd name="T31" fmla="*/ 1 h 160"/>
                  <a:gd name="T32" fmla="*/ 1 w 56"/>
                  <a:gd name="T33" fmla="*/ 1 h 160"/>
                  <a:gd name="T34" fmla="*/ 1 w 56"/>
                  <a:gd name="T35" fmla="*/ 1 h 160"/>
                  <a:gd name="T36" fmla="*/ 1 w 56"/>
                  <a:gd name="T37" fmla="*/ 1 h 160"/>
                  <a:gd name="T38" fmla="*/ 1 w 56"/>
                  <a:gd name="T39" fmla="*/ 1 h 160"/>
                  <a:gd name="T40" fmla="*/ 1 w 56"/>
                  <a:gd name="T41" fmla="*/ 0 h 160"/>
                  <a:gd name="T42" fmla="*/ 1 w 56"/>
                  <a:gd name="T43" fmla="*/ 0 h 160"/>
                  <a:gd name="T44" fmla="*/ 0 w 56"/>
                  <a:gd name="T45" fmla="*/ 0 h 16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56"/>
                  <a:gd name="T70" fmla="*/ 0 h 160"/>
                  <a:gd name="T71" fmla="*/ 56 w 56"/>
                  <a:gd name="T72" fmla="*/ 160 h 160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56" h="160">
                    <a:moveTo>
                      <a:pt x="0" y="0"/>
                    </a:moveTo>
                    <a:lnTo>
                      <a:pt x="16" y="16"/>
                    </a:lnTo>
                    <a:lnTo>
                      <a:pt x="16" y="56"/>
                    </a:lnTo>
                    <a:lnTo>
                      <a:pt x="8" y="56"/>
                    </a:lnTo>
                    <a:lnTo>
                      <a:pt x="8" y="96"/>
                    </a:lnTo>
                    <a:lnTo>
                      <a:pt x="16" y="96"/>
                    </a:lnTo>
                    <a:lnTo>
                      <a:pt x="24" y="104"/>
                    </a:lnTo>
                    <a:lnTo>
                      <a:pt x="32" y="104"/>
                    </a:lnTo>
                    <a:lnTo>
                      <a:pt x="32" y="120"/>
                    </a:lnTo>
                    <a:lnTo>
                      <a:pt x="32" y="136"/>
                    </a:lnTo>
                    <a:lnTo>
                      <a:pt x="32" y="152"/>
                    </a:lnTo>
                    <a:lnTo>
                      <a:pt x="48" y="160"/>
                    </a:lnTo>
                    <a:lnTo>
                      <a:pt x="56" y="160"/>
                    </a:lnTo>
                    <a:lnTo>
                      <a:pt x="48" y="144"/>
                    </a:lnTo>
                    <a:lnTo>
                      <a:pt x="56" y="128"/>
                    </a:lnTo>
                    <a:lnTo>
                      <a:pt x="56" y="104"/>
                    </a:lnTo>
                    <a:lnTo>
                      <a:pt x="48" y="88"/>
                    </a:lnTo>
                    <a:lnTo>
                      <a:pt x="40" y="72"/>
                    </a:lnTo>
                    <a:lnTo>
                      <a:pt x="40" y="48"/>
                    </a:lnTo>
                    <a:lnTo>
                      <a:pt x="40" y="16"/>
                    </a:lnTo>
                    <a:lnTo>
                      <a:pt x="32" y="0"/>
                    </a:lnTo>
                    <a:lnTo>
                      <a:pt x="16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193" name="Freeform 180"/>
              <p:cNvSpPr>
                <a:spLocks noChangeAspect="1"/>
              </p:cNvSpPr>
              <p:nvPr/>
            </p:nvSpPr>
            <p:spPr bwMode="auto">
              <a:xfrm>
                <a:off x="3194" y="3269"/>
                <a:ext cx="23" cy="34"/>
              </a:xfrm>
              <a:custGeom>
                <a:avLst/>
                <a:gdLst>
                  <a:gd name="T0" fmla="*/ 1 w 32"/>
                  <a:gd name="T1" fmla="*/ 1 h 48"/>
                  <a:gd name="T2" fmla="*/ 1 w 32"/>
                  <a:gd name="T3" fmla="*/ 1 h 48"/>
                  <a:gd name="T4" fmla="*/ 1 w 32"/>
                  <a:gd name="T5" fmla="*/ 1 h 48"/>
                  <a:gd name="T6" fmla="*/ 0 w 32"/>
                  <a:gd name="T7" fmla="*/ 1 h 48"/>
                  <a:gd name="T8" fmla="*/ 1 w 32"/>
                  <a:gd name="T9" fmla="*/ 0 h 48"/>
                  <a:gd name="T10" fmla="*/ 1 w 32"/>
                  <a:gd name="T11" fmla="*/ 0 h 48"/>
                  <a:gd name="T12" fmla="*/ 1 w 32"/>
                  <a:gd name="T13" fmla="*/ 0 h 48"/>
                  <a:gd name="T14" fmla="*/ 1 w 32"/>
                  <a:gd name="T15" fmla="*/ 1 h 4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2"/>
                  <a:gd name="T25" fmla="*/ 0 h 48"/>
                  <a:gd name="T26" fmla="*/ 32 w 32"/>
                  <a:gd name="T27" fmla="*/ 48 h 4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2" h="48">
                    <a:moveTo>
                      <a:pt x="32" y="24"/>
                    </a:moveTo>
                    <a:lnTo>
                      <a:pt x="24" y="48"/>
                    </a:lnTo>
                    <a:lnTo>
                      <a:pt x="8" y="48"/>
                    </a:lnTo>
                    <a:lnTo>
                      <a:pt x="0" y="32"/>
                    </a:lnTo>
                    <a:lnTo>
                      <a:pt x="8" y="0"/>
                    </a:lnTo>
                    <a:lnTo>
                      <a:pt x="16" y="0"/>
                    </a:lnTo>
                    <a:lnTo>
                      <a:pt x="24" y="0"/>
                    </a:lnTo>
                    <a:lnTo>
                      <a:pt x="32" y="24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194" name="Freeform 181"/>
              <p:cNvSpPr>
                <a:spLocks noChangeAspect="1"/>
              </p:cNvSpPr>
              <p:nvPr/>
            </p:nvSpPr>
            <p:spPr bwMode="auto">
              <a:xfrm>
                <a:off x="3144" y="3320"/>
                <a:ext cx="39" cy="33"/>
              </a:xfrm>
              <a:custGeom>
                <a:avLst/>
                <a:gdLst>
                  <a:gd name="T0" fmla="*/ 1 w 56"/>
                  <a:gd name="T1" fmla="*/ 0 h 48"/>
                  <a:gd name="T2" fmla="*/ 1 w 56"/>
                  <a:gd name="T3" fmla="*/ 1 h 48"/>
                  <a:gd name="T4" fmla="*/ 1 w 56"/>
                  <a:gd name="T5" fmla="*/ 1 h 48"/>
                  <a:gd name="T6" fmla="*/ 1 w 56"/>
                  <a:gd name="T7" fmla="*/ 1 h 48"/>
                  <a:gd name="T8" fmla="*/ 1 w 56"/>
                  <a:gd name="T9" fmla="*/ 1 h 48"/>
                  <a:gd name="T10" fmla="*/ 0 w 56"/>
                  <a:gd name="T11" fmla="*/ 1 h 48"/>
                  <a:gd name="T12" fmla="*/ 0 w 56"/>
                  <a:gd name="T13" fmla="*/ 1 h 48"/>
                  <a:gd name="T14" fmla="*/ 1 w 56"/>
                  <a:gd name="T15" fmla="*/ 0 h 48"/>
                  <a:gd name="T16" fmla="*/ 1 w 56"/>
                  <a:gd name="T17" fmla="*/ 0 h 4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6"/>
                  <a:gd name="T28" fmla="*/ 0 h 48"/>
                  <a:gd name="T29" fmla="*/ 56 w 56"/>
                  <a:gd name="T30" fmla="*/ 48 h 4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6" h="48">
                    <a:moveTo>
                      <a:pt x="56" y="0"/>
                    </a:moveTo>
                    <a:lnTo>
                      <a:pt x="56" y="16"/>
                    </a:lnTo>
                    <a:lnTo>
                      <a:pt x="40" y="32"/>
                    </a:lnTo>
                    <a:lnTo>
                      <a:pt x="40" y="40"/>
                    </a:lnTo>
                    <a:lnTo>
                      <a:pt x="16" y="48"/>
                    </a:lnTo>
                    <a:lnTo>
                      <a:pt x="0" y="32"/>
                    </a:lnTo>
                    <a:lnTo>
                      <a:pt x="0" y="24"/>
                    </a:lnTo>
                    <a:lnTo>
                      <a:pt x="24" y="0"/>
                    </a:lnTo>
                    <a:lnTo>
                      <a:pt x="56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195" name="Freeform 182"/>
              <p:cNvSpPr>
                <a:spLocks noChangeAspect="1"/>
              </p:cNvSpPr>
              <p:nvPr/>
            </p:nvSpPr>
            <p:spPr bwMode="auto">
              <a:xfrm>
                <a:off x="3189" y="3038"/>
                <a:ext cx="151" cy="253"/>
              </a:xfrm>
              <a:custGeom>
                <a:avLst/>
                <a:gdLst>
                  <a:gd name="T0" fmla="*/ 1 w 216"/>
                  <a:gd name="T1" fmla="*/ 1 h 360"/>
                  <a:gd name="T2" fmla="*/ 1 w 216"/>
                  <a:gd name="T3" fmla="*/ 1 h 360"/>
                  <a:gd name="T4" fmla="*/ 1 w 216"/>
                  <a:gd name="T5" fmla="*/ 1 h 360"/>
                  <a:gd name="T6" fmla="*/ 1 w 216"/>
                  <a:gd name="T7" fmla="*/ 1 h 360"/>
                  <a:gd name="T8" fmla="*/ 1 w 216"/>
                  <a:gd name="T9" fmla="*/ 1 h 360"/>
                  <a:gd name="T10" fmla="*/ 1 w 216"/>
                  <a:gd name="T11" fmla="*/ 1 h 360"/>
                  <a:gd name="T12" fmla="*/ 1 w 216"/>
                  <a:gd name="T13" fmla="*/ 1 h 360"/>
                  <a:gd name="T14" fmla="*/ 1 w 216"/>
                  <a:gd name="T15" fmla="*/ 1 h 360"/>
                  <a:gd name="T16" fmla="*/ 1 w 216"/>
                  <a:gd name="T17" fmla="*/ 1 h 360"/>
                  <a:gd name="T18" fmla="*/ 1 w 216"/>
                  <a:gd name="T19" fmla="*/ 1 h 360"/>
                  <a:gd name="T20" fmla="*/ 1 w 216"/>
                  <a:gd name="T21" fmla="*/ 1 h 360"/>
                  <a:gd name="T22" fmla="*/ 1 w 216"/>
                  <a:gd name="T23" fmla="*/ 1 h 360"/>
                  <a:gd name="T24" fmla="*/ 1 w 216"/>
                  <a:gd name="T25" fmla="*/ 1 h 360"/>
                  <a:gd name="T26" fmla="*/ 1 w 216"/>
                  <a:gd name="T27" fmla="*/ 1 h 360"/>
                  <a:gd name="T28" fmla="*/ 1 w 216"/>
                  <a:gd name="T29" fmla="*/ 1 h 360"/>
                  <a:gd name="T30" fmla="*/ 1 w 216"/>
                  <a:gd name="T31" fmla="*/ 1 h 360"/>
                  <a:gd name="T32" fmla="*/ 1 w 216"/>
                  <a:gd name="T33" fmla="*/ 1 h 360"/>
                  <a:gd name="T34" fmla="*/ 1 w 216"/>
                  <a:gd name="T35" fmla="*/ 0 h 360"/>
                  <a:gd name="T36" fmla="*/ 1 w 216"/>
                  <a:gd name="T37" fmla="*/ 1 h 360"/>
                  <a:gd name="T38" fmla="*/ 1 w 216"/>
                  <a:gd name="T39" fmla="*/ 1 h 360"/>
                  <a:gd name="T40" fmla="*/ 1 w 216"/>
                  <a:gd name="T41" fmla="*/ 1 h 360"/>
                  <a:gd name="T42" fmla="*/ 1 w 216"/>
                  <a:gd name="T43" fmla="*/ 1 h 360"/>
                  <a:gd name="T44" fmla="*/ 1 w 216"/>
                  <a:gd name="T45" fmla="*/ 1 h 360"/>
                  <a:gd name="T46" fmla="*/ 1 w 216"/>
                  <a:gd name="T47" fmla="*/ 1 h 360"/>
                  <a:gd name="T48" fmla="*/ 1 w 216"/>
                  <a:gd name="T49" fmla="*/ 1 h 360"/>
                  <a:gd name="T50" fmla="*/ 1 w 216"/>
                  <a:gd name="T51" fmla="*/ 1 h 360"/>
                  <a:gd name="T52" fmla="*/ 1 w 216"/>
                  <a:gd name="T53" fmla="*/ 1 h 360"/>
                  <a:gd name="T54" fmla="*/ 1 w 216"/>
                  <a:gd name="T55" fmla="*/ 1 h 360"/>
                  <a:gd name="T56" fmla="*/ 1 w 216"/>
                  <a:gd name="T57" fmla="*/ 1 h 360"/>
                  <a:gd name="T58" fmla="*/ 1 w 216"/>
                  <a:gd name="T59" fmla="*/ 1 h 360"/>
                  <a:gd name="T60" fmla="*/ 1 w 216"/>
                  <a:gd name="T61" fmla="*/ 1 h 360"/>
                  <a:gd name="T62" fmla="*/ 1 w 216"/>
                  <a:gd name="T63" fmla="*/ 1 h 360"/>
                  <a:gd name="T64" fmla="*/ 1 w 216"/>
                  <a:gd name="T65" fmla="*/ 1 h 360"/>
                  <a:gd name="T66" fmla="*/ 1 w 216"/>
                  <a:gd name="T67" fmla="*/ 1 h 360"/>
                  <a:gd name="T68" fmla="*/ 1 w 216"/>
                  <a:gd name="T69" fmla="*/ 1 h 360"/>
                  <a:gd name="T70" fmla="*/ 1 w 216"/>
                  <a:gd name="T71" fmla="*/ 1 h 360"/>
                  <a:gd name="T72" fmla="*/ 1 w 216"/>
                  <a:gd name="T73" fmla="*/ 1 h 360"/>
                  <a:gd name="T74" fmla="*/ 1 w 216"/>
                  <a:gd name="T75" fmla="*/ 1 h 360"/>
                  <a:gd name="T76" fmla="*/ 1 w 216"/>
                  <a:gd name="T77" fmla="*/ 1 h 360"/>
                  <a:gd name="T78" fmla="*/ 1 w 216"/>
                  <a:gd name="T79" fmla="*/ 1 h 360"/>
                  <a:gd name="T80" fmla="*/ 1 w 216"/>
                  <a:gd name="T81" fmla="*/ 1 h 360"/>
                  <a:gd name="T82" fmla="*/ 1 w 216"/>
                  <a:gd name="T83" fmla="*/ 1 h 360"/>
                  <a:gd name="T84" fmla="*/ 1 w 216"/>
                  <a:gd name="T85" fmla="*/ 1 h 360"/>
                  <a:gd name="T86" fmla="*/ 1 w 216"/>
                  <a:gd name="T87" fmla="*/ 1 h 360"/>
                  <a:gd name="T88" fmla="*/ 0 w 216"/>
                  <a:gd name="T89" fmla="*/ 1 h 360"/>
                  <a:gd name="T90" fmla="*/ 1 w 216"/>
                  <a:gd name="T91" fmla="*/ 1 h 360"/>
                  <a:gd name="T92" fmla="*/ 1 w 216"/>
                  <a:gd name="T93" fmla="*/ 1 h 360"/>
                  <a:gd name="T94" fmla="*/ 1 w 216"/>
                  <a:gd name="T95" fmla="*/ 1 h 360"/>
                  <a:gd name="T96" fmla="*/ 1 w 216"/>
                  <a:gd name="T97" fmla="*/ 1 h 360"/>
                  <a:gd name="T98" fmla="*/ 1 w 216"/>
                  <a:gd name="T99" fmla="*/ 1 h 360"/>
                  <a:gd name="T100" fmla="*/ 1 w 216"/>
                  <a:gd name="T101" fmla="*/ 1 h 360"/>
                  <a:gd name="T102" fmla="*/ 1 w 216"/>
                  <a:gd name="T103" fmla="*/ 1 h 360"/>
                  <a:gd name="T104" fmla="*/ 1 w 216"/>
                  <a:gd name="T105" fmla="*/ 1 h 360"/>
                  <a:gd name="T106" fmla="*/ 1 w 216"/>
                  <a:gd name="T107" fmla="*/ 1 h 360"/>
                  <a:gd name="T108" fmla="*/ 1 w 216"/>
                  <a:gd name="T109" fmla="*/ 1 h 360"/>
                  <a:gd name="T110" fmla="*/ 1 w 216"/>
                  <a:gd name="T111" fmla="*/ 1 h 360"/>
                  <a:gd name="T112" fmla="*/ 1 w 216"/>
                  <a:gd name="T113" fmla="*/ 1 h 360"/>
                  <a:gd name="T114" fmla="*/ 1 w 216"/>
                  <a:gd name="T115" fmla="*/ 1 h 360"/>
                  <a:gd name="T116" fmla="*/ 1 w 216"/>
                  <a:gd name="T117" fmla="*/ 1 h 36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16"/>
                  <a:gd name="T178" fmla="*/ 0 h 360"/>
                  <a:gd name="T179" fmla="*/ 216 w 216"/>
                  <a:gd name="T180" fmla="*/ 360 h 360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16" h="360">
                    <a:moveTo>
                      <a:pt x="56" y="360"/>
                    </a:moveTo>
                    <a:lnTo>
                      <a:pt x="56" y="344"/>
                    </a:lnTo>
                    <a:lnTo>
                      <a:pt x="56" y="336"/>
                    </a:lnTo>
                    <a:lnTo>
                      <a:pt x="64" y="328"/>
                    </a:lnTo>
                    <a:lnTo>
                      <a:pt x="104" y="312"/>
                    </a:lnTo>
                    <a:lnTo>
                      <a:pt x="112" y="288"/>
                    </a:lnTo>
                    <a:lnTo>
                      <a:pt x="104" y="248"/>
                    </a:lnTo>
                    <a:lnTo>
                      <a:pt x="96" y="208"/>
                    </a:lnTo>
                    <a:lnTo>
                      <a:pt x="96" y="200"/>
                    </a:lnTo>
                    <a:lnTo>
                      <a:pt x="112" y="184"/>
                    </a:lnTo>
                    <a:lnTo>
                      <a:pt x="128" y="176"/>
                    </a:lnTo>
                    <a:lnTo>
                      <a:pt x="136" y="168"/>
                    </a:lnTo>
                    <a:lnTo>
                      <a:pt x="152" y="152"/>
                    </a:lnTo>
                    <a:lnTo>
                      <a:pt x="192" y="136"/>
                    </a:lnTo>
                    <a:lnTo>
                      <a:pt x="216" y="104"/>
                    </a:lnTo>
                    <a:lnTo>
                      <a:pt x="216" y="56"/>
                    </a:lnTo>
                    <a:lnTo>
                      <a:pt x="216" y="40"/>
                    </a:lnTo>
                    <a:lnTo>
                      <a:pt x="216" y="0"/>
                    </a:lnTo>
                    <a:lnTo>
                      <a:pt x="200" y="8"/>
                    </a:lnTo>
                    <a:lnTo>
                      <a:pt x="192" y="16"/>
                    </a:lnTo>
                    <a:lnTo>
                      <a:pt x="184" y="16"/>
                    </a:lnTo>
                    <a:lnTo>
                      <a:pt x="168" y="32"/>
                    </a:lnTo>
                    <a:lnTo>
                      <a:pt x="152" y="32"/>
                    </a:lnTo>
                    <a:lnTo>
                      <a:pt x="144" y="32"/>
                    </a:lnTo>
                    <a:lnTo>
                      <a:pt x="128" y="32"/>
                    </a:lnTo>
                    <a:lnTo>
                      <a:pt x="96" y="32"/>
                    </a:lnTo>
                    <a:lnTo>
                      <a:pt x="96" y="56"/>
                    </a:lnTo>
                    <a:lnTo>
                      <a:pt x="104" y="72"/>
                    </a:lnTo>
                    <a:lnTo>
                      <a:pt x="112" y="88"/>
                    </a:lnTo>
                    <a:lnTo>
                      <a:pt x="112" y="112"/>
                    </a:lnTo>
                    <a:lnTo>
                      <a:pt x="104" y="128"/>
                    </a:lnTo>
                    <a:lnTo>
                      <a:pt x="112" y="144"/>
                    </a:lnTo>
                    <a:lnTo>
                      <a:pt x="104" y="144"/>
                    </a:lnTo>
                    <a:lnTo>
                      <a:pt x="88" y="136"/>
                    </a:lnTo>
                    <a:lnTo>
                      <a:pt x="88" y="120"/>
                    </a:lnTo>
                    <a:lnTo>
                      <a:pt x="88" y="104"/>
                    </a:lnTo>
                    <a:lnTo>
                      <a:pt x="88" y="88"/>
                    </a:lnTo>
                    <a:lnTo>
                      <a:pt x="80" y="88"/>
                    </a:lnTo>
                    <a:lnTo>
                      <a:pt x="72" y="80"/>
                    </a:lnTo>
                    <a:lnTo>
                      <a:pt x="64" y="80"/>
                    </a:lnTo>
                    <a:lnTo>
                      <a:pt x="40" y="88"/>
                    </a:lnTo>
                    <a:lnTo>
                      <a:pt x="32" y="88"/>
                    </a:lnTo>
                    <a:lnTo>
                      <a:pt x="16" y="96"/>
                    </a:lnTo>
                    <a:lnTo>
                      <a:pt x="8" y="96"/>
                    </a:lnTo>
                    <a:lnTo>
                      <a:pt x="0" y="112"/>
                    </a:lnTo>
                    <a:lnTo>
                      <a:pt x="48" y="128"/>
                    </a:lnTo>
                    <a:lnTo>
                      <a:pt x="56" y="144"/>
                    </a:lnTo>
                    <a:lnTo>
                      <a:pt x="64" y="168"/>
                    </a:lnTo>
                    <a:lnTo>
                      <a:pt x="56" y="176"/>
                    </a:lnTo>
                    <a:lnTo>
                      <a:pt x="56" y="192"/>
                    </a:lnTo>
                    <a:lnTo>
                      <a:pt x="64" y="200"/>
                    </a:lnTo>
                    <a:lnTo>
                      <a:pt x="64" y="208"/>
                    </a:lnTo>
                    <a:lnTo>
                      <a:pt x="40" y="224"/>
                    </a:lnTo>
                    <a:lnTo>
                      <a:pt x="40" y="248"/>
                    </a:lnTo>
                    <a:lnTo>
                      <a:pt x="32" y="256"/>
                    </a:lnTo>
                    <a:lnTo>
                      <a:pt x="40" y="304"/>
                    </a:lnTo>
                    <a:lnTo>
                      <a:pt x="32" y="328"/>
                    </a:lnTo>
                    <a:lnTo>
                      <a:pt x="40" y="352"/>
                    </a:lnTo>
                    <a:lnTo>
                      <a:pt x="56" y="360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196" name="Freeform 183"/>
              <p:cNvSpPr>
                <a:spLocks noChangeAspect="1"/>
              </p:cNvSpPr>
              <p:nvPr/>
            </p:nvSpPr>
            <p:spPr bwMode="auto">
              <a:xfrm>
                <a:off x="3245" y="2824"/>
                <a:ext cx="112" cy="130"/>
              </a:xfrm>
              <a:custGeom>
                <a:avLst/>
                <a:gdLst>
                  <a:gd name="T0" fmla="*/ 1 w 160"/>
                  <a:gd name="T1" fmla="*/ 1 h 184"/>
                  <a:gd name="T2" fmla="*/ 1 w 160"/>
                  <a:gd name="T3" fmla="*/ 1 h 184"/>
                  <a:gd name="T4" fmla="*/ 1 w 160"/>
                  <a:gd name="T5" fmla="*/ 1 h 184"/>
                  <a:gd name="T6" fmla="*/ 1 w 160"/>
                  <a:gd name="T7" fmla="*/ 1 h 184"/>
                  <a:gd name="T8" fmla="*/ 1 w 160"/>
                  <a:gd name="T9" fmla="*/ 1 h 184"/>
                  <a:gd name="T10" fmla="*/ 1 w 160"/>
                  <a:gd name="T11" fmla="*/ 1 h 184"/>
                  <a:gd name="T12" fmla="*/ 1 w 160"/>
                  <a:gd name="T13" fmla="*/ 1 h 184"/>
                  <a:gd name="T14" fmla="*/ 1 w 160"/>
                  <a:gd name="T15" fmla="*/ 1 h 184"/>
                  <a:gd name="T16" fmla="*/ 1 w 160"/>
                  <a:gd name="T17" fmla="*/ 1 h 184"/>
                  <a:gd name="T18" fmla="*/ 1 w 160"/>
                  <a:gd name="T19" fmla="*/ 1 h 184"/>
                  <a:gd name="T20" fmla="*/ 1 w 160"/>
                  <a:gd name="T21" fmla="*/ 1 h 184"/>
                  <a:gd name="T22" fmla="*/ 1 w 160"/>
                  <a:gd name="T23" fmla="*/ 1 h 184"/>
                  <a:gd name="T24" fmla="*/ 1 w 160"/>
                  <a:gd name="T25" fmla="*/ 1 h 184"/>
                  <a:gd name="T26" fmla="*/ 1 w 160"/>
                  <a:gd name="T27" fmla="*/ 0 h 184"/>
                  <a:gd name="T28" fmla="*/ 1 w 160"/>
                  <a:gd name="T29" fmla="*/ 0 h 184"/>
                  <a:gd name="T30" fmla="*/ 0 w 160"/>
                  <a:gd name="T31" fmla="*/ 0 h 184"/>
                  <a:gd name="T32" fmla="*/ 1 w 160"/>
                  <a:gd name="T33" fmla="*/ 1 h 184"/>
                  <a:gd name="T34" fmla="*/ 1 w 160"/>
                  <a:gd name="T35" fmla="*/ 1 h 184"/>
                  <a:gd name="T36" fmla="*/ 1 w 160"/>
                  <a:gd name="T37" fmla="*/ 1 h 184"/>
                  <a:gd name="T38" fmla="*/ 0 w 160"/>
                  <a:gd name="T39" fmla="*/ 1 h 184"/>
                  <a:gd name="T40" fmla="*/ 0 w 160"/>
                  <a:gd name="T41" fmla="*/ 1 h 184"/>
                  <a:gd name="T42" fmla="*/ 1 w 160"/>
                  <a:gd name="T43" fmla="*/ 1 h 184"/>
                  <a:gd name="T44" fmla="*/ 1 w 160"/>
                  <a:gd name="T45" fmla="*/ 1 h 184"/>
                  <a:gd name="T46" fmla="*/ 1 w 160"/>
                  <a:gd name="T47" fmla="*/ 1 h 184"/>
                  <a:gd name="T48" fmla="*/ 1 w 160"/>
                  <a:gd name="T49" fmla="*/ 1 h 184"/>
                  <a:gd name="T50" fmla="*/ 1 w 160"/>
                  <a:gd name="T51" fmla="*/ 1 h 184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60"/>
                  <a:gd name="T79" fmla="*/ 0 h 184"/>
                  <a:gd name="T80" fmla="*/ 160 w 160"/>
                  <a:gd name="T81" fmla="*/ 184 h 184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60" h="184">
                    <a:moveTo>
                      <a:pt x="112" y="184"/>
                    </a:moveTo>
                    <a:lnTo>
                      <a:pt x="120" y="168"/>
                    </a:lnTo>
                    <a:lnTo>
                      <a:pt x="128" y="152"/>
                    </a:lnTo>
                    <a:lnTo>
                      <a:pt x="136" y="144"/>
                    </a:lnTo>
                    <a:lnTo>
                      <a:pt x="136" y="136"/>
                    </a:lnTo>
                    <a:lnTo>
                      <a:pt x="152" y="128"/>
                    </a:lnTo>
                    <a:lnTo>
                      <a:pt x="160" y="120"/>
                    </a:lnTo>
                    <a:lnTo>
                      <a:pt x="152" y="112"/>
                    </a:lnTo>
                    <a:lnTo>
                      <a:pt x="152" y="24"/>
                    </a:lnTo>
                    <a:lnTo>
                      <a:pt x="160" y="8"/>
                    </a:lnTo>
                    <a:lnTo>
                      <a:pt x="128" y="8"/>
                    </a:lnTo>
                    <a:lnTo>
                      <a:pt x="104" y="16"/>
                    </a:lnTo>
                    <a:lnTo>
                      <a:pt x="88" y="16"/>
                    </a:lnTo>
                    <a:lnTo>
                      <a:pt x="48" y="0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8" y="16"/>
                    </a:lnTo>
                    <a:lnTo>
                      <a:pt x="24" y="48"/>
                    </a:lnTo>
                    <a:lnTo>
                      <a:pt x="24" y="64"/>
                    </a:lnTo>
                    <a:lnTo>
                      <a:pt x="0" y="80"/>
                    </a:lnTo>
                    <a:lnTo>
                      <a:pt x="0" y="112"/>
                    </a:lnTo>
                    <a:lnTo>
                      <a:pt x="32" y="128"/>
                    </a:lnTo>
                    <a:lnTo>
                      <a:pt x="72" y="144"/>
                    </a:lnTo>
                    <a:lnTo>
                      <a:pt x="72" y="152"/>
                    </a:lnTo>
                    <a:lnTo>
                      <a:pt x="72" y="168"/>
                    </a:lnTo>
                    <a:lnTo>
                      <a:pt x="112" y="184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197" name="Freeform 184"/>
              <p:cNvSpPr>
                <a:spLocks noChangeAspect="1"/>
              </p:cNvSpPr>
              <p:nvPr/>
            </p:nvSpPr>
            <p:spPr bwMode="auto">
              <a:xfrm>
                <a:off x="3357" y="2706"/>
                <a:ext cx="23" cy="28"/>
              </a:xfrm>
              <a:custGeom>
                <a:avLst/>
                <a:gdLst>
                  <a:gd name="T0" fmla="*/ 0 w 32"/>
                  <a:gd name="T1" fmla="*/ 1 h 40"/>
                  <a:gd name="T2" fmla="*/ 0 w 32"/>
                  <a:gd name="T3" fmla="*/ 1 h 40"/>
                  <a:gd name="T4" fmla="*/ 1 w 32"/>
                  <a:gd name="T5" fmla="*/ 1 h 40"/>
                  <a:gd name="T6" fmla="*/ 1 w 32"/>
                  <a:gd name="T7" fmla="*/ 1 h 40"/>
                  <a:gd name="T8" fmla="*/ 1 w 32"/>
                  <a:gd name="T9" fmla="*/ 1 h 40"/>
                  <a:gd name="T10" fmla="*/ 1 w 32"/>
                  <a:gd name="T11" fmla="*/ 1 h 40"/>
                  <a:gd name="T12" fmla="*/ 1 w 32"/>
                  <a:gd name="T13" fmla="*/ 1 h 40"/>
                  <a:gd name="T14" fmla="*/ 1 w 32"/>
                  <a:gd name="T15" fmla="*/ 0 h 40"/>
                  <a:gd name="T16" fmla="*/ 1 w 32"/>
                  <a:gd name="T17" fmla="*/ 0 h 40"/>
                  <a:gd name="T18" fmla="*/ 1 w 32"/>
                  <a:gd name="T19" fmla="*/ 0 h 40"/>
                  <a:gd name="T20" fmla="*/ 1 w 32"/>
                  <a:gd name="T21" fmla="*/ 1 h 40"/>
                  <a:gd name="T22" fmla="*/ 0 w 32"/>
                  <a:gd name="T23" fmla="*/ 1 h 4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2"/>
                  <a:gd name="T37" fmla="*/ 0 h 40"/>
                  <a:gd name="T38" fmla="*/ 32 w 32"/>
                  <a:gd name="T39" fmla="*/ 40 h 40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2" h="40">
                    <a:moveTo>
                      <a:pt x="0" y="16"/>
                    </a:moveTo>
                    <a:lnTo>
                      <a:pt x="0" y="32"/>
                    </a:lnTo>
                    <a:lnTo>
                      <a:pt x="8" y="40"/>
                    </a:lnTo>
                    <a:lnTo>
                      <a:pt x="16" y="40"/>
                    </a:lnTo>
                    <a:lnTo>
                      <a:pt x="32" y="32"/>
                    </a:lnTo>
                    <a:lnTo>
                      <a:pt x="16" y="24"/>
                    </a:lnTo>
                    <a:lnTo>
                      <a:pt x="32" y="16"/>
                    </a:lnTo>
                    <a:lnTo>
                      <a:pt x="32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8" y="8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198" name="Freeform 185"/>
              <p:cNvSpPr>
                <a:spLocks noChangeAspect="1"/>
              </p:cNvSpPr>
              <p:nvPr/>
            </p:nvSpPr>
            <p:spPr bwMode="auto">
              <a:xfrm>
                <a:off x="3115" y="2419"/>
                <a:ext cx="152" cy="152"/>
              </a:xfrm>
              <a:custGeom>
                <a:avLst/>
                <a:gdLst>
                  <a:gd name="T0" fmla="*/ 1 w 216"/>
                  <a:gd name="T1" fmla="*/ 0 h 216"/>
                  <a:gd name="T2" fmla="*/ 1 w 216"/>
                  <a:gd name="T3" fmla="*/ 0 h 216"/>
                  <a:gd name="T4" fmla="*/ 1 w 216"/>
                  <a:gd name="T5" fmla="*/ 0 h 216"/>
                  <a:gd name="T6" fmla="*/ 1 w 216"/>
                  <a:gd name="T7" fmla="*/ 1 h 216"/>
                  <a:gd name="T8" fmla="*/ 1 w 216"/>
                  <a:gd name="T9" fmla="*/ 1 h 216"/>
                  <a:gd name="T10" fmla="*/ 1 w 216"/>
                  <a:gd name="T11" fmla="*/ 1 h 216"/>
                  <a:gd name="T12" fmla="*/ 1 w 216"/>
                  <a:gd name="T13" fmla="*/ 1 h 216"/>
                  <a:gd name="T14" fmla="*/ 1 w 216"/>
                  <a:gd name="T15" fmla="*/ 0 h 216"/>
                  <a:gd name="T16" fmla="*/ 1 w 216"/>
                  <a:gd name="T17" fmla="*/ 0 h 216"/>
                  <a:gd name="T18" fmla="*/ 1 w 216"/>
                  <a:gd name="T19" fmla="*/ 0 h 216"/>
                  <a:gd name="T20" fmla="*/ 1 w 216"/>
                  <a:gd name="T21" fmla="*/ 1 h 216"/>
                  <a:gd name="T22" fmla="*/ 1 w 216"/>
                  <a:gd name="T23" fmla="*/ 1 h 216"/>
                  <a:gd name="T24" fmla="*/ 1 w 216"/>
                  <a:gd name="T25" fmla="*/ 1 h 216"/>
                  <a:gd name="T26" fmla="*/ 1 w 216"/>
                  <a:gd name="T27" fmla="*/ 0 h 216"/>
                  <a:gd name="T28" fmla="*/ 1 w 216"/>
                  <a:gd name="T29" fmla="*/ 1 h 216"/>
                  <a:gd name="T30" fmla="*/ 1 w 216"/>
                  <a:gd name="T31" fmla="*/ 1 h 216"/>
                  <a:gd name="T32" fmla="*/ 1 w 216"/>
                  <a:gd name="T33" fmla="*/ 1 h 216"/>
                  <a:gd name="T34" fmla="*/ 1 w 216"/>
                  <a:gd name="T35" fmla="*/ 1 h 216"/>
                  <a:gd name="T36" fmla="*/ 1 w 216"/>
                  <a:gd name="T37" fmla="*/ 1 h 216"/>
                  <a:gd name="T38" fmla="*/ 1 w 216"/>
                  <a:gd name="T39" fmla="*/ 1 h 216"/>
                  <a:gd name="T40" fmla="*/ 1 w 216"/>
                  <a:gd name="T41" fmla="*/ 1 h 216"/>
                  <a:gd name="T42" fmla="*/ 1 w 216"/>
                  <a:gd name="T43" fmla="*/ 1 h 216"/>
                  <a:gd name="T44" fmla="*/ 1 w 216"/>
                  <a:gd name="T45" fmla="*/ 1 h 216"/>
                  <a:gd name="T46" fmla="*/ 1 w 216"/>
                  <a:gd name="T47" fmla="*/ 1 h 216"/>
                  <a:gd name="T48" fmla="*/ 1 w 216"/>
                  <a:gd name="T49" fmla="*/ 1 h 216"/>
                  <a:gd name="T50" fmla="*/ 1 w 216"/>
                  <a:gd name="T51" fmla="*/ 1 h 216"/>
                  <a:gd name="T52" fmla="*/ 1 w 216"/>
                  <a:gd name="T53" fmla="*/ 1 h 216"/>
                  <a:gd name="T54" fmla="*/ 1 w 216"/>
                  <a:gd name="T55" fmla="*/ 1 h 216"/>
                  <a:gd name="T56" fmla="*/ 1 w 216"/>
                  <a:gd name="T57" fmla="*/ 1 h 216"/>
                  <a:gd name="T58" fmla="*/ 1 w 216"/>
                  <a:gd name="T59" fmla="*/ 1 h 216"/>
                  <a:gd name="T60" fmla="*/ 1 w 216"/>
                  <a:gd name="T61" fmla="*/ 1 h 216"/>
                  <a:gd name="T62" fmla="*/ 1 w 216"/>
                  <a:gd name="T63" fmla="*/ 1 h 216"/>
                  <a:gd name="T64" fmla="*/ 1 w 216"/>
                  <a:gd name="T65" fmla="*/ 1 h 216"/>
                  <a:gd name="T66" fmla="*/ 1 w 216"/>
                  <a:gd name="T67" fmla="*/ 1 h 216"/>
                  <a:gd name="T68" fmla="*/ 1 w 216"/>
                  <a:gd name="T69" fmla="*/ 1 h 216"/>
                  <a:gd name="T70" fmla="*/ 1 w 216"/>
                  <a:gd name="T71" fmla="*/ 1 h 216"/>
                  <a:gd name="T72" fmla="*/ 1 w 216"/>
                  <a:gd name="T73" fmla="*/ 1 h 216"/>
                  <a:gd name="T74" fmla="*/ 1 w 216"/>
                  <a:gd name="T75" fmla="*/ 1 h 216"/>
                  <a:gd name="T76" fmla="*/ 1 w 216"/>
                  <a:gd name="T77" fmla="*/ 1 h 216"/>
                  <a:gd name="T78" fmla="*/ 1 w 216"/>
                  <a:gd name="T79" fmla="*/ 1 h 216"/>
                  <a:gd name="T80" fmla="*/ 1 w 216"/>
                  <a:gd name="T81" fmla="*/ 1 h 216"/>
                  <a:gd name="T82" fmla="*/ 0 w 216"/>
                  <a:gd name="T83" fmla="*/ 1 h 216"/>
                  <a:gd name="T84" fmla="*/ 1 w 216"/>
                  <a:gd name="T85" fmla="*/ 1 h 216"/>
                  <a:gd name="T86" fmla="*/ 1 w 216"/>
                  <a:gd name="T87" fmla="*/ 0 h 21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216"/>
                  <a:gd name="T133" fmla="*/ 0 h 216"/>
                  <a:gd name="T134" fmla="*/ 216 w 216"/>
                  <a:gd name="T135" fmla="*/ 216 h 21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216" h="216">
                    <a:moveTo>
                      <a:pt x="8" y="0"/>
                    </a:moveTo>
                    <a:lnTo>
                      <a:pt x="24" y="0"/>
                    </a:lnTo>
                    <a:lnTo>
                      <a:pt x="40" y="0"/>
                    </a:lnTo>
                    <a:lnTo>
                      <a:pt x="56" y="8"/>
                    </a:lnTo>
                    <a:lnTo>
                      <a:pt x="80" y="16"/>
                    </a:lnTo>
                    <a:lnTo>
                      <a:pt x="96" y="8"/>
                    </a:lnTo>
                    <a:lnTo>
                      <a:pt x="104" y="8"/>
                    </a:lnTo>
                    <a:lnTo>
                      <a:pt x="112" y="0"/>
                    </a:lnTo>
                    <a:lnTo>
                      <a:pt x="120" y="0"/>
                    </a:lnTo>
                    <a:lnTo>
                      <a:pt x="128" y="0"/>
                    </a:lnTo>
                    <a:lnTo>
                      <a:pt x="144" y="8"/>
                    </a:lnTo>
                    <a:lnTo>
                      <a:pt x="152" y="8"/>
                    </a:lnTo>
                    <a:lnTo>
                      <a:pt x="168" y="8"/>
                    </a:lnTo>
                    <a:lnTo>
                      <a:pt x="184" y="0"/>
                    </a:lnTo>
                    <a:lnTo>
                      <a:pt x="192" y="8"/>
                    </a:lnTo>
                    <a:lnTo>
                      <a:pt x="192" y="24"/>
                    </a:lnTo>
                    <a:lnTo>
                      <a:pt x="200" y="40"/>
                    </a:lnTo>
                    <a:lnTo>
                      <a:pt x="192" y="64"/>
                    </a:lnTo>
                    <a:lnTo>
                      <a:pt x="192" y="80"/>
                    </a:lnTo>
                    <a:lnTo>
                      <a:pt x="184" y="80"/>
                    </a:lnTo>
                    <a:lnTo>
                      <a:pt x="168" y="64"/>
                    </a:lnTo>
                    <a:lnTo>
                      <a:pt x="160" y="48"/>
                    </a:lnTo>
                    <a:lnTo>
                      <a:pt x="160" y="32"/>
                    </a:lnTo>
                    <a:lnTo>
                      <a:pt x="152" y="24"/>
                    </a:lnTo>
                    <a:lnTo>
                      <a:pt x="152" y="32"/>
                    </a:lnTo>
                    <a:lnTo>
                      <a:pt x="152" y="64"/>
                    </a:lnTo>
                    <a:lnTo>
                      <a:pt x="168" y="80"/>
                    </a:lnTo>
                    <a:lnTo>
                      <a:pt x="176" y="88"/>
                    </a:lnTo>
                    <a:lnTo>
                      <a:pt x="184" y="104"/>
                    </a:lnTo>
                    <a:lnTo>
                      <a:pt x="200" y="136"/>
                    </a:lnTo>
                    <a:lnTo>
                      <a:pt x="208" y="160"/>
                    </a:lnTo>
                    <a:lnTo>
                      <a:pt x="216" y="184"/>
                    </a:lnTo>
                    <a:lnTo>
                      <a:pt x="200" y="200"/>
                    </a:lnTo>
                    <a:lnTo>
                      <a:pt x="184" y="208"/>
                    </a:lnTo>
                    <a:lnTo>
                      <a:pt x="184" y="216"/>
                    </a:lnTo>
                    <a:lnTo>
                      <a:pt x="176" y="216"/>
                    </a:lnTo>
                    <a:lnTo>
                      <a:pt x="168" y="208"/>
                    </a:lnTo>
                    <a:lnTo>
                      <a:pt x="72" y="216"/>
                    </a:lnTo>
                    <a:lnTo>
                      <a:pt x="8" y="208"/>
                    </a:lnTo>
                    <a:lnTo>
                      <a:pt x="8" y="160"/>
                    </a:lnTo>
                    <a:lnTo>
                      <a:pt x="8" y="64"/>
                    </a:lnTo>
                    <a:lnTo>
                      <a:pt x="0" y="24"/>
                    </a:lnTo>
                    <a:lnTo>
                      <a:pt x="8" y="16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199" name="Freeform 186"/>
              <p:cNvSpPr>
                <a:spLocks noChangeAspect="1"/>
              </p:cNvSpPr>
              <p:nvPr/>
            </p:nvSpPr>
            <p:spPr bwMode="auto">
              <a:xfrm>
                <a:off x="3082" y="2549"/>
                <a:ext cx="230" cy="287"/>
              </a:xfrm>
              <a:custGeom>
                <a:avLst/>
                <a:gdLst>
                  <a:gd name="T0" fmla="*/ 1 w 328"/>
                  <a:gd name="T1" fmla="*/ 1 h 408"/>
                  <a:gd name="T2" fmla="*/ 1 w 328"/>
                  <a:gd name="T3" fmla="*/ 1 h 408"/>
                  <a:gd name="T4" fmla="*/ 1 w 328"/>
                  <a:gd name="T5" fmla="*/ 1 h 408"/>
                  <a:gd name="T6" fmla="*/ 1 w 328"/>
                  <a:gd name="T7" fmla="*/ 1 h 408"/>
                  <a:gd name="T8" fmla="*/ 1 w 328"/>
                  <a:gd name="T9" fmla="*/ 1 h 408"/>
                  <a:gd name="T10" fmla="*/ 1 w 328"/>
                  <a:gd name="T11" fmla="*/ 1 h 408"/>
                  <a:gd name="T12" fmla="*/ 1 w 328"/>
                  <a:gd name="T13" fmla="*/ 1 h 408"/>
                  <a:gd name="T14" fmla="*/ 1 w 328"/>
                  <a:gd name="T15" fmla="*/ 1 h 408"/>
                  <a:gd name="T16" fmla="*/ 1 w 328"/>
                  <a:gd name="T17" fmla="*/ 1 h 408"/>
                  <a:gd name="T18" fmla="*/ 1 w 328"/>
                  <a:gd name="T19" fmla="*/ 0 h 408"/>
                  <a:gd name="T20" fmla="*/ 1 w 328"/>
                  <a:gd name="T21" fmla="*/ 1 h 408"/>
                  <a:gd name="T22" fmla="*/ 1 w 328"/>
                  <a:gd name="T23" fmla="*/ 1 h 408"/>
                  <a:gd name="T24" fmla="*/ 1 w 328"/>
                  <a:gd name="T25" fmla="*/ 1 h 408"/>
                  <a:gd name="T26" fmla="*/ 1 w 328"/>
                  <a:gd name="T27" fmla="*/ 1 h 408"/>
                  <a:gd name="T28" fmla="*/ 1 w 328"/>
                  <a:gd name="T29" fmla="*/ 1 h 408"/>
                  <a:gd name="T30" fmla="*/ 1 w 328"/>
                  <a:gd name="T31" fmla="*/ 1 h 408"/>
                  <a:gd name="T32" fmla="*/ 1 w 328"/>
                  <a:gd name="T33" fmla="*/ 1 h 408"/>
                  <a:gd name="T34" fmla="*/ 1 w 328"/>
                  <a:gd name="T35" fmla="*/ 1 h 408"/>
                  <a:gd name="T36" fmla="*/ 1 w 328"/>
                  <a:gd name="T37" fmla="*/ 1 h 408"/>
                  <a:gd name="T38" fmla="*/ 1 w 328"/>
                  <a:gd name="T39" fmla="*/ 1 h 408"/>
                  <a:gd name="T40" fmla="*/ 1 w 328"/>
                  <a:gd name="T41" fmla="*/ 1 h 408"/>
                  <a:gd name="T42" fmla="*/ 1 w 328"/>
                  <a:gd name="T43" fmla="*/ 1 h 408"/>
                  <a:gd name="T44" fmla="*/ 1 w 328"/>
                  <a:gd name="T45" fmla="*/ 1 h 408"/>
                  <a:gd name="T46" fmla="*/ 1 w 328"/>
                  <a:gd name="T47" fmla="*/ 1 h 408"/>
                  <a:gd name="T48" fmla="*/ 1 w 328"/>
                  <a:gd name="T49" fmla="*/ 1 h 408"/>
                  <a:gd name="T50" fmla="*/ 1 w 328"/>
                  <a:gd name="T51" fmla="*/ 1 h 408"/>
                  <a:gd name="T52" fmla="*/ 1 w 328"/>
                  <a:gd name="T53" fmla="*/ 1 h 408"/>
                  <a:gd name="T54" fmla="*/ 1 w 328"/>
                  <a:gd name="T55" fmla="*/ 1 h 408"/>
                  <a:gd name="T56" fmla="*/ 1 w 328"/>
                  <a:gd name="T57" fmla="*/ 1 h 408"/>
                  <a:gd name="T58" fmla="*/ 1 w 328"/>
                  <a:gd name="T59" fmla="*/ 1 h 408"/>
                  <a:gd name="T60" fmla="*/ 1 w 328"/>
                  <a:gd name="T61" fmla="*/ 1 h 408"/>
                  <a:gd name="T62" fmla="*/ 1 w 328"/>
                  <a:gd name="T63" fmla="*/ 1 h 408"/>
                  <a:gd name="T64" fmla="*/ 1 w 328"/>
                  <a:gd name="T65" fmla="*/ 1 h 408"/>
                  <a:gd name="T66" fmla="*/ 1 w 328"/>
                  <a:gd name="T67" fmla="*/ 1 h 408"/>
                  <a:gd name="T68" fmla="*/ 1 w 328"/>
                  <a:gd name="T69" fmla="*/ 1 h 408"/>
                  <a:gd name="T70" fmla="*/ 1 w 328"/>
                  <a:gd name="T71" fmla="*/ 1 h 408"/>
                  <a:gd name="T72" fmla="*/ 1 w 328"/>
                  <a:gd name="T73" fmla="*/ 1 h 408"/>
                  <a:gd name="T74" fmla="*/ 1 w 328"/>
                  <a:gd name="T75" fmla="*/ 1 h 408"/>
                  <a:gd name="T76" fmla="*/ 1 w 328"/>
                  <a:gd name="T77" fmla="*/ 1 h 408"/>
                  <a:gd name="T78" fmla="*/ 1 w 328"/>
                  <a:gd name="T79" fmla="*/ 1 h 408"/>
                  <a:gd name="T80" fmla="*/ 1 w 328"/>
                  <a:gd name="T81" fmla="*/ 1 h 408"/>
                  <a:gd name="T82" fmla="*/ 1 w 328"/>
                  <a:gd name="T83" fmla="*/ 1 h 408"/>
                  <a:gd name="T84" fmla="*/ 1 w 328"/>
                  <a:gd name="T85" fmla="*/ 1 h 408"/>
                  <a:gd name="T86" fmla="*/ 1 w 328"/>
                  <a:gd name="T87" fmla="*/ 1 h 408"/>
                  <a:gd name="T88" fmla="*/ 1 w 328"/>
                  <a:gd name="T89" fmla="*/ 1 h 408"/>
                  <a:gd name="T90" fmla="*/ 1 w 328"/>
                  <a:gd name="T91" fmla="*/ 1 h 408"/>
                  <a:gd name="T92" fmla="*/ 1 w 328"/>
                  <a:gd name="T93" fmla="*/ 1 h 408"/>
                  <a:gd name="T94" fmla="*/ 1 w 328"/>
                  <a:gd name="T95" fmla="*/ 1 h 408"/>
                  <a:gd name="T96" fmla="*/ 1 w 328"/>
                  <a:gd name="T97" fmla="*/ 1 h 408"/>
                  <a:gd name="T98" fmla="*/ 1 w 328"/>
                  <a:gd name="T99" fmla="*/ 1 h 408"/>
                  <a:gd name="T100" fmla="*/ 1 w 328"/>
                  <a:gd name="T101" fmla="*/ 1 h 408"/>
                  <a:gd name="T102" fmla="*/ 0 w 328"/>
                  <a:gd name="T103" fmla="*/ 1 h 408"/>
                  <a:gd name="T104" fmla="*/ 0 w 328"/>
                  <a:gd name="T105" fmla="*/ 1 h 408"/>
                  <a:gd name="T106" fmla="*/ 1 w 328"/>
                  <a:gd name="T107" fmla="*/ 1 h 408"/>
                  <a:gd name="T108" fmla="*/ 1 w 328"/>
                  <a:gd name="T109" fmla="*/ 1 h 408"/>
                  <a:gd name="T110" fmla="*/ 1 w 328"/>
                  <a:gd name="T111" fmla="*/ 1 h 408"/>
                  <a:gd name="T112" fmla="*/ 1 w 328"/>
                  <a:gd name="T113" fmla="*/ 1 h 408"/>
                  <a:gd name="T114" fmla="*/ 1 w 328"/>
                  <a:gd name="T115" fmla="*/ 1 h 40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328"/>
                  <a:gd name="T175" fmla="*/ 0 h 408"/>
                  <a:gd name="T176" fmla="*/ 328 w 328"/>
                  <a:gd name="T177" fmla="*/ 408 h 408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328" h="408">
                    <a:moveTo>
                      <a:pt x="40" y="72"/>
                    </a:moveTo>
                    <a:lnTo>
                      <a:pt x="56" y="72"/>
                    </a:lnTo>
                    <a:lnTo>
                      <a:pt x="56" y="24"/>
                    </a:lnTo>
                    <a:lnTo>
                      <a:pt x="120" y="32"/>
                    </a:lnTo>
                    <a:lnTo>
                      <a:pt x="216" y="24"/>
                    </a:lnTo>
                    <a:lnTo>
                      <a:pt x="224" y="32"/>
                    </a:lnTo>
                    <a:lnTo>
                      <a:pt x="232" y="32"/>
                    </a:lnTo>
                    <a:lnTo>
                      <a:pt x="232" y="24"/>
                    </a:lnTo>
                    <a:lnTo>
                      <a:pt x="248" y="16"/>
                    </a:lnTo>
                    <a:lnTo>
                      <a:pt x="264" y="0"/>
                    </a:lnTo>
                    <a:lnTo>
                      <a:pt x="288" y="24"/>
                    </a:lnTo>
                    <a:lnTo>
                      <a:pt x="296" y="40"/>
                    </a:lnTo>
                    <a:lnTo>
                      <a:pt x="296" y="72"/>
                    </a:lnTo>
                    <a:lnTo>
                      <a:pt x="296" y="88"/>
                    </a:lnTo>
                    <a:lnTo>
                      <a:pt x="328" y="112"/>
                    </a:lnTo>
                    <a:lnTo>
                      <a:pt x="296" y="136"/>
                    </a:lnTo>
                    <a:lnTo>
                      <a:pt x="280" y="160"/>
                    </a:lnTo>
                    <a:lnTo>
                      <a:pt x="280" y="192"/>
                    </a:lnTo>
                    <a:lnTo>
                      <a:pt x="280" y="232"/>
                    </a:lnTo>
                    <a:lnTo>
                      <a:pt x="256" y="240"/>
                    </a:lnTo>
                    <a:lnTo>
                      <a:pt x="256" y="256"/>
                    </a:lnTo>
                    <a:lnTo>
                      <a:pt x="232" y="264"/>
                    </a:lnTo>
                    <a:lnTo>
                      <a:pt x="232" y="296"/>
                    </a:lnTo>
                    <a:lnTo>
                      <a:pt x="216" y="312"/>
                    </a:lnTo>
                    <a:lnTo>
                      <a:pt x="248" y="352"/>
                    </a:lnTo>
                    <a:lnTo>
                      <a:pt x="256" y="376"/>
                    </a:lnTo>
                    <a:lnTo>
                      <a:pt x="272" y="392"/>
                    </a:lnTo>
                    <a:lnTo>
                      <a:pt x="232" y="392"/>
                    </a:lnTo>
                    <a:lnTo>
                      <a:pt x="216" y="408"/>
                    </a:lnTo>
                    <a:lnTo>
                      <a:pt x="192" y="408"/>
                    </a:lnTo>
                    <a:lnTo>
                      <a:pt x="176" y="408"/>
                    </a:lnTo>
                    <a:lnTo>
                      <a:pt x="168" y="408"/>
                    </a:lnTo>
                    <a:lnTo>
                      <a:pt x="152" y="392"/>
                    </a:lnTo>
                    <a:lnTo>
                      <a:pt x="136" y="392"/>
                    </a:lnTo>
                    <a:lnTo>
                      <a:pt x="128" y="392"/>
                    </a:lnTo>
                    <a:lnTo>
                      <a:pt x="120" y="392"/>
                    </a:lnTo>
                    <a:lnTo>
                      <a:pt x="112" y="392"/>
                    </a:lnTo>
                    <a:lnTo>
                      <a:pt x="104" y="384"/>
                    </a:lnTo>
                    <a:lnTo>
                      <a:pt x="96" y="376"/>
                    </a:lnTo>
                    <a:lnTo>
                      <a:pt x="80" y="360"/>
                    </a:lnTo>
                    <a:lnTo>
                      <a:pt x="72" y="344"/>
                    </a:lnTo>
                    <a:lnTo>
                      <a:pt x="56" y="328"/>
                    </a:lnTo>
                    <a:lnTo>
                      <a:pt x="48" y="328"/>
                    </a:lnTo>
                    <a:lnTo>
                      <a:pt x="40" y="312"/>
                    </a:lnTo>
                    <a:lnTo>
                      <a:pt x="32" y="312"/>
                    </a:lnTo>
                    <a:lnTo>
                      <a:pt x="32" y="280"/>
                    </a:lnTo>
                    <a:lnTo>
                      <a:pt x="16" y="264"/>
                    </a:lnTo>
                    <a:lnTo>
                      <a:pt x="24" y="264"/>
                    </a:lnTo>
                    <a:lnTo>
                      <a:pt x="24" y="256"/>
                    </a:lnTo>
                    <a:lnTo>
                      <a:pt x="8" y="240"/>
                    </a:lnTo>
                    <a:lnTo>
                      <a:pt x="8" y="232"/>
                    </a:lnTo>
                    <a:lnTo>
                      <a:pt x="0" y="224"/>
                    </a:lnTo>
                    <a:lnTo>
                      <a:pt x="0" y="216"/>
                    </a:lnTo>
                    <a:lnTo>
                      <a:pt x="8" y="184"/>
                    </a:lnTo>
                    <a:lnTo>
                      <a:pt x="8" y="176"/>
                    </a:lnTo>
                    <a:lnTo>
                      <a:pt x="8" y="160"/>
                    </a:lnTo>
                    <a:lnTo>
                      <a:pt x="40" y="160"/>
                    </a:lnTo>
                    <a:lnTo>
                      <a:pt x="40" y="72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00" name="Freeform 187"/>
              <p:cNvSpPr>
                <a:spLocks noChangeAspect="1"/>
              </p:cNvSpPr>
              <p:nvPr/>
            </p:nvSpPr>
            <p:spPr bwMode="auto">
              <a:xfrm>
                <a:off x="3279" y="2627"/>
                <a:ext cx="90" cy="91"/>
              </a:xfrm>
              <a:custGeom>
                <a:avLst/>
                <a:gdLst>
                  <a:gd name="T0" fmla="*/ 1 w 128"/>
                  <a:gd name="T1" fmla="*/ 1 h 128"/>
                  <a:gd name="T2" fmla="*/ 1 w 128"/>
                  <a:gd name="T3" fmla="*/ 1 h 128"/>
                  <a:gd name="T4" fmla="*/ 1 w 128"/>
                  <a:gd name="T5" fmla="*/ 1 h 128"/>
                  <a:gd name="T6" fmla="*/ 1 w 128"/>
                  <a:gd name="T7" fmla="*/ 1 h 128"/>
                  <a:gd name="T8" fmla="*/ 1 w 128"/>
                  <a:gd name="T9" fmla="*/ 1 h 128"/>
                  <a:gd name="T10" fmla="*/ 1 w 128"/>
                  <a:gd name="T11" fmla="*/ 1 h 128"/>
                  <a:gd name="T12" fmla="*/ 0 w 128"/>
                  <a:gd name="T13" fmla="*/ 1 h 128"/>
                  <a:gd name="T14" fmla="*/ 0 w 128"/>
                  <a:gd name="T15" fmla="*/ 1 h 128"/>
                  <a:gd name="T16" fmla="*/ 1 w 128"/>
                  <a:gd name="T17" fmla="*/ 1 h 128"/>
                  <a:gd name="T18" fmla="*/ 1 w 128"/>
                  <a:gd name="T19" fmla="*/ 0 h 128"/>
                  <a:gd name="T20" fmla="*/ 1 w 128"/>
                  <a:gd name="T21" fmla="*/ 1 h 128"/>
                  <a:gd name="T22" fmla="*/ 1 w 128"/>
                  <a:gd name="T23" fmla="*/ 1 h 128"/>
                  <a:gd name="T24" fmla="*/ 1 w 128"/>
                  <a:gd name="T25" fmla="*/ 1 h 128"/>
                  <a:gd name="T26" fmla="*/ 1 w 128"/>
                  <a:gd name="T27" fmla="*/ 1 h 128"/>
                  <a:gd name="T28" fmla="*/ 1 w 128"/>
                  <a:gd name="T29" fmla="*/ 1 h 12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28"/>
                  <a:gd name="T46" fmla="*/ 0 h 128"/>
                  <a:gd name="T47" fmla="*/ 128 w 128"/>
                  <a:gd name="T48" fmla="*/ 128 h 12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28" h="128">
                    <a:moveTo>
                      <a:pt x="128" y="112"/>
                    </a:moveTo>
                    <a:lnTo>
                      <a:pt x="120" y="120"/>
                    </a:lnTo>
                    <a:lnTo>
                      <a:pt x="112" y="128"/>
                    </a:lnTo>
                    <a:lnTo>
                      <a:pt x="96" y="96"/>
                    </a:lnTo>
                    <a:lnTo>
                      <a:pt x="72" y="80"/>
                    </a:lnTo>
                    <a:lnTo>
                      <a:pt x="56" y="72"/>
                    </a:lnTo>
                    <a:lnTo>
                      <a:pt x="0" y="80"/>
                    </a:lnTo>
                    <a:lnTo>
                      <a:pt x="0" y="48"/>
                    </a:lnTo>
                    <a:lnTo>
                      <a:pt x="16" y="24"/>
                    </a:lnTo>
                    <a:lnTo>
                      <a:pt x="48" y="0"/>
                    </a:lnTo>
                    <a:lnTo>
                      <a:pt x="56" y="32"/>
                    </a:lnTo>
                    <a:lnTo>
                      <a:pt x="64" y="56"/>
                    </a:lnTo>
                    <a:lnTo>
                      <a:pt x="80" y="64"/>
                    </a:lnTo>
                    <a:lnTo>
                      <a:pt x="104" y="80"/>
                    </a:lnTo>
                    <a:lnTo>
                      <a:pt x="128" y="112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01" name="Freeform 188"/>
              <p:cNvSpPr>
                <a:spLocks noChangeAspect="1"/>
              </p:cNvSpPr>
              <p:nvPr/>
            </p:nvSpPr>
            <p:spPr bwMode="auto">
              <a:xfrm>
                <a:off x="3234" y="2678"/>
                <a:ext cx="219" cy="158"/>
              </a:xfrm>
              <a:custGeom>
                <a:avLst/>
                <a:gdLst>
                  <a:gd name="T0" fmla="*/ 1 w 312"/>
                  <a:gd name="T1" fmla="*/ 1 h 224"/>
                  <a:gd name="T2" fmla="*/ 1 w 312"/>
                  <a:gd name="T3" fmla="*/ 1 h 224"/>
                  <a:gd name="T4" fmla="*/ 1 w 312"/>
                  <a:gd name="T5" fmla="*/ 1 h 224"/>
                  <a:gd name="T6" fmla="*/ 0 w 312"/>
                  <a:gd name="T7" fmla="*/ 1 h 224"/>
                  <a:gd name="T8" fmla="*/ 1 w 312"/>
                  <a:gd name="T9" fmla="*/ 1 h 224"/>
                  <a:gd name="T10" fmla="*/ 1 w 312"/>
                  <a:gd name="T11" fmla="*/ 1 h 224"/>
                  <a:gd name="T12" fmla="*/ 1 w 312"/>
                  <a:gd name="T13" fmla="*/ 1 h 224"/>
                  <a:gd name="T14" fmla="*/ 1 w 312"/>
                  <a:gd name="T15" fmla="*/ 1 h 224"/>
                  <a:gd name="T16" fmla="*/ 1 w 312"/>
                  <a:gd name="T17" fmla="*/ 1 h 224"/>
                  <a:gd name="T18" fmla="*/ 1 w 312"/>
                  <a:gd name="T19" fmla="*/ 1 h 224"/>
                  <a:gd name="T20" fmla="*/ 1 w 312"/>
                  <a:gd name="T21" fmla="*/ 0 h 224"/>
                  <a:gd name="T22" fmla="*/ 1 w 312"/>
                  <a:gd name="T23" fmla="*/ 1 h 224"/>
                  <a:gd name="T24" fmla="*/ 1 w 312"/>
                  <a:gd name="T25" fmla="*/ 1 h 224"/>
                  <a:gd name="T26" fmla="*/ 1 w 312"/>
                  <a:gd name="T27" fmla="*/ 1 h 224"/>
                  <a:gd name="T28" fmla="*/ 1 w 312"/>
                  <a:gd name="T29" fmla="*/ 1 h 224"/>
                  <a:gd name="T30" fmla="*/ 1 w 312"/>
                  <a:gd name="T31" fmla="*/ 1 h 224"/>
                  <a:gd name="T32" fmla="*/ 1 w 312"/>
                  <a:gd name="T33" fmla="*/ 1 h 224"/>
                  <a:gd name="T34" fmla="*/ 1 w 312"/>
                  <a:gd name="T35" fmla="*/ 1 h 224"/>
                  <a:gd name="T36" fmla="*/ 1 w 312"/>
                  <a:gd name="T37" fmla="*/ 1 h 224"/>
                  <a:gd name="T38" fmla="*/ 1 w 312"/>
                  <a:gd name="T39" fmla="*/ 1 h 224"/>
                  <a:gd name="T40" fmla="*/ 1 w 312"/>
                  <a:gd name="T41" fmla="*/ 1 h 224"/>
                  <a:gd name="T42" fmla="*/ 1 w 312"/>
                  <a:gd name="T43" fmla="*/ 1 h 224"/>
                  <a:gd name="T44" fmla="*/ 1 w 312"/>
                  <a:gd name="T45" fmla="*/ 1 h 224"/>
                  <a:gd name="T46" fmla="*/ 1 w 312"/>
                  <a:gd name="T47" fmla="*/ 1 h 224"/>
                  <a:gd name="T48" fmla="*/ 1 w 312"/>
                  <a:gd name="T49" fmla="*/ 1 h 224"/>
                  <a:gd name="T50" fmla="*/ 1 w 312"/>
                  <a:gd name="T51" fmla="*/ 1 h 224"/>
                  <a:gd name="T52" fmla="*/ 1 w 312"/>
                  <a:gd name="T53" fmla="*/ 1 h 224"/>
                  <a:gd name="T54" fmla="*/ 1 w 312"/>
                  <a:gd name="T55" fmla="*/ 1 h 224"/>
                  <a:gd name="T56" fmla="*/ 1 w 312"/>
                  <a:gd name="T57" fmla="*/ 1 h 224"/>
                  <a:gd name="T58" fmla="*/ 1 w 312"/>
                  <a:gd name="T59" fmla="*/ 1 h 224"/>
                  <a:gd name="T60" fmla="*/ 1 w 312"/>
                  <a:gd name="T61" fmla="*/ 1 h 224"/>
                  <a:gd name="T62" fmla="*/ 1 w 312"/>
                  <a:gd name="T63" fmla="*/ 1 h 224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312"/>
                  <a:gd name="T97" fmla="*/ 0 h 224"/>
                  <a:gd name="T98" fmla="*/ 312 w 312"/>
                  <a:gd name="T99" fmla="*/ 224 h 224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312" h="224">
                    <a:moveTo>
                      <a:pt x="56" y="208"/>
                    </a:moveTo>
                    <a:lnTo>
                      <a:pt x="40" y="192"/>
                    </a:lnTo>
                    <a:lnTo>
                      <a:pt x="32" y="168"/>
                    </a:lnTo>
                    <a:lnTo>
                      <a:pt x="0" y="128"/>
                    </a:lnTo>
                    <a:lnTo>
                      <a:pt x="16" y="112"/>
                    </a:lnTo>
                    <a:lnTo>
                      <a:pt x="16" y="80"/>
                    </a:lnTo>
                    <a:lnTo>
                      <a:pt x="40" y="72"/>
                    </a:lnTo>
                    <a:lnTo>
                      <a:pt x="40" y="56"/>
                    </a:lnTo>
                    <a:lnTo>
                      <a:pt x="64" y="48"/>
                    </a:lnTo>
                    <a:lnTo>
                      <a:pt x="64" y="8"/>
                    </a:lnTo>
                    <a:lnTo>
                      <a:pt x="120" y="0"/>
                    </a:lnTo>
                    <a:lnTo>
                      <a:pt x="136" y="8"/>
                    </a:lnTo>
                    <a:lnTo>
                      <a:pt x="160" y="24"/>
                    </a:lnTo>
                    <a:lnTo>
                      <a:pt x="176" y="56"/>
                    </a:lnTo>
                    <a:lnTo>
                      <a:pt x="176" y="72"/>
                    </a:lnTo>
                    <a:lnTo>
                      <a:pt x="184" y="80"/>
                    </a:lnTo>
                    <a:lnTo>
                      <a:pt x="192" y="80"/>
                    </a:lnTo>
                    <a:lnTo>
                      <a:pt x="200" y="96"/>
                    </a:lnTo>
                    <a:lnTo>
                      <a:pt x="208" y="112"/>
                    </a:lnTo>
                    <a:lnTo>
                      <a:pt x="216" y="112"/>
                    </a:lnTo>
                    <a:lnTo>
                      <a:pt x="240" y="128"/>
                    </a:lnTo>
                    <a:lnTo>
                      <a:pt x="296" y="136"/>
                    </a:lnTo>
                    <a:lnTo>
                      <a:pt x="312" y="128"/>
                    </a:lnTo>
                    <a:lnTo>
                      <a:pt x="304" y="144"/>
                    </a:lnTo>
                    <a:lnTo>
                      <a:pt x="240" y="200"/>
                    </a:lnTo>
                    <a:lnTo>
                      <a:pt x="192" y="208"/>
                    </a:lnTo>
                    <a:lnTo>
                      <a:pt x="176" y="216"/>
                    </a:lnTo>
                    <a:lnTo>
                      <a:pt x="144" y="216"/>
                    </a:lnTo>
                    <a:lnTo>
                      <a:pt x="120" y="224"/>
                    </a:lnTo>
                    <a:lnTo>
                      <a:pt x="104" y="224"/>
                    </a:lnTo>
                    <a:lnTo>
                      <a:pt x="64" y="208"/>
                    </a:lnTo>
                    <a:lnTo>
                      <a:pt x="56" y="208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02" name="Freeform 189"/>
              <p:cNvSpPr>
                <a:spLocks noChangeAspect="1"/>
              </p:cNvSpPr>
              <p:nvPr/>
            </p:nvSpPr>
            <p:spPr bwMode="auto">
              <a:xfrm>
                <a:off x="3352" y="2718"/>
                <a:ext cx="140" cy="191"/>
              </a:xfrm>
              <a:custGeom>
                <a:avLst/>
                <a:gdLst>
                  <a:gd name="T0" fmla="*/ 1 w 200"/>
                  <a:gd name="T1" fmla="*/ 1 h 272"/>
                  <a:gd name="T2" fmla="*/ 1 w 200"/>
                  <a:gd name="T3" fmla="*/ 1 h 272"/>
                  <a:gd name="T4" fmla="*/ 1 w 200"/>
                  <a:gd name="T5" fmla="*/ 1 h 272"/>
                  <a:gd name="T6" fmla="*/ 1 w 200"/>
                  <a:gd name="T7" fmla="*/ 1 h 272"/>
                  <a:gd name="T8" fmla="*/ 1 w 200"/>
                  <a:gd name="T9" fmla="*/ 1 h 272"/>
                  <a:gd name="T10" fmla="*/ 1 w 200"/>
                  <a:gd name="T11" fmla="*/ 1 h 272"/>
                  <a:gd name="T12" fmla="*/ 1 w 200"/>
                  <a:gd name="T13" fmla="*/ 1 h 272"/>
                  <a:gd name="T14" fmla="*/ 1 w 200"/>
                  <a:gd name="T15" fmla="*/ 1 h 272"/>
                  <a:gd name="T16" fmla="*/ 1 w 200"/>
                  <a:gd name="T17" fmla="*/ 1 h 272"/>
                  <a:gd name="T18" fmla="*/ 1 w 200"/>
                  <a:gd name="T19" fmla="*/ 1 h 272"/>
                  <a:gd name="T20" fmla="*/ 1 w 200"/>
                  <a:gd name="T21" fmla="*/ 1 h 272"/>
                  <a:gd name="T22" fmla="*/ 1 w 200"/>
                  <a:gd name="T23" fmla="*/ 1 h 272"/>
                  <a:gd name="T24" fmla="*/ 1 w 200"/>
                  <a:gd name="T25" fmla="*/ 1 h 272"/>
                  <a:gd name="T26" fmla="*/ 1 w 200"/>
                  <a:gd name="T27" fmla="*/ 1 h 272"/>
                  <a:gd name="T28" fmla="*/ 1 w 200"/>
                  <a:gd name="T29" fmla="*/ 0 h 272"/>
                  <a:gd name="T30" fmla="*/ 1 w 200"/>
                  <a:gd name="T31" fmla="*/ 0 h 272"/>
                  <a:gd name="T32" fmla="*/ 1 w 200"/>
                  <a:gd name="T33" fmla="*/ 1 h 272"/>
                  <a:gd name="T34" fmla="*/ 1 w 200"/>
                  <a:gd name="T35" fmla="*/ 1 h 272"/>
                  <a:gd name="T36" fmla="*/ 1 w 200"/>
                  <a:gd name="T37" fmla="*/ 1 h 272"/>
                  <a:gd name="T38" fmla="*/ 1 w 200"/>
                  <a:gd name="T39" fmla="*/ 1 h 272"/>
                  <a:gd name="T40" fmla="*/ 1 w 200"/>
                  <a:gd name="T41" fmla="*/ 1 h 272"/>
                  <a:gd name="T42" fmla="*/ 1 w 200"/>
                  <a:gd name="T43" fmla="*/ 1 h 272"/>
                  <a:gd name="T44" fmla="*/ 1 w 200"/>
                  <a:gd name="T45" fmla="*/ 1 h 272"/>
                  <a:gd name="T46" fmla="*/ 1 w 200"/>
                  <a:gd name="T47" fmla="*/ 1 h 272"/>
                  <a:gd name="T48" fmla="*/ 1 w 200"/>
                  <a:gd name="T49" fmla="*/ 1 h 272"/>
                  <a:gd name="T50" fmla="*/ 1 w 200"/>
                  <a:gd name="T51" fmla="*/ 1 h 272"/>
                  <a:gd name="T52" fmla="*/ 1 w 200"/>
                  <a:gd name="T53" fmla="*/ 1 h 272"/>
                  <a:gd name="T54" fmla="*/ 1 w 200"/>
                  <a:gd name="T55" fmla="*/ 1 h 272"/>
                  <a:gd name="T56" fmla="*/ 1 w 200"/>
                  <a:gd name="T57" fmla="*/ 1 h 272"/>
                  <a:gd name="T58" fmla="*/ 1 w 200"/>
                  <a:gd name="T59" fmla="*/ 1 h 272"/>
                  <a:gd name="T60" fmla="*/ 1 w 200"/>
                  <a:gd name="T61" fmla="*/ 1 h 272"/>
                  <a:gd name="T62" fmla="*/ 1 w 200"/>
                  <a:gd name="T63" fmla="*/ 1 h 272"/>
                  <a:gd name="T64" fmla="*/ 1 w 200"/>
                  <a:gd name="T65" fmla="*/ 1 h 272"/>
                  <a:gd name="T66" fmla="*/ 1 w 200"/>
                  <a:gd name="T67" fmla="*/ 1 h 272"/>
                  <a:gd name="T68" fmla="*/ 1 w 200"/>
                  <a:gd name="T69" fmla="*/ 1 h 272"/>
                  <a:gd name="T70" fmla="*/ 0 w 200"/>
                  <a:gd name="T71" fmla="*/ 1 h 272"/>
                  <a:gd name="T72" fmla="*/ 0 w 200"/>
                  <a:gd name="T73" fmla="*/ 1 h 272"/>
                  <a:gd name="T74" fmla="*/ 0 w 200"/>
                  <a:gd name="T75" fmla="*/ 1 h 272"/>
                  <a:gd name="T76" fmla="*/ 1 w 200"/>
                  <a:gd name="T77" fmla="*/ 1 h 27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200"/>
                  <a:gd name="T118" fmla="*/ 0 h 272"/>
                  <a:gd name="T119" fmla="*/ 200 w 200"/>
                  <a:gd name="T120" fmla="*/ 272 h 272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200" h="272">
                    <a:moveTo>
                      <a:pt x="8" y="272"/>
                    </a:moveTo>
                    <a:lnTo>
                      <a:pt x="32" y="248"/>
                    </a:lnTo>
                    <a:lnTo>
                      <a:pt x="40" y="232"/>
                    </a:lnTo>
                    <a:lnTo>
                      <a:pt x="64" y="216"/>
                    </a:lnTo>
                    <a:lnTo>
                      <a:pt x="88" y="200"/>
                    </a:lnTo>
                    <a:lnTo>
                      <a:pt x="104" y="184"/>
                    </a:lnTo>
                    <a:lnTo>
                      <a:pt x="120" y="168"/>
                    </a:lnTo>
                    <a:lnTo>
                      <a:pt x="144" y="136"/>
                    </a:lnTo>
                    <a:lnTo>
                      <a:pt x="152" y="128"/>
                    </a:lnTo>
                    <a:lnTo>
                      <a:pt x="160" y="112"/>
                    </a:lnTo>
                    <a:lnTo>
                      <a:pt x="160" y="96"/>
                    </a:lnTo>
                    <a:lnTo>
                      <a:pt x="192" y="64"/>
                    </a:lnTo>
                    <a:lnTo>
                      <a:pt x="192" y="40"/>
                    </a:lnTo>
                    <a:lnTo>
                      <a:pt x="200" y="8"/>
                    </a:lnTo>
                    <a:lnTo>
                      <a:pt x="192" y="0"/>
                    </a:lnTo>
                    <a:lnTo>
                      <a:pt x="184" y="0"/>
                    </a:lnTo>
                    <a:lnTo>
                      <a:pt x="176" y="8"/>
                    </a:lnTo>
                    <a:lnTo>
                      <a:pt x="144" y="16"/>
                    </a:lnTo>
                    <a:lnTo>
                      <a:pt x="128" y="16"/>
                    </a:lnTo>
                    <a:lnTo>
                      <a:pt x="112" y="24"/>
                    </a:lnTo>
                    <a:lnTo>
                      <a:pt x="80" y="32"/>
                    </a:lnTo>
                    <a:lnTo>
                      <a:pt x="72" y="32"/>
                    </a:lnTo>
                    <a:lnTo>
                      <a:pt x="56" y="32"/>
                    </a:lnTo>
                    <a:lnTo>
                      <a:pt x="40" y="16"/>
                    </a:lnTo>
                    <a:lnTo>
                      <a:pt x="24" y="24"/>
                    </a:lnTo>
                    <a:lnTo>
                      <a:pt x="32" y="40"/>
                    </a:lnTo>
                    <a:lnTo>
                      <a:pt x="40" y="56"/>
                    </a:lnTo>
                    <a:lnTo>
                      <a:pt x="48" y="56"/>
                    </a:lnTo>
                    <a:lnTo>
                      <a:pt x="72" y="72"/>
                    </a:lnTo>
                    <a:lnTo>
                      <a:pt x="128" y="80"/>
                    </a:lnTo>
                    <a:lnTo>
                      <a:pt x="144" y="72"/>
                    </a:lnTo>
                    <a:lnTo>
                      <a:pt x="136" y="88"/>
                    </a:lnTo>
                    <a:lnTo>
                      <a:pt x="72" y="144"/>
                    </a:lnTo>
                    <a:lnTo>
                      <a:pt x="24" y="152"/>
                    </a:lnTo>
                    <a:lnTo>
                      <a:pt x="8" y="160"/>
                    </a:lnTo>
                    <a:lnTo>
                      <a:pt x="0" y="176"/>
                    </a:lnTo>
                    <a:lnTo>
                      <a:pt x="0" y="264"/>
                    </a:lnTo>
                    <a:lnTo>
                      <a:pt x="0" y="272"/>
                    </a:lnTo>
                    <a:lnTo>
                      <a:pt x="8" y="272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03" name="Freeform 190"/>
              <p:cNvSpPr>
                <a:spLocks noChangeAspect="1"/>
              </p:cNvSpPr>
              <p:nvPr/>
            </p:nvSpPr>
            <p:spPr bwMode="auto">
              <a:xfrm>
                <a:off x="2767" y="2549"/>
                <a:ext cx="225" cy="169"/>
              </a:xfrm>
              <a:custGeom>
                <a:avLst/>
                <a:gdLst>
                  <a:gd name="T0" fmla="*/ 1 w 320"/>
                  <a:gd name="T1" fmla="*/ 0 h 240"/>
                  <a:gd name="T2" fmla="*/ 1 w 320"/>
                  <a:gd name="T3" fmla="*/ 1 h 240"/>
                  <a:gd name="T4" fmla="*/ 1 w 320"/>
                  <a:gd name="T5" fmla="*/ 1 h 240"/>
                  <a:gd name="T6" fmla="*/ 1 w 320"/>
                  <a:gd name="T7" fmla="*/ 1 h 240"/>
                  <a:gd name="T8" fmla="*/ 1 w 320"/>
                  <a:gd name="T9" fmla="*/ 1 h 240"/>
                  <a:gd name="T10" fmla="*/ 1 w 320"/>
                  <a:gd name="T11" fmla="*/ 1 h 240"/>
                  <a:gd name="T12" fmla="*/ 0 w 320"/>
                  <a:gd name="T13" fmla="*/ 1 h 240"/>
                  <a:gd name="T14" fmla="*/ 0 w 320"/>
                  <a:gd name="T15" fmla="*/ 1 h 240"/>
                  <a:gd name="T16" fmla="*/ 1 w 320"/>
                  <a:gd name="T17" fmla="*/ 1 h 240"/>
                  <a:gd name="T18" fmla="*/ 1 w 320"/>
                  <a:gd name="T19" fmla="*/ 1 h 240"/>
                  <a:gd name="T20" fmla="*/ 1 w 320"/>
                  <a:gd name="T21" fmla="*/ 1 h 240"/>
                  <a:gd name="T22" fmla="*/ 1 w 320"/>
                  <a:gd name="T23" fmla="*/ 1 h 240"/>
                  <a:gd name="T24" fmla="*/ 1 w 320"/>
                  <a:gd name="T25" fmla="*/ 1 h 240"/>
                  <a:gd name="T26" fmla="*/ 1 w 320"/>
                  <a:gd name="T27" fmla="*/ 1 h 240"/>
                  <a:gd name="T28" fmla="*/ 1 w 320"/>
                  <a:gd name="T29" fmla="*/ 1 h 240"/>
                  <a:gd name="T30" fmla="*/ 1 w 320"/>
                  <a:gd name="T31" fmla="*/ 1 h 240"/>
                  <a:gd name="T32" fmla="*/ 1 w 320"/>
                  <a:gd name="T33" fmla="*/ 1 h 240"/>
                  <a:gd name="T34" fmla="*/ 1 w 320"/>
                  <a:gd name="T35" fmla="*/ 1 h 240"/>
                  <a:gd name="T36" fmla="*/ 1 w 320"/>
                  <a:gd name="T37" fmla="*/ 1 h 240"/>
                  <a:gd name="T38" fmla="*/ 1 w 320"/>
                  <a:gd name="T39" fmla="*/ 1 h 240"/>
                  <a:gd name="T40" fmla="*/ 1 w 320"/>
                  <a:gd name="T41" fmla="*/ 1 h 240"/>
                  <a:gd name="T42" fmla="*/ 1 w 320"/>
                  <a:gd name="T43" fmla="*/ 1 h 240"/>
                  <a:gd name="T44" fmla="*/ 1 w 320"/>
                  <a:gd name="T45" fmla="*/ 1 h 240"/>
                  <a:gd name="T46" fmla="*/ 1 w 320"/>
                  <a:gd name="T47" fmla="*/ 1 h 240"/>
                  <a:gd name="T48" fmla="*/ 1 w 320"/>
                  <a:gd name="T49" fmla="*/ 1 h 240"/>
                  <a:gd name="T50" fmla="*/ 1 w 320"/>
                  <a:gd name="T51" fmla="*/ 1 h 240"/>
                  <a:gd name="T52" fmla="*/ 1 w 320"/>
                  <a:gd name="T53" fmla="*/ 1 h 240"/>
                  <a:gd name="T54" fmla="*/ 1 w 320"/>
                  <a:gd name="T55" fmla="*/ 1 h 240"/>
                  <a:gd name="T56" fmla="*/ 1 w 320"/>
                  <a:gd name="T57" fmla="*/ 1 h 240"/>
                  <a:gd name="T58" fmla="*/ 1 w 320"/>
                  <a:gd name="T59" fmla="*/ 1 h 240"/>
                  <a:gd name="T60" fmla="*/ 1 w 320"/>
                  <a:gd name="T61" fmla="*/ 1 h 240"/>
                  <a:gd name="T62" fmla="*/ 1 w 320"/>
                  <a:gd name="T63" fmla="*/ 0 h 240"/>
                  <a:gd name="T64" fmla="*/ 1 w 320"/>
                  <a:gd name="T65" fmla="*/ 0 h 24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320"/>
                  <a:gd name="T100" fmla="*/ 0 h 240"/>
                  <a:gd name="T101" fmla="*/ 320 w 320"/>
                  <a:gd name="T102" fmla="*/ 240 h 240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320" h="240">
                    <a:moveTo>
                      <a:pt x="240" y="0"/>
                    </a:moveTo>
                    <a:lnTo>
                      <a:pt x="112" y="88"/>
                    </a:lnTo>
                    <a:lnTo>
                      <a:pt x="88" y="88"/>
                    </a:lnTo>
                    <a:lnTo>
                      <a:pt x="64" y="176"/>
                    </a:lnTo>
                    <a:lnTo>
                      <a:pt x="40" y="176"/>
                    </a:lnTo>
                    <a:lnTo>
                      <a:pt x="24" y="184"/>
                    </a:lnTo>
                    <a:lnTo>
                      <a:pt x="0" y="184"/>
                    </a:lnTo>
                    <a:lnTo>
                      <a:pt x="0" y="200"/>
                    </a:lnTo>
                    <a:lnTo>
                      <a:pt x="8" y="208"/>
                    </a:lnTo>
                    <a:lnTo>
                      <a:pt x="16" y="208"/>
                    </a:lnTo>
                    <a:lnTo>
                      <a:pt x="24" y="224"/>
                    </a:lnTo>
                    <a:lnTo>
                      <a:pt x="40" y="232"/>
                    </a:lnTo>
                    <a:lnTo>
                      <a:pt x="40" y="240"/>
                    </a:lnTo>
                    <a:lnTo>
                      <a:pt x="56" y="240"/>
                    </a:lnTo>
                    <a:lnTo>
                      <a:pt x="64" y="240"/>
                    </a:lnTo>
                    <a:lnTo>
                      <a:pt x="72" y="216"/>
                    </a:lnTo>
                    <a:lnTo>
                      <a:pt x="88" y="200"/>
                    </a:lnTo>
                    <a:lnTo>
                      <a:pt x="120" y="208"/>
                    </a:lnTo>
                    <a:lnTo>
                      <a:pt x="136" y="224"/>
                    </a:lnTo>
                    <a:lnTo>
                      <a:pt x="160" y="224"/>
                    </a:lnTo>
                    <a:lnTo>
                      <a:pt x="176" y="224"/>
                    </a:lnTo>
                    <a:lnTo>
                      <a:pt x="192" y="224"/>
                    </a:lnTo>
                    <a:lnTo>
                      <a:pt x="200" y="208"/>
                    </a:lnTo>
                    <a:lnTo>
                      <a:pt x="240" y="216"/>
                    </a:lnTo>
                    <a:lnTo>
                      <a:pt x="272" y="208"/>
                    </a:lnTo>
                    <a:lnTo>
                      <a:pt x="272" y="176"/>
                    </a:lnTo>
                    <a:lnTo>
                      <a:pt x="312" y="136"/>
                    </a:lnTo>
                    <a:lnTo>
                      <a:pt x="312" y="80"/>
                    </a:lnTo>
                    <a:lnTo>
                      <a:pt x="320" y="64"/>
                    </a:lnTo>
                    <a:lnTo>
                      <a:pt x="304" y="40"/>
                    </a:lnTo>
                    <a:lnTo>
                      <a:pt x="296" y="16"/>
                    </a:lnTo>
                    <a:lnTo>
                      <a:pt x="248" y="0"/>
                    </a:lnTo>
                    <a:lnTo>
                      <a:pt x="240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04" name="Freeform 191"/>
              <p:cNvSpPr>
                <a:spLocks noChangeAspect="1"/>
              </p:cNvSpPr>
              <p:nvPr/>
            </p:nvSpPr>
            <p:spPr bwMode="auto">
              <a:xfrm>
                <a:off x="2525" y="2689"/>
                <a:ext cx="39" cy="17"/>
              </a:xfrm>
              <a:custGeom>
                <a:avLst/>
                <a:gdLst>
                  <a:gd name="T0" fmla="*/ 0 w 56"/>
                  <a:gd name="T1" fmla="*/ 1 h 24"/>
                  <a:gd name="T2" fmla="*/ 0 w 56"/>
                  <a:gd name="T3" fmla="*/ 1 h 24"/>
                  <a:gd name="T4" fmla="*/ 1 w 56"/>
                  <a:gd name="T5" fmla="*/ 0 h 24"/>
                  <a:gd name="T6" fmla="*/ 1 w 56"/>
                  <a:gd name="T7" fmla="*/ 1 h 24"/>
                  <a:gd name="T8" fmla="*/ 1 w 56"/>
                  <a:gd name="T9" fmla="*/ 1 h 24"/>
                  <a:gd name="T10" fmla="*/ 1 w 56"/>
                  <a:gd name="T11" fmla="*/ 1 h 24"/>
                  <a:gd name="T12" fmla="*/ 1 w 56"/>
                  <a:gd name="T13" fmla="*/ 1 h 24"/>
                  <a:gd name="T14" fmla="*/ 0 w 56"/>
                  <a:gd name="T15" fmla="*/ 1 h 2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6"/>
                  <a:gd name="T25" fmla="*/ 0 h 24"/>
                  <a:gd name="T26" fmla="*/ 56 w 56"/>
                  <a:gd name="T27" fmla="*/ 24 h 2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6" h="24">
                    <a:moveTo>
                      <a:pt x="0" y="24"/>
                    </a:moveTo>
                    <a:lnTo>
                      <a:pt x="0" y="8"/>
                    </a:lnTo>
                    <a:lnTo>
                      <a:pt x="32" y="0"/>
                    </a:lnTo>
                    <a:lnTo>
                      <a:pt x="56" y="8"/>
                    </a:lnTo>
                    <a:lnTo>
                      <a:pt x="56" y="16"/>
                    </a:lnTo>
                    <a:lnTo>
                      <a:pt x="48" y="24"/>
                    </a:lnTo>
                    <a:lnTo>
                      <a:pt x="32" y="16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05" name="Freeform 192"/>
              <p:cNvSpPr>
                <a:spLocks noChangeAspect="1"/>
              </p:cNvSpPr>
              <p:nvPr/>
            </p:nvSpPr>
            <p:spPr bwMode="auto">
              <a:xfrm>
                <a:off x="2519" y="2644"/>
                <a:ext cx="79" cy="74"/>
              </a:xfrm>
              <a:custGeom>
                <a:avLst/>
                <a:gdLst>
                  <a:gd name="T0" fmla="*/ 0 w 112"/>
                  <a:gd name="T1" fmla="*/ 1 h 104"/>
                  <a:gd name="T2" fmla="*/ 1 w 112"/>
                  <a:gd name="T3" fmla="*/ 1 h 104"/>
                  <a:gd name="T4" fmla="*/ 1 w 112"/>
                  <a:gd name="T5" fmla="*/ 1 h 104"/>
                  <a:gd name="T6" fmla="*/ 1 w 112"/>
                  <a:gd name="T7" fmla="*/ 1 h 104"/>
                  <a:gd name="T8" fmla="*/ 1 w 112"/>
                  <a:gd name="T9" fmla="*/ 1 h 104"/>
                  <a:gd name="T10" fmla="*/ 1 w 112"/>
                  <a:gd name="T11" fmla="*/ 1 h 104"/>
                  <a:gd name="T12" fmla="*/ 1 w 112"/>
                  <a:gd name="T13" fmla="*/ 1 h 104"/>
                  <a:gd name="T14" fmla="*/ 1 w 112"/>
                  <a:gd name="T15" fmla="*/ 1 h 104"/>
                  <a:gd name="T16" fmla="*/ 0 w 112"/>
                  <a:gd name="T17" fmla="*/ 1 h 104"/>
                  <a:gd name="T18" fmla="*/ 0 w 112"/>
                  <a:gd name="T19" fmla="*/ 1 h 104"/>
                  <a:gd name="T20" fmla="*/ 1 w 112"/>
                  <a:gd name="T21" fmla="*/ 1 h 104"/>
                  <a:gd name="T22" fmla="*/ 1 w 112"/>
                  <a:gd name="T23" fmla="*/ 1 h 104"/>
                  <a:gd name="T24" fmla="*/ 1 w 112"/>
                  <a:gd name="T25" fmla="*/ 0 h 104"/>
                  <a:gd name="T26" fmla="*/ 1 w 112"/>
                  <a:gd name="T27" fmla="*/ 1 h 104"/>
                  <a:gd name="T28" fmla="*/ 1 w 112"/>
                  <a:gd name="T29" fmla="*/ 1 h 104"/>
                  <a:gd name="T30" fmla="*/ 1 w 112"/>
                  <a:gd name="T31" fmla="*/ 1 h 104"/>
                  <a:gd name="T32" fmla="*/ 1 w 112"/>
                  <a:gd name="T33" fmla="*/ 1 h 104"/>
                  <a:gd name="T34" fmla="*/ 1 w 112"/>
                  <a:gd name="T35" fmla="*/ 1 h 104"/>
                  <a:gd name="T36" fmla="*/ 1 w 112"/>
                  <a:gd name="T37" fmla="*/ 1 h 104"/>
                  <a:gd name="T38" fmla="*/ 1 w 112"/>
                  <a:gd name="T39" fmla="*/ 1 h 104"/>
                  <a:gd name="T40" fmla="*/ 1 w 112"/>
                  <a:gd name="T41" fmla="*/ 1 h 104"/>
                  <a:gd name="T42" fmla="*/ 1 w 112"/>
                  <a:gd name="T43" fmla="*/ 1 h 104"/>
                  <a:gd name="T44" fmla="*/ 1 w 112"/>
                  <a:gd name="T45" fmla="*/ 1 h 104"/>
                  <a:gd name="T46" fmla="*/ 1 w 112"/>
                  <a:gd name="T47" fmla="*/ 1 h 104"/>
                  <a:gd name="T48" fmla="*/ 1 w 112"/>
                  <a:gd name="T49" fmla="*/ 1 h 104"/>
                  <a:gd name="T50" fmla="*/ 1 w 112"/>
                  <a:gd name="T51" fmla="*/ 1 h 104"/>
                  <a:gd name="T52" fmla="*/ 0 w 112"/>
                  <a:gd name="T53" fmla="*/ 1 h 104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112"/>
                  <a:gd name="T82" fmla="*/ 0 h 104"/>
                  <a:gd name="T83" fmla="*/ 112 w 112"/>
                  <a:gd name="T84" fmla="*/ 104 h 104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112" h="104">
                    <a:moveTo>
                      <a:pt x="0" y="96"/>
                    </a:moveTo>
                    <a:lnTo>
                      <a:pt x="8" y="88"/>
                    </a:lnTo>
                    <a:lnTo>
                      <a:pt x="40" y="80"/>
                    </a:lnTo>
                    <a:lnTo>
                      <a:pt x="56" y="88"/>
                    </a:lnTo>
                    <a:lnTo>
                      <a:pt x="64" y="80"/>
                    </a:lnTo>
                    <a:lnTo>
                      <a:pt x="64" y="72"/>
                    </a:lnTo>
                    <a:lnTo>
                      <a:pt x="40" y="64"/>
                    </a:lnTo>
                    <a:lnTo>
                      <a:pt x="8" y="72"/>
                    </a:lnTo>
                    <a:lnTo>
                      <a:pt x="0" y="64"/>
                    </a:lnTo>
                    <a:lnTo>
                      <a:pt x="0" y="48"/>
                    </a:lnTo>
                    <a:lnTo>
                      <a:pt x="8" y="32"/>
                    </a:lnTo>
                    <a:lnTo>
                      <a:pt x="16" y="8"/>
                    </a:lnTo>
                    <a:lnTo>
                      <a:pt x="24" y="0"/>
                    </a:lnTo>
                    <a:lnTo>
                      <a:pt x="48" y="8"/>
                    </a:lnTo>
                    <a:lnTo>
                      <a:pt x="64" y="16"/>
                    </a:lnTo>
                    <a:lnTo>
                      <a:pt x="72" y="24"/>
                    </a:lnTo>
                    <a:lnTo>
                      <a:pt x="96" y="48"/>
                    </a:lnTo>
                    <a:lnTo>
                      <a:pt x="104" y="80"/>
                    </a:lnTo>
                    <a:lnTo>
                      <a:pt x="112" y="88"/>
                    </a:lnTo>
                    <a:lnTo>
                      <a:pt x="112" y="104"/>
                    </a:lnTo>
                    <a:lnTo>
                      <a:pt x="80" y="96"/>
                    </a:lnTo>
                    <a:lnTo>
                      <a:pt x="64" y="96"/>
                    </a:lnTo>
                    <a:lnTo>
                      <a:pt x="32" y="96"/>
                    </a:lnTo>
                    <a:lnTo>
                      <a:pt x="8" y="104"/>
                    </a:lnTo>
                    <a:lnTo>
                      <a:pt x="8" y="96"/>
                    </a:lnTo>
                    <a:lnTo>
                      <a:pt x="8" y="88"/>
                    </a:lnTo>
                    <a:lnTo>
                      <a:pt x="0" y="96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06" name="Freeform 193"/>
              <p:cNvSpPr>
                <a:spLocks noChangeAspect="1"/>
              </p:cNvSpPr>
              <p:nvPr/>
            </p:nvSpPr>
            <p:spPr bwMode="auto">
              <a:xfrm>
                <a:off x="2525" y="2712"/>
                <a:ext cx="39" cy="22"/>
              </a:xfrm>
              <a:custGeom>
                <a:avLst/>
                <a:gdLst>
                  <a:gd name="T0" fmla="*/ 1 w 56"/>
                  <a:gd name="T1" fmla="*/ 1 h 32"/>
                  <a:gd name="T2" fmla="*/ 1 w 56"/>
                  <a:gd name="T3" fmla="*/ 1 h 32"/>
                  <a:gd name="T4" fmla="*/ 1 w 56"/>
                  <a:gd name="T5" fmla="*/ 1 h 32"/>
                  <a:gd name="T6" fmla="*/ 0 w 56"/>
                  <a:gd name="T7" fmla="*/ 1 h 32"/>
                  <a:gd name="T8" fmla="*/ 1 w 56"/>
                  <a:gd name="T9" fmla="*/ 0 h 32"/>
                  <a:gd name="T10" fmla="*/ 1 w 56"/>
                  <a:gd name="T11" fmla="*/ 0 h 32"/>
                  <a:gd name="T12" fmla="*/ 1 w 56"/>
                  <a:gd name="T13" fmla="*/ 1 h 32"/>
                  <a:gd name="T14" fmla="*/ 1 w 56"/>
                  <a:gd name="T15" fmla="*/ 1 h 32"/>
                  <a:gd name="T16" fmla="*/ 1 w 56"/>
                  <a:gd name="T17" fmla="*/ 1 h 3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6"/>
                  <a:gd name="T28" fmla="*/ 0 h 32"/>
                  <a:gd name="T29" fmla="*/ 56 w 56"/>
                  <a:gd name="T30" fmla="*/ 32 h 3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6" h="32">
                    <a:moveTo>
                      <a:pt x="24" y="32"/>
                    </a:moveTo>
                    <a:lnTo>
                      <a:pt x="24" y="16"/>
                    </a:lnTo>
                    <a:lnTo>
                      <a:pt x="8" y="8"/>
                    </a:lnTo>
                    <a:lnTo>
                      <a:pt x="0" y="8"/>
                    </a:lnTo>
                    <a:lnTo>
                      <a:pt x="24" y="0"/>
                    </a:lnTo>
                    <a:lnTo>
                      <a:pt x="56" y="0"/>
                    </a:lnTo>
                    <a:lnTo>
                      <a:pt x="56" y="24"/>
                    </a:lnTo>
                    <a:lnTo>
                      <a:pt x="40" y="24"/>
                    </a:lnTo>
                    <a:lnTo>
                      <a:pt x="24" y="32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07" name="Freeform 194"/>
              <p:cNvSpPr>
                <a:spLocks noChangeAspect="1"/>
              </p:cNvSpPr>
              <p:nvPr/>
            </p:nvSpPr>
            <p:spPr bwMode="auto">
              <a:xfrm>
                <a:off x="2541" y="2712"/>
                <a:ext cx="107" cy="73"/>
              </a:xfrm>
              <a:custGeom>
                <a:avLst/>
                <a:gdLst>
                  <a:gd name="T0" fmla="*/ 1 w 152"/>
                  <a:gd name="T1" fmla="*/ 1 h 104"/>
                  <a:gd name="T2" fmla="*/ 1 w 152"/>
                  <a:gd name="T3" fmla="*/ 1 h 104"/>
                  <a:gd name="T4" fmla="*/ 0 w 152"/>
                  <a:gd name="T5" fmla="*/ 1 h 104"/>
                  <a:gd name="T6" fmla="*/ 1 w 152"/>
                  <a:gd name="T7" fmla="*/ 1 h 104"/>
                  <a:gd name="T8" fmla="*/ 1 w 152"/>
                  <a:gd name="T9" fmla="*/ 1 h 104"/>
                  <a:gd name="T10" fmla="*/ 1 w 152"/>
                  <a:gd name="T11" fmla="*/ 0 h 104"/>
                  <a:gd name="T12" fmla="*/ 1 w 152"/>
                  <a:gd name="T13" fmla="*/ 0 h 104"/>
                  <a:gd name="T14" fmla="*/ 1 w 152"/>
                  <a:gd name="T15" fmla="*/ 1 h 104"/>
                  <a:gd name="T16" fmla="*/ 1 w 152"/>
                  <a:gd name="T17" fmla="*/ 1 h 104"/>
                  <a:gd name="T18" fmla="*/ 1 w 152"/>
                  <a:gd name="T19" fmla="*/ 1 h 104"/>
                  <a:gd name="T20" fmla="*/ 1 w 152"/>
                  <a:gd name="T21" fmla="*/ 1 h 104"/>
                  <a:gd name="T22" fmla="*/ 1 w 152"/>
                  <a:gd name="T23" fmla="*/ 1 h 104"/>
                  <a:gd name="T24" fmla="*/ 1 w 152"/>
                  <a:gd name="T25" fmla="*/ 1 h 104"/>
                  <a:gd name="T26" fmla="*/ 1 w 152"/>
                  <a:gd name="T27" fmla="*/ 1 h 104"/>
                  <a:gd name="T28" fmla="*/ 1 w 152"/>
                  <a:gd name="T29" fmla="*/ 1 h 104"/>
                  <a:gd name="T30" fmla="*/ 1 w 152"/>
                  <a:gd name="T31" fmla="*/ 1 h 104"/>
                  <a:gd name="T32" fmla="*/ 1 w 152"/>
                  <a:gd name="T33" fmla="*/ 1 h 104"/>
                  <a:gd name="T34" fmla="*/ 1 w 152"/>
                  <a:gd name="T35" fmla="*/ 1 h 104"/>
                  <a:gd name="T36" fmla="*/ 1 w 152"/>
                  <a:gd name="T37" fmla="*/ 1 h 104"/>
                  <a:gd name="T38" fmla="*/ 1 w 152"/>
                  <a:gd name="T39" fmla="*/ 1 h 104"/>
                  <a:gd name="T40" fmla="*/ 1 w 152"/>
                  <a:gd name="T41" fmla="*/ 1 h 104"/>
                  <a:gd name="T42" fmla="*/ 1 w 152"/>
                  <a:gd name="T43" fmla="*/ 1 h 104"/>
                  <a:gd name="T44" fmla="*/ 1 w 152"/>
                  <a:gd name="T45" fmla="*/ 1 h 104"/>
                  <a:gd name="T46" fmla="*/ 1 w 152"/>
                  <a:gd name="T47" fmla="*/ 1 h 104"/>
                  <a:gd name="T48" fmla="*/ 1 w 152"/>
                  <a:gd name="T49" fmla="*/ 1 h 104"/>
                  <a:gd name="T50" fmla="*/ 1 w 152"/>
                  <a:gd name="T51" fmla="*/ 1 h 104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52"/>
                  <a:gd name="T79" fmla="*/ 0 h 104"/>
                  <a:gd name="T80" fmla="*/ 152 w 152"/>
                  <a:gd name="T81" fmla="*/ 104 h 104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52" h="104">
                    <a:moveTo>
                      <a:pt x="40" y="64"/>
                    </a:moveTo>
                    <a:lnTo>
                      <a:pt x="8" y="32"/>
                    </a:lnTo>
                    <a:lnTo>
                      <a:pt x="0" y="32"/>
                    </a:lnTo>
                    <a:lnTo>
                      <a:pt x="16" y="24"/>
                    </a:lnTo>
                    <a:lnTo>
                      <a:pt x="32" y="24"/>
                    </a:lnTo>
                    <a:lnTo>
                      <a:pt x="32" y="0"/>
                    </a:lnTo>
                    <a:lnTo>
                      <a:pt x="48" y="0"/>
                    </a:lnTo>
                    <a:lnTo>
                      <a:pt x="80" y="8"/>
                    </a:lnTo>
                    <a:lnTo>
                      <a:pt x="104" y="16"/>
                    </a:lnTo>
                    <a:lnTo>
                      <a:pt x="120" y="16"/>
                    </a:lnTo>
                    <a:lnTo>
                      <a:pt x="128" y="8"/>
                    </a:lnTo>
                    <a:lnTo>
                      <a:pt x="136" y="16"/>
                    </a:lnTo>
                    <a:lnTo>
                      <a:pt x="152" y="48"/>
                    </a:lnTo>
                    <a:lnTo>
                      <a:pt x="152" y="80"/>
                    </a:lnTo>
                    <a:lnTo>
                      <a:pt x="144" y="96"/>
                    </a:lnTo>
                    <a:lnTo>
                      <a:pt x="144" y="104"/>
                    </a:lnTo>
                    <a:lnTo>
                      <a:pt x="120" y="104"/>
                    </a:lnTo>
                    <a:lnTo>
                      <a:pt x="120" y="96"/>
                    </a:lnTo>
                    <a:lnTo>
                      <a:pt x="104" y="88"/>
                    </a:lnTo>
                    <a:lnTo>
                      <a:pt x="96" y="80"/>
                    </a:lnTo>
                    <a:lnTo>
                      <a:pt x="88" y="88"/>
                    </a:lnTo>
                    <a:lnTo>
                      <a:pt x="88" y="80"/>
                    </a:lnTo>
                    <a:lnTo>
                      <a:pt x="88" y="64"/>
                    </a:lnTo>
                    <a:lnTo>
                      <a:pt x="80" y="56"/>
                    </a:lnTo>
                    <a:lnTo>
                      <a:pt x="56" y="56"/>
                    </a:lnTo>
                    <a:lnTo>
                      <a:pt x="40" y="64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08" name="Freeform 195"/>
              <p:cNvSpPr>
                <a:spLocks noChangeAspect="1"/>
              </p:cNvSpPr>
              <p:nvPr/>
            </p:nvSpPr>
            <p:spPr bwMode="auto">
              <a:xfrm>
                <a:off x="2570" y="2751"/>
                <a:ext cx="45" cy="45"/>
              </a:xfrm>
              <a:custGeom>
                <a:avLst/>
                <a:gdLst>
                  <a:gd name="T0" fmla="*/ 1 w 64"/>
                  <a:gd name="T1" fmla="*/ 1 h 64"/>
                  <a:gd name="T2" fmla="*/ 1 w 64"/>
                  <a:gd name="T3" fmla="*/ 1 h 64"/>
                  <a:gd name="T4" fmla="*/ 1 w 64"/>
                  <a:gd name="T5" fmla="*/ 1 h 64"/>
                  <a:gd name="T6" fmla="*/ 0 w 64"/>
                  <a:gd name="T7" fmla="*/ 1 h 64"/>
                  <a:gd name="T8" fmla="*/ 1 w 64"/>
                  <a:gd name="T9" fmla="*/ 0 h 64"/>
                  <a:gd name="T10" fmla="*/ 1 w 64"/>
                  <a:gd name="T11" fmla="*/ 0 h 64"/>
                  <a:gd name="T12" fmla="*/ 1 w 64"/>
                  <a:gd name="T13" fmla="*/ 1 h 64"/>
                  <a:gd name="T14" fmla="*/ 1 w 64"/>
                  <a:gd name="T15" fmla="*/ 1 h 64"/>
                  <a:gd name="T16" fmla="*/ 1 w 64"/>
                  <a:gd name="T17" fmla="*/ 1 h 64"/>
                  <a:gd name="T18" fmla="*/ 1 w 64"/>
                  <a:gd name="T19" fmla="*/ 1 h 64"/>
                  <a:gd name="T20" fmla="*/ 1 w 64"/>
                  <a:gd name="T21" fmla="*/ 1 h 64"/>
                  <a:gd name="T22" fmla="*/ 1 w 64"/>
                  <a:gd name="T23" fmla="*/ 1 h 6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64"/>
                  <a:gd name="T37" fmla="*/ 0 h 64"/>
                  <a:gd name="T38" fmla="*/ 64 w 64"/>
                  <a:gd name="T39" fmla="*/ 64 h 64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64" h="64">
                    <a:moveTo>
                      <a:pt x="40" y="64"/>
                    </a:moveTo>
                    <a:lnTo>
                      <a:pt x="16" y="48"/>
                    </a:lnTo>
                    <a:lnTo>
                      <a:pt x="8" y="32"/>
                    </a:lnTo>
                    <a:lnTo>
                      <a:pt x="0" y="8"/>
                    </a:lnTo>
                    <a:lnTo>
                      <a:pt x="16" y="0"/>
                    </a:lnTo>
                    <a:lnTo>
                      <a:pt x="40" y="0"/>
                    </a:lnTo>
                    <a:lnTo>
                      <a:pt x="48" y="8"/>
                    </a:lnTo>
                    <a:lnTo>
                      <a:pt x="48" y="24"/>
                    </a:lnTo>
                    <a:lnTo>
                      <a:pt x="48" y="32"/>
                    </a:lnTo>
                    <a:lnTo>
                      <a:pt x="56" y="24"/>
                    </a:lnTo>
                    <a:lnTo>
                      <a:pt x="64" y="32"/>
                    </a:lnTo>
                    <a:lnTo>
                      <a:pt x="40" y="64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09" name="Freeform 196"/>
              <p:cNvSpPr>
                <a:spLocks noChangeAspect="1"/>
              </p:cNvSpPr>
              <p:nvPr/>
            </p:nvSpPr>
            <p:spPr bwMode="auto">
              <a:xfrm>
                <a:off x="2800" y="2689"/>
                <a:ext cx="169" cy="141"/>
              </a:xfrm>
              <a:custGeom>
                <a:avLst/>
                <a:gdLst>
                  <a:gd name="T0" fmla="*/ 1 w 240"/>
                  <a:gd name="T1" fmla="*/ 1 h 200"/>
                  <a:gd name="T2" fmla="*/ 1 w 240"/>
                  <a:gd name="T3" fmla="*/ 1 h 200"/>
                  <a:gd name="T4" fmla="*/ 1 w 240"/>
                  <a:gd name="T5" fmla="*/ 1 h 200"/>
                  <a:gd name="T6" fmla="*/ 1 w 240"/>
                  <a:gd name="T7" fmla="*/ 1 h 200"/>
                  <a:gd name="T8" fmla="*/ 1 w 240"/>
                  <a:gd name="T9" fmla="*/ 1 h 200"/>
                  <a:gd name="T10" fmla="*/ 1 w 240"/>
                  <a:gd name="T11" fmla="*/ 1 h 200"/>
                  <a:gd name="T12" fmla="*/ 1 w 240"/>
                  <a:gd name="T13" fmla="*/ 1 h 200"/>
                  <a:gd name="T14" fmla="*/ 1 w 240"/>
                  <a:gd name="T15" fmla="*/ 1 h 200"/>
                  <a:gd name="T16" fmla="*/ 1 w 240"/>
                  <a:gd name="T17" fmla="*/ 1 h 200"/>
                  <a:gd name="T18" fmla="*/ 1 w 240"/>
                  <a:gd name="T19" fmla="*/ 1 h 200"/>
                  <a:gd name="T20" fmla="*/ 1 w 240"/>
                  <a:gd name="T21" fmla="*/ 1 h 200"/>
                  <a:gd name="T22" fmla="*/ 1 w 240"/>
                  <a:gd name="T23" fmla="*/ 1 h 200"/>
                  <a:gd name="T24" fmla="*/ 1 w 240"/>
                  <a:gd name="T25" fmla="*/ 1 h 200"/>
                  <a:gd name="T26" fmla="*/ 1 w 240"/>
                  <a:gd name="T27" fmla="*/ 1 h 200"/>
                  <a:gd name="T28" fmla="*/ 1 w 240"/>
                  <a:gd name="T29" fmla="*/ 1 h 200"/>
                  <a:gd name="T30" fmla="*/ 1 w 240"/>
                  <a:gd name="T31" fmla="*/ 1 h 200"/>
                  <a:gd name="T32" fmla="*/ 1 w 240"/>
                  <a:gd name="T33" fmla="*/ 1 h 200"/>
                  <a:gd name="T34" fmla="*/ 1 w 240"/>
                  <a:gd name="T35" fmla="*/ 1 h 200"/>
                  <a:gd name="T36" fmla="*/ 0 w 240"/>
                  <a:gd name="T37" fmla="*/ 1 h 200"/>
                  <a:gd name="T38" fmla="*/ 1 w 240"/>
                  <a:gd name="T39" fmla="*/ 1 h 200"/>
                  <a:gd name="T40" fmla="*/ 1 w 240"/>
                  <a:gd name="T41" fmla="*/ 1 h 200"/>
                  <a:gd name="T42" fmla="*/ 1 w 240"/>
                  <a:gd name="T43" fmla="*/ 1 h 200"/>
                  <a:gd name="T44" fmla="*/ 1 w 240"/>
                  <a:gd name="T45" fmla="*/ 1 h 200"/>
                  <a:gd name="T46" fmla="*/ 1 w 240"/>
                  <a:gd name="T47" fmla="*/ 1 h 200"/>
                  <a:gd name="T48" fmla="*/ 1 w 240"/>
                  <a:gd name="T49" fmla="*/ 0 h 200"/>
                  <a:gd name="T50" fmla="*/ 1 w 240"/>
                  <a:gd name="T51" fmla="*/ 1 h 200"/>
                  <a:gd name="T52" fmla="*/ 1 w 240"/>
                  <a:gd name="T53" fmla="*/ 1 h 200"/>
                  <a:gd name="T54" fmla="*/ 1 w 240"/>
                  <a:gd name="T55" fmla="*/ 1 h 200"/>
                  <a:gd name="T56" fmla="*/ 1 w 240"/>
                  <a:gd name="T57" fmla="*/ 1 h 200"/>
                  <a:gd name="T58" fmla="*/ 1 w 240"/>
                  <a:gd name="T59" fmla="*/ 1 h 200"/>
                  <a:gd name="T60" fmla="*/ 1 w 240"/>
                  <a:gd name="T61" fmla="*/ 1 h 200"/>
                  <a:gd name="T62" fmla="*/ 1 w 240"/>
                  <a:gd name="T63" fmla="*/ 1 h 200"/>
                  <a:gd name="T64" fmla="*/ 1 w 240"/>
                  <a:gd name="T65" fmla="*/ 1 h 20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40"/>
                  <a:gd name="T100" fmla="*/ 0 h 200"/>
                  <a:gd name="T101" fmla="*/ 240 w 240"/>
                  <a:gd name="T102" fmla="*/ 200 h 200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40" h="200">
                    <a:moveTo>
                      <a:pt x="224" y="8"/>
                    </a:moveTo>
                    <a:lnTo>
                      <a:pt x="232" y="16"/>
                    </a:lnTo>
                    <a:lnTo>
                      <a:pt x="232" y="24"/>
                    </a:lnTo>
                    <a:lnTo>
                      <a:pt x="240" y="56"/>
                    </a:lnTo>
                    <a:lnTo>
                      <a:pt x="224" y="64"/>
                    </a:lnTo>
                    <a:lnTo>
                      <a:pt x="208" y="96"/>
                    </a:lnTo>
                    <a:lnTo>
                      <a:pt x="200" y="104"/>
                    </a:lnTo>
                    <a:lnTo>
                      <a:pt x="192" y="144"/>
                    </a:lnTo>
                    <a:lnTo>
                      <a:pt x="176" y="152"/>
                    </a:lnTo>
                    <a:lnTo>
                      <a:pt x="168" y="144"/>
                    </a:lnTo>
                    <a:lnTo>
                      <a:pt x="152" y="144"/>
                    </a:lnTo>
                    <a:lnTo>
                      <a:pt x="128" y="176"/>
                    </a:lnTo>
                    <a:lnTo>
                      <a:pt x="120" y="200"/>
                    </a:lnTo>
                    <a:lnTo>
                      <a:pt x="72" y="200"/>
                    </a:lnTo>
                    <a:lnTo>
                      <a:pt x="64" y="192"/>
                    </a:lnTo>
                    <a:lnTo>
                      <a:pt x="56" y="184"/>
                    </a:lnTo>
                    <a:lnTo>
                      <a:pt x="32" y="160"/>
                    </a:lnTo>
                    <a:lnTo>
                      <a:pt x="8" y="160"/>
                    </a:lnTo>
                    <a:lnTo>
                      <a:pt x="0" y="104"/>
                    </a:lnTo>
                    <a:lnTo>
                      <a:pt x="16" y="88"/>
                    </a:lnTo>
                    <a:lnTo>
                      <a:pt x="16" y="64"/>
                    </a:lnTo>
                    <a:lnTo>
                      <a:pt x="8" y="40"/>
                    </a:lnTo>
                    <a:lnTo>
                      <a:pt x="16" y="40"/>
                    </a:lnTo>
                    <a:lnTo>
                      <a:pt x="24" y="16"/>
                    </a:lnTo>
                    <a:lnTo>
                      <a:pt x="40" y="0"/>
                    </a:lnTo>
                    <a:lnTo>
                      <a:pt x="72" y="8"/>
                    </a:lnTo>
                    <a:lnTo>
                      <a:pt x="88" y="24"/>
                    </a:lnTo>
                    <a:lnTo>
                      <a:pt x="112" y="24"/>
                    </a:lnTo>
                    <a:lnTo>
                      <a:pt x="128" y="24"/>
                    </a:lnTo>
                    <a:lnTo>
                      <a:pt x="144" y="24"/>
                    </a:lnTo>
                    <a:lnTo>
                      <a:pt x="152" y="8"/>
                    </a:lnTo>
                    <a:lnTo>
                      <a:pt x="192" y="16"/>
                    </a:lnTo>
                    <a:lnTo>
                      <a:pt x="224" y="8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10" name="Freeform 197"/>
              <p:cNvSpPr>
                <a:spLocks noChangeAspect="1"/>
              </p:cNvSpPr>
              <p:nvPr/>
            </p:nvSpPr>
            <p:spPr bwMode="auto">
              <a:xfrm>
                <a:off x="2772" y="2718"/>
                <a:ext cx="40" cy="84"/>
              </a:xfrm>
              <a:custGeom>
                <a:avLst/>
                <a:gdLst>
                  <a:gd name="T0" fmla="*/ 0 w 56"/>
                  <a:gd name="T1" fmla="*/ 1 h 120"/>
                  <a:gd name="T2" fmla="*/ 1 w 56"/>
                  <a:gd name="T3" fmla="*/ 1 h 120"/>
                  <a:gd name="T4" fmla="*/ 1 w 56"/>
                  <a:gd name="T5" fmla="*/ 0 h 120"/>
                  <a:gd name="T6" fmla="*/ 1 w 56"/>
                  <a:gd name="T7" fmla="*/ 0 h 120"/>
                  <a:gd name="T8" fmla="*/ 1 w 56"/>
                  <a:gd name="T9" fmla="*/ 1 h 120"/>
                  <a:gd name="T10" fmla="*/ 1 w 56"/>
                  <a:gd name="T11" fmla="*/ 1 h 120"/>
                  <a:gd name="T12" fmla="*/ 1 w 56"/>
                  <a:gd name="T13" fmla="*/ 1 h 120"/>
                  <a:gd name="T14" fmla="*/ 1 w 56"/>
                  <a:gd name="T15" fmla="*/ 1 h 120"/>
                  <a:gd name="T16" fmla="*/ 1 w 56"/>
                  <a:gd name="T17" fmla="*/ 1 h 120"/>
                  <a:gd name="T18" fmla="*/ 1 w 56"/>
                  <a:gd name="T19" fmla="*/ 1 h 120"/>
                  <a:gd name="T20" fmla="*/ 1 w 56"/>
                  <a:gd name="T21" fmla="*/ 1 h 120"/>
                  <a:gd name="T22" fmla="*/ 0 w 56"/>
                  <a:gd name="T23" fmla="*/ 1 h 120"/>
                  <a:gd name="T24" fmla="*/ 0 w 56"/>
                  <a:gd name="T25" fmla="*/ 1 h 120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6"/>
                  <a:gd name="T40" fmla="*/ 0 h 120"/>
                  <a:gd name="T41" fmla="*/ 56 w 56"/>
                  <a:gd name="T42" fmla="*/ 120 h 120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6" h="120">
                    <a:moveTo>
                      <a:pt x="0" y="24"/>
                    </a:moveTo>
                    <a:lnTo>
                      <a:pt x="32" y="8"/>
                    </a:lnTo>
                    <a:lnTo>
                      <a:pt x="32" y="0"/>
                    </a:lnTo>
                    <a:lnTo>
                      <a:pt x="48" y="0"/>
                    </a:lnTo>
                    <a:lnTo>
                      <a:pt x="56" y="24"/>
                    </a:lnTo>
                    <a:lnTo>
                      <a:pt x="56" y="48"/>
                    </a:lnTo>
                    <a:lnTo>
                      <a:pt x="40" y="64"/>
                    </a:lnTo>
                    <a:lnTo>
                      <a:pt x="48" y="120"/>
                    </a:lnTo>
                    <a:lnTo>
                      <a:pt x="24" y="120"/>
                    </a:lnTo>
                    <a:lnTo>
                      <a:pt x="24" y="64"/>
                    </a:lnTo>
                    <a:lnTo>
                      <a:pt x="8" y="48"/>
                    </a:lnTo>
                    <a:lnTo>
                      <a:pt x="0" y="40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11" name="Freeform 198"/>
              <p:cNvSpPr>
                <a:spLocks noChangeAspect="1"/>
              </p:cNvSpPr>
              <p:nvPr/>
            </p:nvSpPr>
            <p:spPr bwMode="auto">
              <a:xfrm>
                <a:off x="2761" y="2734"/>
                <a:ext cx="28" cy="74"/>
              </a:xfrm>
              <a:custGeom>
                <a:avLst/>
                <a:gdLst>
                  <a:gd name="T0" fmla="*/ 1 w 40"/>
                  <a:gd name="T1" fmla="*/ 0 h 104"/>
                  <a:gd name="T2" fmla="*/ 1 w 40"/>
                  <a:gd name="T3" fmla="*/ 1 h 104"/>
                  <a:gd name="T4" fmla="*/ 1 w 40"/>
                  <a:gd name="T5" fmla="*/ 1 h 104"/>
                  <a:gd name="T6" fmla="*/ 1 w 40"/>
                  <a:gd name="T7" fmla="*/ 1 h 104"/>
                  <a:gd name="T8" fmla="*/ 1 w 40"/>
                  <a:gd name="T9" fmla="*/ 1 h 104"/>
                  <a:gd name="T10" fmla="*/ 1 w 40"/>
                  <a:gd name="T11" fmla="*/ 1 h 104"/>
                  <a:gd name="T12" fmla="*/ 1 w 40"/>
                  <a:gd name="T13" fmla="*/ 1 h 104"/>
                  <a:gd name="T14" fmla="*/ 1 w 40"/>
                  <a:gd name="T15" fmla="*/ 1 h 104"/>
                  <a:gd name="T16" fmla="*/ 1 w 40"/>
                  <a:gd name="T17" fmla="*/ 1 h 104"/>
                  <a:gd name="T18" fmla="*/ 1 w 40"/>
                  <a:gd name="T19" fmla="*/ 1 h 104"/>
                  <a:gd name="T20" fmla="*/ 1 w 40"/>
                  <a:gd name="T21" fmla="*/ 1 h 104"/>
                  <a:gd name="T22" fmla="*/ 0 w 40"/>
                  <a:gd name="T23" fmla="*/ 0 h 104"/>
                  <a:gd name="T24" fmla="*/ 1 w 40"/>
                  <a:gd name="T25" fmla="*/ 0 h 10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40"/>
                  <a:gd name="T40" fmla="*/ 0 h 104"/>
                  <a:gd name="T41" fmla="*/ 40 w 40"/>
                  <a:gd name="T42" fmla="*/ 104 h 10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40" h="104">
                    <a:moveTo>
                      <a:pt x="16" y="0"/>
                    </a:moveTo>
                    <a:lnTo>
                      <a:pt x="16" y="16"/>
                    </a:lnTo>
                    <a:lnTo>
                      <a:pt x="24" y="24"/>
                    </a:lnTo>
                    <a:lnTo>
                      <a:pt x="40" y="40"/>
                    </a:lnTo>
                    <a:lnTo>
                      <a:pt x="40" y="96"/>
                    </a:lnTo>
                    <a:lnTo>
                      <a:pt x="16" y="104"/>
                    </a:lnTo>
                    <a:lnTo>
                      <a:pt x="16" y="88"/>
                    </a:lnTo>
                    <a:lnTo>
                      <a:pt x="16" y="80"/>
                    </a:lnTo>
                    <a:lnTo>
                      <a:pt x="16" y="72"/>
                    </a:lnTo>
                    <a:lnTo>
                      <a:pt x="8" y="64"/>
                    </a:lnTo>
                    <a:lnTo>
                      <a:pt x="8" y="24"/>
                    </a:lnTo>
                    <a:lnTo>
                      <a:pt x="0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12" name="Freeform 199"/>
              <p:cNvSpPr>
                <a:spLocks noChangeAspect="1"/>
              </p:cNvSpPr>
              <p:nvPr/>
            </p:nvSpPr>
            <p:spPr bwMode="auto">
              <a:xfrm>
                <a:off x="2716" y="2729"/>
                <a:ext cx="56" cy="95"/>
              </a:xfrm>
              <a:custGeom>
                <a:avLst/>
                <a:gdLst>
                  <a:gd name="T0" fmla="*/ 1 w 80"/>
                  <a:gd name="T1" fmla="*/ 1 h 136"/>
                  <a:gd name="T2" fmla="*/ 1 w 80"/>
                  <a:gd name="T3" fmla="*/ 1 h 136"/>
                  <a:gd name="T4" fmla="*/ 1 w 80"/>
                  <a:gd name="T5" fmla="*/ 1 h 136"/>
                  <a:gd name="T6" fmla="*/ 1 w 80"/>
                  <a:gd name="T7" fmla="*/ 1 h 136"/>
                  <a:gd name="T8" fmla="*/ 1 w 80"/>
                  <a:gd name="T9" fmla="*/ 1 h 136"/>
                  <a:gd name="T10" fmla="*/ 1 w 80"/>
                  <a:gd name="T11" fmla="*/ 1 h 136"/>
                  <a:gd name="T12" fmla="*/ 1 w 80"/>
                  <a:gd name="T13" fmla="*/ 1 h 136"/>
                  <a:gd name="T14" fmla="*/ 1 w 80"/>
                  <a:gd name="T15" fmla="*/ 1 h 136"/>
                  <a:gd name="T16" fmla="*/ 1 w 80"/>
                  <a:gd name="T17" fmla="*/ 1 h 136"/>
                  <a:gd name="T18" fmla="*/ 1 w 80"/>
                  <a:gd name="T19" fmla="*/ 1 h 136"/>
                  <a:gd name="T20" fmla="*/ 1 w 80"/>
                  <a:gd name="T21" fmla="*/ 1 h 136"/>
                  <a:gd name="T22" fmla="*/ 0 w 80"/>
                  <a:gd name="T23" fmla="*/ 1 h 136"/>
                  <a:gd name="T24" fmla="*/ 1 w 80"/>
                  <a:gd name="T25" fmla="*/ 1 h 136"/>
                  <a:gd name="T26" fmla="*/ 1 w 80"/>
                  <a:gd name="T27" fmla="*/ 1 h 136"/>
                  <a:gd name="T28" fmla="*/ 1 w 80"/>
                  <a:gd name="T29" fmla="*/ 1 h 136"/>
                  <a:gd name="T30" fmla="*/ 1 w 80"/>
                  <a:gd name="T31" fmla="*/ 0 h 136"/>
                  <a:gd name="T32" fmla="*/ 1 w 80"/>
                  <a:gd name="T33" fmla="*/ 0 h 136"/>
                  <a:gd name="T34" fmla="*/ 1 w 80"/>
                  <a:gd name="T35" fmla="*/ 1 h 136"/>
                  <a:gd name="T36" fmla="*/ 1 w 80"/>
                  <a:gd name="T37" fmla="*/ 0 h 136"/>
                  <a:gd name="T38" fmla="*/ 1 w 80"/>
                  <a:gd name="T39" fmla="*/ 1 h 1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80"/>
                  <a:gd name="T61" fmla="*/ 0 h 136"/>
                  <a:gd name="T62" fmla="*/ 80 w 80"/>
                  <a:gd name="T63" fmla="*/ 136 h 1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80" h="136">
                    <a:moveTo>
                      <a:pt x="64" y="8"/>
                    </a:moveTo>
                    <a:lnTo>
                      <a:pt x="72" y="32"/>
                    </a:lnTo>
                    <a:lnTo>
                      <a:pt x="72" y="72"/>
                    </a:lnTo>
                    <a:lnTo>
                      <a:pt x="80" y="80"/>
                    </a:lnTo>
                    <a:lnTo>
                      <a:pt x="80" y="88"/>
                    </a:lnTo>
                    <a:lnTo>
                      <a:pt x="80" y="96"/>
                    </a:lnTo>
                    <a:lnTo>
                      <a:pt x="80" y="112"/>
                    </a:lnTo>
                    <a:lnTo>
                      <a:pt x="64" y="120"/>
                    </a:lnTo>
                    <a:lnTo>
                      <a:pt x="24" y="136"/>
                    </a:lnTo>
                    <a:lnTo>
                      <a:pt x="16" y="128"/>
                    </a:lnTo>
                    <a:lnTo>
                      <a:pt x="8" y="112"/>
                    </a:lnTo>
                    <a:lnTo>
                      <a:pt x="0" y="104"/>
                    </a:lnTo>
                    <a:lnTo>
                      <a:pt x="16" y="72"/>
                    </a:lnTo>
                    <a:lnTo>
                      <a:pt x="16" y="56"/>
                    </a:lnTo>
                    <a:lnTo>
                      <a:pt x="8" y="32"/>
                    </a:lnTo>
                    <a:lnTo>
                      <a:pt x="16" y="0"/>
                    </a:lnTo>
                    <a:lnTo>
                      <a:pt x="32" y="0"/>
                    </a:lnTo>
                    <a:lnTo>
                      <a:pt x="48" y="8"/>
                    </a:lnTo>
                    <a:lnTo>
                      <a:pt x="56" y="0"/>
                    </a:lnTo>
                    <a:lnTo>
                      <a:pt x="64" y="8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13" name="Freeform 200"/>
              <p:cNvSpPr>
                <a:spLocks noChangeAspect="1"/>
              </p:cNvSpPr>
              <p:nvPr/>
            </p:nvSpPr>
            <p:spPr bwMode="auto">
              <a:xfrm>
                <a:off x="2643" y="2734"/>
                <a:ext cx="84" cy="96"/>
              </a:xfrm>
              <a:custGeom>
                <a:avLst/>
                <a:gdLst>
                  <a:gd name="T0" fmla="*/ 1 w 120"/>
                  <a:gd name="T1" fmla="*/ 1 h 136"/>
                  <a:gd name="T2" fmla="*/ 1 w 120"/>
                  <a:gd name="T3" fmla="*/ 1 h 136"/>
                  <a:gd name="T4" fmla="*/ 1 w 120"/>
                  <a:gd name="T5" fmla="*/ 1 h 136"/>
                  <a:gd name="T6" fmla="*/ 1 w 120"/>
                  <a:gd name="T7" fmla="*/ 1 h 136"/>
                  <a:gd name="T8" fmla="*/ 1 w 120"/>
                  <a:gd name="T9" fmla="*/ 1 h 136"/>
                  <a:gd name="T10" fmla="*/ 1 w 120"/>
                  <a:gd name="T11" fmla="*/ 1 h 136"/>
                  <a:gd name="T12" fmla="*/ 1 w 120"/>
                  <a:gd name="T13" fmla="*/ 1 h 136"/>
                  <a:gd name="T14" fmla="*/ 1 w 120"/>
                  <a:gd name="T15" fmla="*/ 1 h 136"/>
                  <a:gd name="T16" fmla="*/ 1 w 120"/>
                  <a:gd name="T17" fmla="*/ 1 h 136"/>
                  <a:gd name="T18" fmla="*/ 1 w 120"/>
                  <a:gd name="T19" fmla="*/ 1 h 136"/>
                  <a:gd name="T20" fmla="*/ 1 w 120"/>
                  <a:gd name="T21" fmla="*/ 0 h 136"/>
                  <a:gd name="T22" fmla="*/ 1 w 120"/>
                  <a:gd name="T23" fmla="*/ 1 h 136"/>
                  <a:gd name="T24" fmla="*/ 1 w 120"/>
                  <a:gd name="T25" fmla="*/ 1 h 136"/>
                  <a:gd name="T26" fmla="*/ 1 w 120"/>
                  <a:gd name="T27" fmla="*/ 1 h 136"/>
                  <a:gd name="T28" fmla="*/ 0 w 120"/>
                  <a:gd name="T29" fmla="*/ 1 h 136"/>
                  <a:gd name="T30" fmla="*/ 0 w 120"/>
                  <a:gd name="T31" fmla="*/ 1 h 136"/>
                  <a:gd name="T32" fmla="*/ 0 w 120"/>
                  <a:gd name="T33" fmla="*/ 1 h 136"/>
                  <a:gd name="T34" fmla="*/ 1 w 120"/>
                  <a:gd name="T35" fmla="*/ 1 h 136"/>
                  <a:gd name="T36" fmla="*/ 1 w 120"/>
                  <a:gd name="T37" fmla="*/ 1 h 136"/>
                  <a:gd name="T38" fmla="*/ 1 w 120"/>
                  <a:gd name="T39" fmla="*/ 1 h 136"/>
                  <a:gd name="T40" fmla="*/ 1 w 120"/>
                  <a:gd name="T41" fmla="*/ 1 h 136"/>
                  <a:gd name="T42" fmla="*/ 1 w 120"/>
                  <a:gd name="T43" fmla="*/ 1 h 136"/>
                  <a:gd name="T44" fmla="*/ 1 w 120"/>
                  <a:gd name="T45" fmla="*/ 1 h 136"/>
                  <a:gd name="T46" fmla="*/ 1 w 120"/>
                  <a:gd name="T47" fmla="*/ 1 h 1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20"/>
                  <a:gd name="T73" fmla="*/ 0 h 136"/>
                  <a:gd name="T74" fmla="*/ 120 w 120"/>
                  <a:gd name="T75" fmla="*/ 136 h 1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20" h="136">
                    <a:moveTo>
                      <a:pt x="120" y="120"/>
                    </a:moveTo>
                    <a:lnTo>
                      <a:pt x="112" y="104"/>
                    </a:lnTo>
                    <a:lnTo>
                      <a:pt x="104" y="96"/>
                    </a:lnTo>
                    <a:lnTo>
                      <a:pt x="120" y="64"/>
                    </a:lnTo>
                    <a:lnTo>
                      <a:pt x="120" y="48"/>
                    </a:lnTo>
                    <a:lnTo>
                      <a:pt x="112" y="24"/>
                    </a:lnTo>
                    <a:lnTo>
                      <a:pt x="88" y="24"/>
                    </a:lnTo>
                    <a:lnTo>
                      <a:pt x="80" y="32"/>
                    </a:lnTo>
                    <a:lnTo>
                      <a:pt x="64" y="16"/>
                    </a:lnTo>
                    <a:lnTo>
                      <a:pt x="48" y="16"/>
                    </a:lnTo>
                    <a:lnTo>
                      <a:pt x="32" y="0"/>
                    </a:lnTo>
                    <a:lnTo>
                      <a:pt x="24" y="16"/>
                    </a:lnTo>
                    <a:lnTo>
                      <a:pt x="8" y="16"/>
                    </a:lnTo>
                    <a:lnTo>
                      <a:pt x="8" y="48"/>
                    </a:lnTo>
                    <a:lnTo>
                      <a:pt x="0" y="64"/>
                    </a:lnTo>
                    <a:lnTo>
                      <a:pt x="0" y="72"/>
                    </a:lnTo>
                    <a:lnTo>
                      <a:pt x="0" y="96"/>
                    </a:lnTo>
                    <a:lnTo>
                      <a:pt x="16" y="104"/>
                    </a:lnTo>
                    <a:lnTo>
                      <a:pt x="16" y="120"/>
                    </a:lnTo>
                    <a:lnTo>
                      <a:pt x="8" y="136"/>
                    </a:lnTo>
                    <a:lnTo>
                      <a:pt x="32" y="136"/>
                    </a:lnTo>
                    <a:lnTo>
                      <a:pt x="64" y="128"/>
                    </a:lnTo>
                    <a:lnTo>
                      <a:pt x="88" y="120"/>
                    </a:lnTo>
                    <a:lnTo>
                      <a:pt x="120" y="120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14" name="Freeform 201"/>
              <p:cNvSpPr>
                <a:spLocks noChangeAspect="1"/>
              </p:cNvSpPr>
              <p:nvPr/>
            </p:nvSpPr>
            <p:spPr bwMode="auto">
              <a:xfrm>
                <a:off x="2885" y="2701"/>
                <a:ext cx="101" cy="163"/>
              </a:xfrm>
              <a:custGeom>
                <a:avLst/>
                <a:gdLst>
                  <a:gd name="T0" fmla="*/ 0 w 144"/>
                  <a:gd name="T1" fmla="*/ 1 h 232"/>
                  <a:gd name="T2" fmla="*/ 1 w 144"/>
                  <a:gd name="T3" fmla="*/ 1 h 232"/>
                  <a:gd name="T4" fmla="*/ 1 w 144"/>
                  <a:gd name="T5" fmla="*/ 1 h 232"/>
                  <a:gd name="T6" fmla="*/ 1 w 144"/>
                  <a:gd name="T7" fmla="*/ 1 h 232"/>
                  <a:gd name="T8" fmla="*/ 1 w 144"/>
                  <a:gd name="T9" fmla="*/ 1 h 232"/>
                  <a:gd name="T10" fmla="*/ 1 w 144"/>
                  <a:gd name="T11" fmla="*/ 1 h 232"/>
                  <a:gd name="T12" fmla="*/ 1 w 144"/>
                  <a:gd name="T13" fmla="*/ 1 h 232"/>
                  <a:gd name="T14" fmla="*/ 1 w 144"/>
                  <a:gd name="T15" fmla="*/ 1 h 232"/>
                  <a:gd name="T16" fmla="*/ 1 w 144"/>
                  <a:gd name="T17" fmla="*/ 1 h 232"/>
                  <a:gd name="T18" fmla="*/ 1 w 144"/>
                  <a:gd name="T19" fmla="*/ 1 h 232"/>
                  <a:gd name="T20" fmla="*/ 1 w 144"/>
                  <a:gd name="T21" fmla="*/ 1 h 232"/>
                  <a:gd name="T22" fmla="*/ 1 w 144"/>
                  <a:gd name="T23" fmla="*/ 1 h 232"/>
                  <a:gd name="T24" fmla="*/ 1 w 144"/>
                  <a:gd name="T25" fmla="*/ 1 h 232"/>
                  <a:gd name="T26" fmla="*/ 1 w 144"/>
                  <a:gd name="T27" fmla="*/ 1 h 232"/>
                  <a:gd name="T28" fmla="*/ 1 w 144"/>
                  <a:gd name="T29" fmla="*/ 1 h 232"/>
                  <a:gd name="T30" fmla="*/ 1 w 144"/>
                  <a:gd name="T31" fmla="*/ 1 h 232"/>
                  <a:gd name="T32" fmla="*/ 1 w 144"/>
                  <a:gd name="T33" fmla="*/ 1 h 232"/>
                  <a:gd name="T34" fmla="*/ 1 w 144"/>
                  <a:gd name="T35" fmla="*/ 0 h 232"/>
                  <a:gd name="T36" fmla="*/ 1 w 144"/>
                  <a:gd name="T37" fmla="*/ 0 h 232"/>
                  <a:gd name="T38" fmla="*/ 1 w 144"/>
                  <a:gd name="T39" fmla="*/ 1 h 232"/>
                  <a:gd name="T40" fmla="*/ 1 w 144"/>
                  <a:gd name="T41" fmla="*/ 1 h 232"/>
                  <a:gd name="T42" fmla="*/ 1 w 144"/>
                  <a:gd name="T43" fmla="*/ 1 h 232"/>
                  <a:gd name="T44" fmla="*/ 1 w 144"/>
                  <a:gd name="T45" fmla="*/ 1 h 232"/>
                  <a:gd name="T46" fmla="*/ 1 w 144"/>
                  <a:gd name="T47" fmla="*/ 1 h 232"/>
                  <a:gd name="T48" fmla="*/ 1 w 144"/>
                  <a:gd name="T49" fmla="*/ 1 h 232"/>
                  <a:gd name="T50" fmla="*/ 1 w 144"/>
                  <a:gd name="T51" fmla="*/ 1 h 232"/>
                  <a:gd name="T52" fmla="*/ 1 w 144"/>
                  <a:gd name="T53" fmla="*/ 1 h 232"/>
                  <a:gd name="T54" fmla="*/ 1 w 144"/>
                  <a:gd name="T55" fmla="*/ 1 h 232"/>
                  <a:gd name="T56" fmla="*/ 1 w 144"/>
                  <a:gd name="T57" fmla="*/ 1 h 232"/>
                  <a:gd name="T58" fmla="*/ 0 w 144"/>
                  <a:gd name="T59" fmla="*/ 1 h 232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144"/>
                  <a:gd name="T91" fmla="*/ 0 h 232"/>
                  <a:gd name="T92" fmla="*/ 144 w 144"/>
                  <a:gd name="T93" fmla="*/ 232 h 232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144" h="232">
                    <a:moveTo>
                      <a:pt x="0" y="184"/>
                    </a:moveTo>
                    <a:lnTo>
                      <a:pt x="16" y="192"/>
                    </a:lnTo>
                    <a:lnTo>
                      <a:pt x="24" y="208"/>
                    </a:lnTo>
                    <a:lnTo>
                      <a:pt x="24" y="224"/>
                    </a:lnTo>
                    <a:lnTo>
                      <a:pt x="56" y="224"/>
                    </a:lnTo>
                    <a:lnTo>
                      <a:pt x="88" y="224"/>
                    </a:lnTo>
                    <a:lnTo>
                      <a:pt x="120" y="224"/>
                    </a:lnTo>
                    <a:lnTo>
                      <a:pt x="128" y="232"/>
                    </a:lnTo>
                    <a:lnTo>
                      <a:pt x="144" y="216"/>
                    </a:lnTo>
                    <a:lnTo>
                      <a:pt x="120" y="168"/>
                    </a:lnTo>
                    <a:lnTo>
                      <a:pt x="120" y="152"/>
                    </a:lnTo>
                    <a:lnTo>
                      <a:pt x="144" y="120"/>
                    </a:lnTo>
                    <a:lnTo>
                      <a:pt x="128" y="96"/>
                    </a:lnTo>
                    <a:lnTo>
                      <a:pt x="112" y="80"/>
                    </a:lnTo>
                    <a:lnTo>
                      <a:pt x="112" y="72"/>
                    </a:lnTo>
                    <a:lnTo>
                      <a:pt x="136" y="64"/>
                    </a:lnTo>
                    <a:lnTo>
                      <a:pt x="136" y="24"/>
                    </a:lnTo>
                    <a:lnTo>
                      <a:pt x="120" y="0"/>
                    </a:lnTo>
                    <a:lnTo>
                      <a:pt x="112" y="0"/>
                    </a:lnTo>
                    <a:lnTo>
                      <a:pt x="112" y="8"/>
                    </a:lnTo>
                    <a:lnTo>
                      <a:pt x="120" y="40"/>
                    </a:lnTo>
                    <a:lnTo>
                      <a:pt x="104" y="48"/>
                    </a:lnTo>
                    <a:lnTo>
                      <a:pt x="88" y="80"/>
                    </a:lnTo>
                    <a:lnTo>
                      <a:pt x="80" y="88"/>
                    </a:lnTo>
                    <a:lnTo>
                      <a:pt x="72" y="128"/>
                    </a:lnTo>
                    <a:lnTo>
                      <a:pt x="56" y="136"/>
                    </a:lnTo>
                    <a:lnTo>
                      <a:pt x="48" y="128"/>
                    </a:lnTo>
                    <a:lnTo>
                      <a:pt x="32" y="128"/>
                    </a:lnTo>
                    <a:lnTo>
                      <a:pt x="8" y="160"/>
                    </a:lnTo>
                    <a:lnTo>
                      <a:pt x="0" y="184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15" name="Freeform 202"/>
              <p:cNvSpPr>
                <a:spLocks noChangeAspect="1"/>
              </p:cNvSpPr>
              <p:nvPr/>
            </p:nvSpPr>
            <p:spPr bwMode="auto">
              <a:xfrm>
                <a:off x="2969" y="2718"/>
                <a:ext cx="186" cy="135"/>
              </a:xfrm>
              <a:custGeom>
                <a:avLst/>
                <a:gdLst>
                  <a:gd name="T0" fmla="*/ 1 w 264"/>
                  <a:gd name="T1" fmla="*/ 1 h 192"/>
                  <a:gd name="T2" fmla="*/ 0 w 264"/>
                  <a:gd name="T3" fmla="*/ 1 h 192"/>
                  <a:gd name="T4" fmla="*/ 0 w 264"/>
                  <a:gd name="T5" fmla="*/ 1 h 192"/>
                  <a:gd name="T6" fmla="*/ 1 w 264"/>
                  <a:gd name="T7" fmla="*/ 1 h 192"/>
                  <a:gd name="T8" fmla="*/ 1 w 264"/>
                  <a:gd name="T9" fmla="*/ 1 h 192"/>
                  <a:gd name="T10" fmla="*/ 1 w 264"/>
                  <a:gd name="T11" fmla="*/ 1 h 192"/>
                  <a:gd name="T12" fmla="*/ 1 w 264"/>
                  <a:gd name="T13" fmla="*/ 1 h 192"/>
                  <a:gd name="T14" fmla="*/ 1 w 264"/>
                  <a:gd name="T15" fmla="*/ 1 h 192"/>
                  <a:gd name="T16" fmla="*/ 1 w 264"/>
                  <a:gd name="T17" fmla="*/ 1 h 192"/>
                  <a:gd name="T18" fmla="*/ 1 w 264"/>
                  <a:gd name="T19" fmla="*/ 0 h 192"/>
                  <a:gd name="T20" fmla="*/ 1 w 264"/>
                  <a:gd name="T21" fmla="*/ 1 h 192"/>
                  <a:gd name="T22" fmla="*/ 1 w 264"/>
                  <a:gd name="T23" fmla="*/ 1 h 192"/>
                  <a:gd name="T24" fmla="*/ 1 w 264"/>
                  <a:gd name="T25" fmla="*/ 1 h 192"/>
                  <a:gd name="T26" fmla="*/ 1 w 264"/>
                  <a:gd name="T27" fmla="*/ 1 h 192"/>
                  <a:gd name="T28" fmla="*/ 1 w 264"/>
                  <a:gd name="T29" fmla="*/ 1 h 192"/>
                  <a:gd name="T30" fmla="*/ 1 w 264"/>
                  <a:gd name="T31" fmla="*/ 1 h 192"/>
                  <a:gd name="T32" fmla="*/ 1 w 264"/>
                  <a:gd name="T33" fmla="*/ 1 h 192"/>
                  <a:gd name="T34" fmla="*/ 1 w 264"/>
                  <a:gd name="T35" fmla="*/ 1 h 192"/>
                  <a:gd name="T36" fmla="*/ 1 w 264"/>
                  <a:gd name="T37" fmla="*/ 1 h 192"/>
                  <a:gd name="T38" fmla="*/ 1 w 264"/>
                  <a:gd name="T39" fmla="*/ 1 h 192"/>
                  <a:gd name="T40" fmla="*/ 1 w 264"/>
                  <a:gd name="T41" fmla="*/ 1 h 192"/>
                  <a:gd name="T42" fmla="*/ 1 w 264"/>
                  <a:gd name="T43" fmla="*/ 1 h 192"/>
                  <a:gd name="T44" fmla="*/ 1 w 264"/>
                  <a:gd name="T45" fmla="*/ 1 h 192"/>
                  <a:gd name="T46" fmla="*/ 1 w 264"/>
                  <a:gd name="T47" fmla="*/ 1 h 192"/>
                  <a:gd name="T48" fmla="*/ 1 w 264"/>
                  <a:gd name="T49" fmla="*/ 1 h 192"/>
                  <a:gd name="T50" fmla="*/ 1 w 264"/>
                  <a:gd name="T51" fmla="*/ 1 h 192"/>
                  <a:gd name="T52" fmla="*/ 1 w 264"/>
                  <a:gd name="T53" fmla="*/ 1 h 192"/>
                  <a:gd name="T54" fmla="*/ 1 w 264"/>
                  <a:gd name="T55" fmla="*/ 1 h 192"/>
                  <a:gd name="T56" fmla="*/ 1 w 264"/>
                  <a:gd name="T57" fmla="*/ 1 h 192"/>
                  <a:gd name="T58" fmla="*/ 1 w 264"/>
                  <a:gd name="T59" fmla="*/ 1 h 192"/>
                  <a:gd name="T60" fmla="*/ 1 w 264"/>
                  <a:gd name="T61" fmla="*/ 1 h 192"/>
                  <a:gd name="T62" fmla="*/ 1 w 264"/>
                  <a:gd name="T63" fmla="*/ 1 h 192"/>
                  <a:gd name="T64" fmla="*/ 1 w 264"/>
                  <a:gd name="T65" fmla="*/ 1 h 19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64"/>
                  <a:gd name="T100" fmla="*/ 0 h 192"/>
                  <a:gd name="T101" fmla="*/ 264 w 264"/>
                  <a:gd name="T102" fmla="*/ 192 h 192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64" h="192">
                    <a:moveTo>
                      <a:pt x="24" y="192"/>
                    </a:moveTo>
                    <a:lnTo>
                      <a:pt x="0" y="144"/>
                    </a:lnTo>
                    <a:lnTo>
                      <a:pt x="0" y="128"/>
                    </a:lnTo>
                    <a:lnTo>
                      <a:pt x="24" y="96"/>
                    </a:lnTo>
                    <a:lnTo>
                      <a:pt x="88" y="88"/>
                    </a:lnTo>
                    <a:lnTo>
                      <a:pt x="96" y="64"/>
                    </a:lnTo>
                    <a:lnTo>
                      <a:pt x="120" y="64"/>
                    </a:lnTo>
                    <a:lnTo>
                      <a:pt x="152" y="32"/>
                    </a:lnTo>
                    <a:lnTo>
                      <a:pt x="152" y="8"/>
                    </a:lnTo>
                    <a:lnTo>
                      <a:pt x="168" y="0"/>
                    </a:lnTo>
                    <a:lnTo>
                      <a:pt x="184" y="16"/>
                    </a:lnTo>
                    <a:lnTo>
                      <a:pt x="184" y="24"/>
                    </a:lnTo>
                    <a:lnTo>
                      <a:pt x="176" y="24"/>
                    </a:lnTo>
                    <a:lnTo>
                      <a:pt x="192" y="40"/>
                    </a:lnTo>
                    <a:lnTo>
                      <a:pt x="192" y="72"/>
                    </a:lnTo>
                    <a:lnTo>
                      <a:pt x="200" y="72"/>
                    </a:lnTo>
                    <a:lnTo>
                      <a:pt x="208" y="88"/>
                    </a:lnTo>
                    <a:lnTo>
                      <a:pt x="216" y="88"/>
                    </a:lnTo>
                    <a:lnTo>
                      <a:pt x="232" y="104"/>
                    </a:lnTo>
                    <a:lnTo>
                      <a:pt x="240" y="120"/>
                    </a:lnTo>
                    <a:lnTo>
                      <a:pt x="256" y="136"/>
                    </a:lnTo>
                    <a:lnTo>
                      <a:pt x="264" y="144"/>
                    </a:lnTo>
                    <a:lnTo>
                      <a:pt x="232" y="136"/>
                    </a:lnTo>
                    <a:lnTo>
                      <a:pt x="176" y="160"/>
                    </a:lnTo>
                    <a:lnTo>
                      <a:pt x="160" y="168"/>
                    </a:lnTo>
                    <a:lnTo>
                      <a:pt x="128" y="160"/>
                    </a:lnTo>
                    <a:lnTo>
                      <a:pt x="112" y="144"/>
                    </a:lnTo>
                    <a:lnTo>
                      <a:pt x="80" y="152"/>
                    </a:lnTo>
                    <a:lnTo>
                      <a:pt x="80" y="168"/>
                    </a:lnTo>
                    <a:lnTo>
                      <a:pt x="64" y="176"/>
                    </a:lnTo>
                    <a:lnTo>
                      <a:pt x="48" y="168"/>
                    </a:lnTo>
                    <a:lnTo>
                      <a:pt x="32" y="176"/>
                    </a:lnTo>
                    <a:lnTo>
                      <a:pt x="24" y="192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16" name="Freeform 203"/>
              <p:cNvSpPr>
                <a:spLocks noChangeAspect="1"/>
              </p:cNvSpPr>
              <p:nvPr/>
            </p:nvSpPr>
            <p:spPr bwMode="auto">
              <a:xfrm>
                <a:off x="2958" y="2543"/>
                <a:ext cx="152" cy="242"/>
              </a:xfrm>
              <a:custGeom>
                <a:avLst/>
                <a:gdLst>
                  <a:gd name="T0" fmla="*/ 1 w 216"/>
                  <a:gd name="T1" fmla="*/ 1 h 344"/>
                  <a:gd name="T2" fmla="*/ 1 w 216"/>
                  <a:gd name="T3" fmla="*/ 1 h 344"/>
                  <a:gd name="T4" fmla="*/ 1 w 216"/>
                  <a:gd name="T5" fmla="*/ 1 h 344"/>
                  <a:gd name="T6" fmla="*/ 1 w 216"/>
                  <a:gd name="T7" fmla="*/ 1 h 344"/>
                  <a:gd name="T8" fmla="*/ 1 w 216"/>
                  <a:gd name="T9" fmla="*/ 1 h 344"/>
                  <a:gd name="T10" fmla="*/ 1 w 216"/>
                  <a:gd name="T11" fmla="*/ 1 h 344"/>
                  <a:gd name="T12" fmla="*/ 1 w 216"/>
                  <a:gd name="T13" fmla="*/ 1 h 344"/>
                  <a:gd name="T14" fmla="*/ 1 w 216"/>
                  <a:gd name="T15" fmla="*/ 1 h 344"/>
                  <a:gd name="T16" fmla="*/ 0 w 216"/>
                  <a:gd name="T17" fmla="*/ 1 h 344"/>
                  <a:gd name="T18" fmla="*/ 0 w 216"/>
                  <a:gd name="T19" fmla="*/ 1 h 344"/>
                  <a:gd name="T20" fmla="*/ 1 w 216"/>
                  <a:gd name="T21" fmla="*/ 1 h 344"/>
                  <a:gd name="T22" fmla="*/ 1 w 216"/>
                  <a:gd name="T23" fmla="*/ 1 h 344"/>
                  <a:gd name="T24" fmla="*/ 1 w 216"/>
                  <a:gd name="T25" fmla="*/ 1 h 344"/>
                  <a:gd name="T26" fmla="*/ 1 w 216"/>
                  <a:gd name="T27" fmla="*/ 1 h 344"/>
                  <a:gd name="T28" fmla="*/ 1 w 216"/>
                  <a:gd name="T29" fmla="*/ 1 h 344"/>
                  <a:gd name="T30" fmla="*/ 1 w 216"/>
                  <a:gd name="T31" fmla="*/ 0 h 344"/>
                  <a:gd name="T32" fmla="*/ 1 w 216"/>
                  <a:gd name="T33" fmla="*/ 1 h 344"/>
                  <a:gd name="T34" fmla="*/ 1 w 216"/>
                  <a:gd name="T35" fmla="*/ 1 h 344"/>
                  <a:gd name="T36" fmla="*/ 1 w 216"/>
                  <a:gd name="T37" fmla="*/ 1 h 344"/>
                  <a:gd name="T38" fmla="*/ 1 w 216"/>
                  <a:gd name="T39" fmla="*/ 1 h 344"/>
                  <a:gd name="T40" fmla="*/ 1 w 216"/>
                  <a:gd name="T41" fmla="*/ 1 h 344"/>
                  <a:gd name="T42" fmla="*/ 1 w 216"/>
                  <a:gd name="T43" fmla="*/ 1 h 344"/>
                  <a:gd name="T44" fmla="*/ 1 w 216"/>
                  <a:gd name="T45" fmla="*/ 1 h 344"/>
                  <a:gd name="T46" fmla="*/ 1 w 216"/>
                  <a:gd name="T47" fmla="*/ 1 h 344"/>
                  <a:gd name="T48" fmla="*/ 1 w 216"/>
                  <a:gd name="T49" fmla="*/ 1 h 344"/>
                  <a:gd name="T50" fmla="*/ 1 w 216"/>
                  <a:gd name="T51" fmla="*/ 1 h 344"/>
                  <a:gd name="T52" fmla="*/ 1 w 216"/>
                  <a:gd name="T53" fmla="*/ 1 h 344"/>
                  <a:gd name="T54" fmla="*/ 1 w 216"/>
                  <a:gd name="T55" fmla="*/ 1 h 344"/>
                  <a:gd name="T56" fmla="*/ 1 w 216"/>
                  <a:gd name="T57" fmla="*/ 1 h 344"/>
                  <a:gd name="T58" fmla="*/ 1 w 216"/>
                  <a:gd name="T59" fmla="*/ 1 h 344"/>
                  <a:gd name="T60" fmla="*/ 1 w 216"/>
                  <a:gd name="T61" fmla="*/ 1 h 344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216"/>
                  <a:gd name="T94" fmla="*/ 0 h 344"/>
                  <a:gd name="T95" fmla="*/ 216 w 216"/>
                  <a:gd name="T96" fmla="*/ 344 h 344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216" h="344">
                    <a:moveTo>
                      <a:pt x="40" y="344"/>
                    </a:moveTo>
                    <a:lnTo>
                      <a:pt x="24" y="320"/>
                    </a:lnTo>
                    <a:lnTo>
                      <a:pt x="8" y="304"/>
                    </a:lnTo>
                    <a:lnTo>
                      <a:pt x="8" y="296"/>
                    </a:lnTo>
                    <a:lnTo>
                      <a:pt x="32" y="288"/>
                    </a:lnTo>
                    <a:lnTo>
                      <a:pt x="32" y="248"/>
                    </a:lnTo>
                    <a:lnTo>
                      <a:pt x="16" y="224"/>
                    </a:lnTo>
                    <a:lnTo>
                      <a:pt x="8" y="224"/>
                    </a:lnTo>
                    <a:lnTo>
                      <a:pt x="0" y="216"/>
                    </a:lnTo>
                    <a:lnTo>
                      <a:pt x="0" y="184"/>
                    </a:lnTo>
                    <a:lnTo>
                      <a:pt x="40" y="144"/>
                    </a:lnTo>
                    <a:lnTo>
                      <a:pt x="40" y="88"/>
                    </a:lnTo>
                    <a:lnTo>
                      <a:pt x="48" y="72"/>
                    </a:lnTo>
                    <a:lnTo>
                      <a:pt x="32" y="48"/>
                    </a:lnTo>
                    <a:lnTo>
                      <a:pt x="24" y="24"/>
                    </a:lnTo>
                    <a:lnTo>
                      <a:pt x="56" y="0"/>
                    </a:lnTo>
                    <a:lnTo>
                      <a:pt x="216" y="80"/>
                    </a:lnTo>
                    <a:lnTo>
                      <a:pt x="216" y="168"/>
                    </a:lnTo>
                    <a:lnTo>
                      <a:pt x="184" y="168"/>
                    </a:lnTo>
                    <a:lnTo>
                      <a:pt x="184" y="184"/>
                    </a:lnTo>
                    <a:lnTo>
                      <a:pt x="184" y="192"/>
                    </a:lnTo>
                    <a:lnTo>
                      <a:pt x="176" y="224"/>
                    </a:lnTo>
                    <a:lnTo>
                      <a:pt x="176" y="232"/>
                    </a:lnTo>
                    <a:lnTo>
                      <a:pt x="184" y="240"/>
                    </a:lnTo>
                    <a:lnTo>
                      <a:pt x="184" y="248"/>
                    </a:lnTo>
                    <a:lnTo>
                      <a:pt x="168" y="256"/>
                    </a:lnTo>
                    <a:lnTo>
                      <a:pt x="168" y="280"/>
                    </a:lnTo>
                    <a:lnTo>
                      <a:pt x="136" y="312"/>
                    </a:lnTo>
                    <a:lnTo>
                      <a:pt x="112" y="312"/>
                    </a:lnTo>
                    <a:lnTo>
                      <a:pt x="104" y="336"/>
                    </a:lnTo>
                    <a:lnTo>
                      <a:pt x="40" y="344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17" name="Freeform 204"/>
              <p:cNvSpPr>
                <a:spLocks noChangeAspect="1"/>
              </p:cNvSpPr>
              <p:nvPr/>
            </p:nvSpPr>
            <p:spPr bwMode="auto">
              <a:xfrm>
                <a:off x="2890" y="2858"/>
                <a:ext cx="79" cy="101"/>
              </a:xfrm>
              <a:custGeom>
                <a:avLst/>
                <a:gdLst>
                  <a:gd name="T0" fmla="*/ 1 w 112"/>
                  <a:gd name="T1" fmla="*/ 1 h 144"/>
                  <a:gd name="T2" fmla="*/ 1 w 112"/>
                  <a:gd name="T3" fmla="*/ 1 h 144"/>
                  <a:gd name="T4" fmla="*/ 1 w 112"/>
                  <a:gd name="T5" fmla="*/ 1 h 144"/>
                  <a:gd name="T6" fmla="*/ 0 w 112"/>
                  <a:gd name="T7" fmla="*/ 1 h 144"/>
                  <a:gd name="T8" fmla="*/ 1 w 112"/>
                  <a:gd name="T9" fmla="*/ 1 h 144"/>
                  <a:gd name="T10" fmla="*/ 1 w 112"/>
                  <a:gd name="T11" fmla="*/ 1 h 144"/>
                  <a:gd name="T12" fmla="*/ 1 w 112"/>
                  <a:gd name="T13" fmla="*/ 1 h 144"/>
                  <a:gd name="T14" fmla="*/ 1 w 112"/>
                  <a:gd name="T15" fmla="*/ 1 h 144"/>
                  <a:gd name="T16" fmla="*/ 1 w 112"/>
                  <a:gd name="T17" fmla="*/ 0 h 144"/>
                  <a:gd name="T18" fmla="*/ 1 w 112"/>
                  <a:gd name="T19" fmla="*/ 0 h 144"/>
                  <a:gd name="T20" fmla="*/ 1 w 112"/>
                  <a:gd name="T21" fmla="*/ 1 h 144"/>
                  <a:gd name="T22" fmla="*/ 1 w 112"/>
                  <a:gd name="T23" fmla="*/ 1 h 144"/>
                  <a:gd name="T24" fmla="*/ 1 w 112"/>
                  <a:gd name="T25" fmla="*/ 1 h 144"/>
                  <a:gd name="T26" fmla="*/ 1 w 112"/>
                  <a:gd name="T27" fmla="*/ 1 h 144"/>
                  <a:gd name="T28" fmla="*/ 1 w 112"/>
                  <a:gd name="T29" fmla="*/ 1 h 144"/>
                  <a:gd name="T30" fmla="*/ 1 w 112"/>
                  <a:gd name="T31" fmla="*/ 1 h 144"/>
                  <a:gd name="T32" fmla="*/ 1 w 112"/>
                  <a:gd name="T33" fmla="*/ 1 h 144"/>
                  <a:gd name="T34" fmla="*/ 1 w 112"/>
                  <a:gd name="T35" fmla="*/ 1 h 144"/>
                  <a:gd name="T36" fmla="*/ 1 w 112"/>
                  <a:gd name="T37" fmla="*/ 1 h 144"/>
                  <a:gd name="T38" fmla="*/ 1 w 112"/>
                  <a:gd name="T39" fmla="*/ 1 h 144"/>
                  <a:gd name="T40" fmla="*/ 1 w 112"/>
                  <a:gd name="T41" fmla="*/ 1 h 144"/>
                  <a:gd name="T42" fmla="*/ 1 w 112"/>
                  <a:gd name="T43" fmla="*/ 1 h 144"/>
                  <a:gd name="T44" fmla="*/ 1 w 112"/>
                  <a:gd name="T45" fmla="*/ 1 h 144"/>
                  <a:gd name="T46" fmla="*/ 1 w 112"/>
                  <a:gd name="T47" fmla="*/ 1 h 144"/>
                  <a:gd name="T48" fmla="*/ 1 w 112"/>
                  <a:gd name="T49" fmla="*/ 1 h 144"/>
                  <a:gd name="T50" fmla="*/ 1 w 112"/>
                  <a:gd name="T51" fmla="*/ 1 h 144"/>
                  <a:gd name="T52" fmla="*/ 1 w 112"/>
                  <a:gd name="T53" fmla="*/ 1 h 144"/>
                  <a:gd name="T54" fmla="*/ 1 w 112"/>
                  <a:gd name="T55" fmla="*/ 1 h 144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112"/>
                  <a:gd name="T85" fmla="*/ 0 h 144"/>
                  <a:gd name="T86" fmla="*/ 112 w 112"/>
                  <a:gd name="T87" fmla="*/ 144 h 144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112" h="144">
                    <a:moveTo>
                      <a:pt x="56" y="144"/>
                    </a:moveTo>
                    <a:lnTo>
                      <a:pt x="32" y="112"/>
                    </a:lnTo>
                    <a:lnTo>
                      <a:pt x="16" y="96"/>
                    </a:lnTo>
                    <a:lnTo>
                      <a:pt x="0" y="72"/>
                    </a:lnTo>
                    <a:lnTo>
                      <a:pt x="16" y="48"/>
                    </a:lnTo>
                    <a:lnTo>
                      <a:pt x="8" y="32"/>
                    </a:lnTo>
                    <a:lnTo>
                      <a:pt x="16" y="24"/>
                    </a:lnTo>
                    <a:lnTo>
                      <a:pt x="48" y="24"/>
                    </a:lnTo>
                    <a:lnTo>
                      <a:pt x="48" y="0"/>
                    </a:lnTo>
                    <a:lnTo>
                      <a:pt x="80" y="0"/>
                    </a:lnTo>
                    <a:lnTo>
                      <a:pt x="72" y="16"/>
                    </a:lnTo>
                    <a:lnTo>
                      <a:pt x="96" y="32"/>
                    </a:lnTo>
                    <a:lnTo>
                      <a:pt x="112" y="24"/>
                    </a:lnTo>
                    <a:lnTo>
                      <a:pt x="112" y="40"/>
                    </a:lnTo>
                    <a:lnTo>
                      <a:pt x="104" y="48"/>
                    </a:lnTo>
                    <a:lnTo>
                      <a:pt x="96" y="64"/>
                    </a:lnTo>
                    <a:lnTo>
                      <a:pt x="104" y="72"/>
                    </a:lnTo>
                    <a:lnTo>
                      <a:pt x="112" y="72"/>
                    </a:lnTo>
                    <a:lnTo>
                      <a:pt x="104" y="112"/>
                    </a:lnTo>
                    <a:lnTo>
                      <a:pt x="88" y="96"/>
                    </a:lnTo>
                    <a:lnTo>
                      <a:pt x="80" y="88"/>
                    </a:lnTo>
                    <a:lnTo>
                      <a:pt x="64" y="80"/>
                    </a:lnTo>
                    <a:lnTo>
                      <a:pt x="64" y="96"/>
                    </a:lnTo>
                    <a:lnTo>
                      <a:pt x="56" y="104"/>
                    </a:lnTo>
                    <a:lnTo>
                      <a:pt x="48" y="104"/>
                    </a:lnTo>
                    <a:lnTo>
                      <a:pt x="56" y="112"/>
                    </a:lnTo>
                    <a:lnTo>
                      <a:pt x="72" y="128"/>
                    </a:lnTo>
                    <a:lnTo>
                      <a:pt x="56" y="144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18" name="Freeform 205"/>
              <p:cNvSpPr>
                <a:spLocks noChangeAspect="1"/>
              </p:cNvSpPr>
              <p:nvPr/>
            </p:nvSpPr>
            <p:spPr bwMode="auto">
              <a:xfrm>
                <a:off x="2930" y="2976"/>
                <a:ext cx="180" cy="175"/>
              </a:xfrm>
              <a:custGeom>
                <a:avLst/>
                <a:gdLst>
                  <a:gd name="T0" fmla="*/ 0 w 256"/>
                  <a:gd name="T1" fmla="*/ 1 h 248"/>
                  <a:gd name="T2" fmla="*/ 0 w 256"/>
                  <a:gd name="T3" fmla="*/ 1 h 248"/>
                  <a:gd name="T4" fmla="*/ 1 w 256"/>
                  <a:gd name="T5" fmla="*/ 1 h 248"/>
                  <a:gd name="T6" fmla="*/ 1 w 256"/>
                  <a:gd name="T7" fmla="*/ 1 h 248"/>
                  <a:gd name="T8" fmla="*/ 1 w 256"/>
                  <a:gd name="T9" fmla="*/ 1 h 248"/>
                  <a:gd name="T10" fmla="*/ 1 w 256"/>
                  <a:gd name="T11" fmla="*/ 1 h 248"/>
                  <a:gd name="T12" fmla="*/ 1 w 256"/>
                  <a:gd name="T13" fmla="*/ 1 h 248"/>
                  <a:gd name="T14" fmla="*/ 1 w 256"/>
                  <a:gd name="T15" fmla="*/ 1 h 248"/>
                  <a:gd name="T16" fmla="*/ 1 w 256"/>
                  <a:gd name="T17" fmla="*/ 1 h 248"/>
                  <a:gd name="T18" fmla="*/ 1 w 256"/>
                  <a:gd name="T19" fmla="*/ 1 h 248"/>
                  <a:gd name="T20" fmla="*/ 1 w 256"/>
                  <a:gd name="T21" fmla="*/ 1 h 248"/>
                  <a:gd name="T22" fmla="*/ 1 w 256"/>
                  <a:gd name="T23" fmla="*/ 1 h 248"/>
                  <a:gd name="T24" fmla="*/ 1 w 256"/>
                  <a:gd name="T25" fmla="*/ 0 h 248"/>
                  <a:gd name="T26" fmla="*/ 1 w 256"/>
                  <a:gd name="T27" fmla="*/ 1 h 248"/>
                  <a:gd name="T28" fmla="*/ 1 w 256"/>
                  <a:gd name="T29" fmla="*/ 1 h 248"/>
                  <a:gd name="T30" fmla="*/ 1 w 256"/>
                  <a:gd name="T31" fmla="*/ 1 h 248"/>
                  <a:gd name="T32" fmla="*/ 1 w 256"/>
                  <a:gd name="T33" fmla="*/ 1 h 248"/>
                  <a:gd name="T34" fmla="*/ 1 w 256"/>
                  <a:gd name="T35" fmla="*/ 1 h 248"/>
                  <a:gd name="T36" fmla="*/ 1 w 256"/>
                  <a:gd name="T37" fmla="*/ 1 h 248"/>
                  <a:gd name="T38" fmla="*/ 1 w 256"/>
                  <a:gd name="T39" fmla="*/ 1 h 248"/>
                  <a:gd name="T40" fmla="*/ 1 w 256"/>
                  <a:gd name="T41" fmla="*/ 1 h 248"/>
                  <a:gd name="T42" fmla="*/ 1 w 256"/>
                  <a:gd name="T43" fmla="*/ 1 h 248"/>
                  <a:gd name="T44" fmla="*/ 1 w 256"/>
                  <a:gd name="T45" fmla="*/ 1 h 248"/>
                  <a:gd name="T46" fmla="*/ 1 w 256"/>
                  <a:gd name="T47" fmla="*/ 1 h 248"/>
                  <a:gd name="T48" fmla="*/ 1 w 256"/>
                  <a:gd name="T49" fmla="*/ 1 h 248"/>
                  <a:gd name="T50" fmla="*/ 1 w 256"/>
                  <a:gd name="T51" fmla="*/ 1 h 248"/>
                  <a:gd name="T52" fmla="*/ 1 w 256"/>
                  <a:gd name="T53" fmla="*/ 1 h 248"/>
                  <a:gd name="T54" fmla="*/ 1 w 256"/>
                  <a:gd name="T55" fmla="*/ 1 h 248"/>
                  <a:gd name="T56" fmla="*/ 1 w 256"/>
                  <a:gd name="T57" fmla="*/ 1 h 248"/>
                  <a:gd name="T58" fmla="*/ 1 w 256"/>
                  <a:gd name="T59" fmla="*/ 1 h 248"/>
                  <a:gd name="T60" fmla="*/ 1 w 256"/>
                  <a:gd name="T61" fmla="*/ 1 h 248"/>
                  <a:gd name="T62" fmla="*/ 1 w 256"/>
                  <a:gd name="T63" fmla="*/ 1 h 248"/>
                  <a:gd name="T64" fmla="*/ 1 w 256"/>
                  <a:gd name="T65" fmla="*/ 1 h 248"/>
                  <a:gd name="T66" fmla="*/ 1 w 256"/>
                  <a:gd name="T67" fmla="*/ 1 h 248"/>
                  <a:gd name="T68" fmla="*/ 1 w 256"/>
                  <a:gd name="T69" fmla="*/ 1 h 248"/>
                  <a:gd name="T70" fmla="*/ 1 w 256"/>
                  <a:gd name="T71" fmla="*/ 1 h 248"/>
                  <a:gd name="T72" fmla="*/ 1 w 256"/>
                  <a:gd name="T73" fmla="*/ 1 h 248"/>
                  <a:gd name="T74" fmla="*/ 0 w 256"/>
                  <a:gd name="T75" fmla="*/ 1 h 24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256"/>
                  <a:gd name="T115" fmla="*/ 0 h 248"/>
                  <a:gd name="T116" fmla="*/ 256 w 256"/>
                  <a:gd name="T117" fmla="*/ 248 h 248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256" h="248">
                    <a:moveTo>
                      <a:pt x="0" y="240"/>
                    </a:moveTo>
                    <a:lnTo>
                      <a:pt x="0" y="224"/>
                    </a:lnTo>
                    <a:lnTo>
                      <a:pt x="8" y="200"/>
                    </a:lnTo>
                    <a:lnTo>
                      <a:pt x="24" y="152"/>
                    </a:lnTo>
                    <a:lnTo>
                      <a:pt x="32" y="144"/>
                    </a:lnTo>
                    <a:lnTo>
                      <a:pt x="48" y="120"/>
                    </a:lnTo>
                    <a:lnTo>
                      <a:pt x="40" y="96"/>
                    </a:lnTo>
                    <a:lnTo>
                      <a:pt x="32" y="80"/>
                    </a:lnTo>
                    <a:lnTo>
                      <a:pt x="32" y="48"/>
                    </a:lnTo>
                    <a:lnTo>
                      <a:pt x="24" y="32"/>
                    </a:lnTo>
                    <a:lnTo>
                      <a:pt x="16" y="16"/>
                    </a:lnTo>
                    <a:lnTo>
                      <a:pt x="24" y="8"/>
                    </a:lnTo>
                    <a:lnTo>
                      <a:pt x="104" y="0"/>
                    </a:lnTo>
                    <a:lnTo>
                      <a:pt x="112" y="24"/>
                    </a:lnTo>
                    <a:lnTo>
                      <a:pt x="128" y="40"/>
                    </a:lnTo>
                    <a:lnTo>
                      <a:pt x="160" y="40"/>
                    </a:lnTo>
                    <a:lnTo>
                      <a:pt x="160" y="24"/>
                    </a:lnTo>
                    <a:lnTo>
                      <a:pt x="176" y="24"/>
                    </a:lnTo>
                    <a:lnTo>
                      <a:pt x="192" y="32"/>
                    </a:lnTo>
                    <a:lnTo>
                      <a:pt x="208" y="32"/>
                    </a:lnTo>
                    <a:lnTo>
                      <a:pt x="216" y="88"/>
                    </a:lnTo>
                    <a:lnTo>
                      <a:pt x="224" y="104"/>
                    </a:lnTo>
                    <a:lnTo>
                      <a:pt x="256" y="104"/>
                    </a:lnTo>
                    <a:lnTo>
                      <a:pt x="256" y="112"/>
                    </a:lnTo>
                    <a:lnTo>
                      <a:pt x="248" y="144"/>
                    </a:lnTo>
                    <a:lnTo>
                      <a:pt x="216" y="144"/>
                    </a:lnTo>
                    <a:lnTo>
                      <a:pt x="216" y="224"/>
                    </a:lnTo>
                    <a:lnTo>
                      <a:pt x="232" y="232"/>
                    </a:lnTo>
                    <a:lnTo>
                      <a:pt x="216" y="248"/>
                    </a:lnTo>
                    <a:lnTo>
                      <a:pt x="192" y="248"/>
                    </a:lnTo>
                    <a:lnTo>
                      <a:pt x="168" y="248"/>
                    </a:lnTo>
                    <a:lnTo>
                      <a:pt x="152" y="248"/>
                    </a:lnTo>
                    <a:lnTo>
                      <a:pt x="128" y="232"/>
                    </a:lnTo>
                    <a:lnTo>
                      <a:pt x="72" y="232"/>
                    </a:lnTo>
                    <a:lnTo>
                      <a:pt x="48" y="240"/>
                    </a:lnTo>
                    <a:lnTo>
                      <a:pt x="40" y="232"/>
                    </a:lnTo>
                    <a:lnTo>
                      <a:pt x="16" y="232"/>
                    </a:lnTo>
                    <a:lnTo>
                      <a:pt x="0" y="240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19" name="Freeform 206"/>
              <p:cNvSpPr>
                <a:spLocks noChangeAspect="1"/>
              </p:cNvSpPr>
              <p:nvPr/>
            </p:nvSpPr>
            <p:spPr bwMode="auto">
              <a:xfrm>
                <a:off x="2935" y="2813"/>
                <a:ext cx="265" cy="276"/>
              </a:xfrm>
              <a:custGeom>
                <a:avLst/>
                <a:gdLst>
                  <a:gd name="T0" fmla="*/ 1 w 376"/>
                  <a:gd name="T1" fmla="*/ 1 h 392"/>
                  <a:gd name="T2" fmla="*/ 1 w 376"/>
                  <a:gd name="T3" fmla="*/ 1 h 392"/>
                  <a:gd name="T4" fmla="*/ 1 w 376"/>
                  <a:gd name="T5" fmla="*/ 1 h 392"/>
                  <a:gd name="T6" fmla="*/ 1 w 376"/>
                  <a:gd name="T7" fmla="*/ 1 h 392"/>
                  <a:gd name="T8" fmla="*/ 1 w 376"/>
                  <a:gd name="T9" fmla="*/ 1 h 392"/>
                  <a:gd name="T10" fmla="*/ 1 w 376"/>
                  <a:gd name="T11" fmla="*/ 1 h 392"/>
                  <a:gd name="T12" fmla="*/ 1 w 376"/>
                  <a:gd name="T13" fmla="*/ 1 h 392"/>
                  <a:gd name="T14" fmla="*/ 1 w 376"/>
                  <a:gd name="T15" fmla="*/ 1 h 392"/>
                  <a:gd name="T16" fmla="*/ 1 w 376"/>
                  <a:gd name="T17" fmla="*/ 1 h 392"/>
                  <a:gd name="T18" fmla="*/ 1 w 376"/>
                  <a:gd name="T19" fmla="*/ 1 h 392"/>
                  <a:gd name="T20" fmla="*/ 1 w 376"/>
                  <a:gd name="T21" fmla="*/ 1 h 392"/>
                  <a:gd name="T22" fmla="*/ 1 w 376"/>
                  <a:gd name="T23" fmla="*/ 1 h 392"/>
                  <a:gd name="T24" fmla="*/ 1 w 376"/>
                  <a:gd name="T25" fmla="*/ 1 h 392"/>
                  <a:gd name="T26" fmla="*/ 1 w 376"/>
                  <a:gd name="T27" fmla="*/ 1 h 392"/>
                  <a:gd name="T28" fmla="*/ 1 w 376"/>
                  <a:gd name="T29" fmla="*/ 1 h 392"/>
                  <a:gd name="T30" fmla="*/ 1 w 376"/>
                  <a:gd name="T31" fmla="*/ 1 h 392"/>
                  <a:gd name="T32" fmla="*/ 1 w 376"/>
                  <a:gd name="T33" fmla="*/ 1 h 392"/>
                  <a:gd name="T34" fmla="*/ 1 w 376"/>
                  <a:gd name="T35" fmla="*/ 1 h 392"/>
                  <a:gd name="T36" fmla="*/ 1 w 376"/>
                  <a:gd name="T37" fmla="*/ 1 h 392"/>
                  <a:gd name="T38" fmla="*/ 1 w 376"/>
                  <a:gd name="T39" fmla="*/ 1 h 392"/>
                  <a:gd name="T40" fmla="*/ 1 w 376"/>
                  <a:gd name="T41" fmla="*/ 1 h 392"/>
                  <a:gd name="T42" fmla="*/ 1 w 376"/>
                  <a:gd name="T43" fmla="*/ 1 h 392"/>
                  <a:gd name="T44" fmla="*/ 1 w 376"/>
                  <a:gd name="T45" fmla="*/ 1 h 392"/>
                  <a:gd name="T46" fmla="*/ 1 w 376"/>
                  <a:gd name="T47" fmla="*/ 1 h 392"/>
                  <a:gd name="T48" fmla="*/ 1 w 376"/>
                  <a:gd name="T49" fmla="*/ 1 h 392"/>
                  <a:gd name="T50" fmla="*/ 1 w 376"/>
                  <a:gd name="T51" fmla="*/ 1 h 392"/>
                  <a:gd name="T52" fmla="*/ 1 w 376"/>
                  <a:gd name="T53" fmla="*/ 1 h 392"/>
                  <a:gd name="T54" fmla="*/ 1 w 376"/>
                  <a:gd name="T55" fmla="*/ 1 h 392"/>
                  <a:gd name="T56" fmla="*/ 1 w 376"/>
                  <a:gd name="T57" fmla="*/ 1 h 392"/>
                  <a:gd name="T58" fmla="*/ 1 w 376"/>
                  <a:gd name="T59" fmla="*/ 1 h 392"/>
                  <a:gd name="T60" fmla="*/ 1 w 376"/>
                  <a:gd name="T61" fmla="*/ 1 h 392"/>
                  <a:gd name="T62" fmla="*/ 1 w 376"/>
                  <a:gd name="T63" fmla="*/ 1 h 392"/>
                  <a:gd name="T64" fmla="*/ 1 w 376"/>
                  <a:gd name="T65" fmla="*/ 1 h 392"/>
                  <a:gd name="T66" fmla="*/ 1 w 376"/>
                  <a:gd name="T67" fmla="*/ 1 h 392"/>
                  <a:gd name="T68" fmla="*/ 1 w 376"/>
                  <a:gd name="T69" fmla="*/ 1 h 392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376"/>
                  <a:gd name="T106" fmla="*/ 0 h 392"/>
                  <a:gd name="T107" fmla="*/ 376 w 376"/>
                  <a:gd name="T108" fmla="*/ 392 h 392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376" h="392">
                    <a:moveTo>
                      <a:pt x="376" y="280"/>
                    </a:moveTo>
                    <a:lnTo>
                      <a:pt x="360" y="288"/>
                    </a:lnTo>
                    <a:lnTo>
                      <a:pt x="344" y="288"/>
                    </a:lnTo>
                    <a:lnTo>
                      <a:pt x="336" y="296"/>
                    </a:lnTo>
                    <a:lnTo>
                      <a:pt x="328" y="344"/>
                    </a:lnTo>
                    <a:lnTo>
                      <a:pt x="336" y="360"/>
                    </a:lnTo>
                    <a:lnTo>
                      <a:pt x="344" y="360"/>
                    </a:lnTo>
                    <a:lnTo>
                      <a:pt x="352" y="352"/>
                    </a:lnTo>
                    <a:lnTo>
                      <a:pt x="360" y="360"/>
                    </a:lnTo>
                    <a:lnTo>
                      <a:pt x="360" y="384"/>
                    </a:lnTo>
                    <a:lnTo>
                      <a:pt x="352" y="392"/>
                    </a:lnTo>
                    <a:lnTo>
                      <a:pt x="304" y="344"/>
                    </a:lnTo>
                    <a:lnTo>
                      <a:pt x="296" y="344"/>
                    </a:lnTo>
                    <a:lnTo>
                      <a:pt x="288" y="352"/>
                    </a:lnTo>
                    <a:lnTo>
                      <a:pt x="280" y="352"/>
                    </a:lnTo>
                    <a:lnTo>
                      <a:pt x="272" y="344"/>
                    </a:lnTo>
                    <a:lnTo>
                      <a:pt x="264" y="336"/>
                    </a:lnTo>
                    <a:lnTo>
                      <a:pt x="264" y="344"/>
                    </a:lnTo>
                    <a:lnTo>
                      <a:pt x="256" y="344"/>
                    </a:lnTo>
                    <a:lnTo>
                      <a:pt x="248" y="344"/>
                    </a:lnTo>
                    <a:lnTo>
                      <a:pt x="248" y="336"/>
                    </a:lnTo>
                    <a:lnTo>
                      <a:pt x="216" y="336"/>
                    </a:lnTo>
                    <a:lnTo>
                      <a:pt x="208" y="320"/>
                    </a:lnTo>
                    <a:lnTo>
                      <a:pt x="200" y="264"/>
                    </a:lnTo>
                    <a:lnTo>
                      <a:pt x="184" y="264"/>
                    </a:lnTo>
                    <a:lnTo>
                      <a:pt x="168" y="256"/>
                    </a:lnTo>
                    <a:lnTo>
                      <a:pt x="152" y="256"/>
                    </a:lnTo>
                    <a:lnTo>
                      <a:pt x="152" y="272"/>
                    </a:lnTo>
                    <a:lnTo>
                      <a:pt x="120" y="272"/>
                    </a:lnTo>
                    <a:lnTo>
                      <a:pt x="104" y="256"/>
                    </a:lnTo>
                    <a:lnTo>
                      <a:pt x="96" y="232"/>
                    </a:lnTo>
                    <a:lnTo>
                      <a:pt x="16" y="240"/>
                    </a:lnTo>
                    <a:lnTo>
                      <a:pt x="0" y="232"/>
                    </a:lnTo>
                    <a:lnTo>
                      <a:pt x="16" y="224"/>
                    </a:lnTo>
                    <a:lnTo>
                      <a:pt x="24" y="216"/>
                    </a:lnTo>
                    <a:lnTo>
                      <a:pt x="32" y="208"/>
                    </a:lnTo>
                    <a:lnTo>
                      <a:pt x="40" y="208"/>
                    </a:lnTo>
                    <a:lnTo>
                      <a:pt x="40" y="216"/>
                    </a:lnTo>
                    <a:lnTo>
                      <a:pt x="72" y="200"/>
                    </a:lnTo>
                    <a:lnTo>
                      <a:pt x="88" y="144"/>
                    </a:lnTo>
                    <a:lnTo>
                      <a:pt x="104" y="136"/>
                    </a:lnTo>
                    <a:lnTo>
                      <a:pt x="112" y="112"/>
                    </a:lnTo>
                    <a:lnTo>
                      <a:pt x="120" y="72"/>
                    </a:lnTo>
                    <a:lnTo>
                      <a:pt x="128" y="56"/>
                    </a:lnTo>
                    <a:lnTo>
                      <a:pt x="128" y="32"/>
                    </a:lnTo>
                    <a:lnTo>
                      <a:pt x="128" y="16"/>
                    </a:lnTo>
                    <a:lnTo>
                      <a:pt x="160" y="8"/>
                    </a:lnTo>
                    <a:lnTo>
                      <a:pt x="176" y="24"/>
                    </a:lnTo>
                    <a:lnTo>
                      <a:pt x="208" y="32"/>
                    </a:lnTo>
                    <a:lnTo>
                      <a:pt x="224" y="24"/>
                    </a:lnTo>
                    <a:lnTo>
                      <a:pt x="280" y="0"/>
                    </a:lnTo>
                    <a:lnTo>
                      <a:pt x="312" y="8"/>
                    </a:lnTo>
                    <a:lnTo>
                      <a:pt x="320" y="16"/>
                    </a:lnTo>
                    <a:lnTo>
                      <a:pt x="328" y="16"/>
                    </a:lnTo>
                    <a:lnTo>
                      <a:pt x="336" y="16"/>
                    </a:lnTo>
                    <a:lnTo>
                      <a:pt x="344" y="16"/>
                    </a:lnTo>
                    <a:lnTo>
                      <a:pt x="360" y="16"/>
                    </a:lnTo>
                    <a:lnTo>
                      <a:pt x="376" y="32"/>
                    </a:lnTo>
                    <a:lnTo>
                      <a:pt x="376" y="56"/>
                    </a:lnTo>
                    <a:lnTo>
                      <a:pt x="376" y="72"/>
                    </a:lnTo>
                    <a:lnTo>
                      <a:pt x="352" y="112"/>
                    </a:lnTo>
                    <a:lnTo>
                      <a:pt x="344" y="136"/>
                    </a:lnTo>
                    <a:lnTo>
                      <a:pt x="344" y="160"/>
                    </a:lnTo>
                    <a:lnTo>
                      <a:pt x="352" y="176"/>
                    </a:lnTo>
                    <a:lnTo>
                      <a:pt x="352" y="184"/>
                    </a:lnTo>
                    <a:lnTo>
                      <a:pt x="360" y="200"/>
                    </a:lnTo>
                    <a:lnTo>
                      <a:pt x="352" y="208"/>
                    </a:lnTo>
                    <a:lnTo>
                      <a:pt x="352" y="232"/>
                    </a:lnTo>
                    <a:lnTo>
                      <a:pt x="376" y="264"/>
                    </a:lnTo>
                    <a:lnTo>
                      <a:pt x="376" y="280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20" name="Freeform 207"/>
              <p:cNvSpPr>
                <a:spLocks noChangeAspect="1"/>
              </p:cNvSpPr>
              <p:nvPr/>
            </p:nvSpPr>
            <p:spPr bwMode="auto">
              <a:xfrm>
                <a:off x="2924" y="2836"/>
                <a:ext cx="101" cy="129"/>
              </a:xfrm>
              <a:custGeom>
                <a:avLst/>
                <a:gdLst>
                  <a:gd name="T0" fmla="*/ 1 w 144"/>
                  <a:gd name="T1" fmla="*/ 1 h 184"/>
                  <a:gd name="T2" fmla="*/ 1 w 144"/>
                  <a:gd name="T3" fmla="*/ 1 h 184"/>
                  <a:gd name="T4" fmla="*/ 1 w 144"/>
                  <a:gd name="T5" fmla="*/ 1 h 184"/>
                  <a:gd name="T6" fmla="*/ 1 w 144"/>
                  <a:gd name="T7" fmla="*/ 1 h 184"/>
                  <a:gd name="T8" fmla="*/ 1 w 144"/>
                  <a:gd name="T9" fmla="*/ 1 h 184"/>
                  <a:gd name="T10" fmla="*/ 1 w 144"/>
                  <a:gd name="T11" fmla="*/ 1 h 184"/>
                  <a:gd name="T12" fmla="*/ 1 w 144"/>
                  <a:gd name="T13" fmla="*/ 1 h 184"/>
                  <a:gd name="T14" fmla="*/ 1 w 144"/>
                  <a:gd name="T15" fmla="*/ 1 h 184"/>
                  <a:gd name="T16" fmla="*/ 1 w 144"/>
                  <a:gd name="T17" fmla="*/ 1 h 184"/>
                  <a:gd name="T18" fmla="*/ 1 w 144"/>
                  <a:gd name="T19" fmla="*/ 1 h 184"/>
                  <a:gd name="T20" fmla="*/ 1 w 144"/>
                  <a:gd name="T21" fmla="*/ 0 h 184"/>
                  <a:gd name="T22" fmla="*/ 1 w 144"/>
                  <a:gd name="T23" fmla="*/ 1 h 184"/>
                  <a:gd name="T24" fmla="*/ 1 w 144"/>
                  <a:gd name="T25" fmla="*/ 0 h 184"/>
                  <a:gd name="T26" fmla="*/ 1 w 144"/>
                  <a:gd name="T27" fmla="*/ 1 h 184"/>
                  <a:gd name="T28" fmla="*/ 1 w 144"/>
                  <a:gd name="T29" fmla="*/ 1 h 184"/>
                  <a:gd name="T30" fmla="*/ 1 w 144"/>
                  <a:gd name="T31" fmla="*/ 1 h 184"/>
                  <a:gd name="T32" fmla="*/ 1 w 144"/>
                  <a:gd name="T33" fmla="*/ 1 h 184"/>
                  <a:gd name="T34" fmla="*/ 1 w 144"/>
                  <a:gd name="T35" fmla="*/ 1 h 184"/>
                  <a:gd name="T36" fmla="*/ 1 w 144"/>
                  <a:gd name="T37" fmla="*/ 1 h 184"/>
                  <a:gd name="T38" fmla="*/ 1 w 144"/>
                  <a:gd name="T39" fmla="*/ 1 h 184"/>
                  <a:gd name="T40" fmla="*/ 1 w 144"/>
                  <a:gd name="T41" fmla="*/ 1 h 184"/>
                  <a:gd name="T42" fmla="*/ 1 w 144"/>
                  <a:gd name="T43" fmla="*/ 1 h 184"/>
                  <a:gd name="T44" fmla="*/ 1 w 144"/>
                  <a:gd name="T45" fmla="*/ 1 h 184"/>
                  <a:gd name="T46" fmla="*/ 1 w 144"/>
                  <a:gd name="T47" fmla="*/ 1 h 184"/>
                  <a:gd name="T48" fmla="*/ 1 w 144"/>
                  <a:gd name="T49" fmla="*/ 1 h 184"/>
                  <a:gd name="T50" fmla="*/ 1 w 144"/>
                  <a:gd name="T51" fmla="*/ 1 h 184"/>
                  <a:gd name="T52" fmla="*/ 1 w 144"/>
                  <a:gd name="T53" fmla="*/ 1 h 184"/>
                  <a:gd name="T54" fmla="*/ 1 w 144"/>
                  <a:gd name="T55" fmla="*/ 1 h 184"/>
                  <a:gd name="T56" fmla="*/ 1 w 144"/>
                  <a:gd name="T57" fmla="*/ 1 h 184"/>
                  <a:gd name="T58" fmla="*/ 1 w 144"/>
                  <a:gd name="T59" fmla="*/ 1 h 184"/>
                  <a:gd name="T60" fmla="*/ 1 w 144"/>
                  <a:gd name="T61" fmla="*/ 1 h 184"/>
                  <a:gd name="T62" fmla="*/ 1 w 144"/>
                  <a:gd name="T63" fmla="*/ 1 h 184"/>
                  <a:gd name="T64" fmla="*/ 0 w 144"/>
                  <a:gd name="T65" fmla="*/ 1 h 184"/>
                  <a:gd name="T66" fmla="*/ 1 w 144"/>
                  <a:gd name="T67" fmla="*/ 1 h 184"/>
                  <a:gd name="T68" fmla="*/ 1 w 144"/>
                  <a:gd name="T69" fmla="*/ 1 h 184"/>
                  <a:gd name="T70" fmla="*/ 1 w 144"/>
                  <a:gd name="T71" fmla="*/ 1 h 184"/>
                  <a:gd name="T72" fmla="*/ 1 w 144"/>
                  <a:gd name="T73" fmla="*/ 1 h 184"/>
                  <a:gd name="T74" fmla="*/ 1 w 144"/>
                  <a:gd name="T75" fmla="*/ 1 h 184"/>
                  <a:gd name="T76" fmla="*/ 1 w 144"/>
                  <a:gd name="T77" fmla="*/ 1 h 184"/>
                  <a:gd name="T78" fmla="*/ 1 w 144"/>
                  <a:gd name="T79" fmla="*/ 1 h 184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144"/>
                  <a:gd name="T121" fmla="*/ 0 h 184"/>
                  <a:gd name="T122" fmla="*/ 144 w 144"/>
                  <a:gd name="T123" fmla="*/ 184 h 184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144" h="184">
                    <a:moveTo>
                      <a:pt x="40" y="184"/>
                    </a:moveTo>
                    <a:lnTo>
                      <a:pt x="48" y="176"/>
                    </a:lnTo>
                    <a:lnTo>
                      <a:pt x="56" y="176"/>
                    </a:lnTo>
                    <a:lnTo>
                      <a:pt x="56" y="184"/>
                    </a:lnTo>
                    <a:lnTo>
                      <a:pt x="88" y="168"/>
                    </a:lnTo>
                    <a:lnTo>
                      <a:pt x="104" y="112"/>
                    </a:lnTo>
                    <a:lnTo>
                      <a:pt x="120" y="104"/>
                    </a:lnTo>
                    <a:lnTo>
                      <a:pt x="128" y="80"/>
                    </a:lnTo>
                    <a:lnTo>
                      <a:pt x="136" y="40"/>
                    </a:lnTo>
                    <a:lnTo>
                      <a:pt x="144" y="24"/>
                    </a:lnTo>
                    <a:lnTo>
                      <a:pt x="144" y="0"/>
                    </a:lnTo>
                    <a:lnTo>
                      <a:pt x="128" y="8"/>
                    </a:lnTo>
                    <a:lnTo>
                      <a:pt x="112" y="0"/>
                    </a:lnTo>
                    <a:lnTo>
                      <a:pt x="96" y="8"/>
                    </a:lnTo>
                    <a:lnTo>
                      <a:pt x="88" y="24"/>
                    </a:lnTo>
                    <a:lnTo>
                      <a:pt x="72" y="40"/>
                    </a:lnTo>
                    <a:lnTo>
                      <a:pt x="64" y="32"/>
                    </a:lnTo>
                    <a:lnTo>
                      <a:pt x="32" y="32"/>
                    </a:lnTo>
                    <a:lnTo>
                      <a:pt x="24" y="48"/>
                    </a:lnTo>
                    <a:lnTo>
                      <a:pt x="48" y="64"/>
                    </a:lnTo>
                    <a:lnTo>
                      <a:pt x="64" y="56"/>
                    </a:lnTo>
                    <a:lnTo>
                      <a:pt x="64" y="72"/>
                    </a:lnTo>
                    <a:lnTo>
                      <a:pt x="56" y="80"/>
                    </a:lnTo>
                    <a:lnTo>
                      <a:pt x="48" y="96"/>
                    </a:lnTo>
                    <a:lnTo>
                      <a:pt x="56" y="104"/>
                    </a:lnTo>
                    <a:lnTo>
                      <a:pt x="64" y="104"/>
                    </a:lnTo>
                    <a:lnTo>
                      <a:pt x="56" y="144"/>
                    </a:lnTo>
                    <a:lnTo>
                      <a:pt x="40" y="128"/>
                    </a:lnTo>
                    <a:lnTo>
                      <a:pt x="32" y="120"/>
                    </a:lnTo>
                    <a:lnTo>
                      <a:pt x="16" y="112"/>
                    </a:lnTo>
                    <a:lnTo>
                      <a:pt x="16" y="128"/>
                    </a:lnTo>
                    <a:lnTo>
                      <a:pt x="8" y="136"/>
                    </a:lnTo>
                    <a:lnTo>
                      <a:pt x="0" y="136"/>
                    </a:lnTo>
                    <a:lnTo>
                      <a:pt x="8" y="144"/>
                    </a:lnTo>
                    <a:lnTo>
                      <a:pt x="24" y="160"/>
                    </a:lnTo>
                    <a:lnTo>
                      <a:pt x="8" y="176"/>
                    </a:lnTo>
                    <a:lnTo>
                      <a:pt x="8" y="184"/>
                    </a:lnTo>
                    <a:lnTo>
                      <a:pt x="32" y="176"/>
                    </a:lnTo>
                    <a:lnTo>
                      <a:pt x="40" y="176"/>
                    </a:lnTo>
                    <a:lnTo>
                      <a:pt x="40" y="184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21" name="Freeform 208"/>
              <p:cNvSpPr>
                <a:spLocks noChangeAspect="1"/>
              </p:cNvSpPr>
              <p:nvPr/>
            </p:nvSpPr>
            <p:spPr bwMode="auto">
              <a:xfrm>
                <a:off x="3183" y="2903"/>
                <a:ext cx="157" cy="158"/>
              </a:xfrm>
              <a:custGeom>
                <a:avLst/>
                <a:gdLst>
                  <a:gd name="T0" fmla="*/ 1 w 224"/>
                  <a:gd name="T1" fmla="*/ 1 h 224"/>
                  <a:gd name="T2" fmla="*/ 1 w 224"/>
                  <a:gd name="T3" fmla="*/ 1 h 224"/>
                  <a:gd name="T4" fmla="*/ 1 w 224"/>
                  <a:gd name="T5" fmla="*/ 1 h 224"/>
                  <a:gd name="T6" fmla="*/ 1 w 224"/>
                  <a:gd name="T7" fmla="*/ 1 h 224"/>
                  <a:gd name="T8" fmla="*/ 1 w 224"/>
                  <a:gd name="T9" fmla="*/ 1 h 224"/>
                  <a:gd name="T10" fmla="*/ 1 w 224"/>
                  <a:gd name="T11" fmla="*/ 0 h 224"/>
                  <a:gd name="T12" fmla="*/ 1 w 224"/>
                  <a:gd name="T13" fmla="*/ 0 h 224"/>
                  <a:gd name="T14" fmla="*/ 1 w 224"/>
                  <a:gd name="T15" fmla="*/ 0 h 224"/>
                  <a:gd name="T16" fmla="*/ 1 w 224"/>
                  <a:gd name="T17" fmla="*/ 1 h 224"/>
                  <a:gd name="T18" fmla="*/ 1 w 224"/>
                  <a:gd name="T19" fmla="*/ 1 h 224"/>
                  <a:gd name="T20" fmla="*/ 1 w 224"/>
                  <a:gd name="T21" fmla="*/ 1 h 224"/>
                  <a:gd name="T22" fmla="*/ 1 w 224"/>
                  <a:gd name="T23" fmla="*/ 1 h 224"/>
                  <a:gd name="T24" fmla="*/ 1 w 224"/>
                  <a:gd name="T25" fmla="*/ 1 h 224"/>
                  <a:gd name="T26" fmla="*/ 1 w 224"/>
                  <a:gd name="T27" fmla="*/ 1 h 224"/>
                  <a:gd name="T28" fmla="*/ 1 w 224"/>
                  <a:gd name="T29" fmla="*/ 1 h 224"/>
                  <a:gd name="T30" fmla="*/ 1 w 224"/>
                  <a:gd name="T31" fmla="*/ 1 h 224"/>
                  <a:gd name="T32" fmla="*/ 1 w 224"/>
                  <a:gd name="T33" fmla="*/ 1 h 224"/>
                  <a:gd name="T34" fmla="*/ 0 w 224"/>
                  <a:gd name="T35" fmla="*/ 1 h 224"/>
                  <a:gd name="T36" fmla="*/ 0 w 224"/>
                  <a:gd name="T37" fmla="*/ 1 h 224"/>
                  <a:gd name="T38" fmla="*/ 1 w 224"/>
                  <a:gd name="T39" fmla="*/ 1 h 224"/>
                  <a:gd name="T40" fmla="*/ 1 w 224"/>
                  <a:gd name="T41" fmla="*/ 1 h 224"/>
                  <a:gd name="T42" fmla="*/ 1 w 224"/>
                  <a:gd name="T43" fmla="*/ 1 h 224"/>
                  <a:gd name="T44" fmla="*/ 1 w 224"/>
                  <a:gd name="T45" fmla="*/ 1 h 224"/>
                  <a:gd name="T46" fmla="*/ 1 w 224"/>
                  <a:gd name="T47" fmla="*/ 1 h 224"/>
                  <a:gd name="T48" fmla="*/ 1 w 224"/>
                  <a:gd name="T49" fmla="*/ 1 h 224"/>
                  <a:gd name="T50" fmla="*/ 1 w 224"/>
                  <a:gd name="T51" fmla="*/ 1 h 224"/>
                  <a:gd name="T52" fmla="*/ 1 w 224"/>
                  <a:gd name="T53" fmla="*/ 1 h 224"/>
                  <a:gd name="T54" fmla="*/ 1 w 224"/>
                  <a:gd name="T55" fmla="*/ 1 h 224"/>
                  <a:gd name="T56" fmla="*/ 1 w 224"/>
                  <a:gd name="T57" fmla="*/ 1 h 224"/>
                  <a:gd name="T58" fmla="*/ 1 w 224"/>
                  <a:gd name="T59" fmla="*/ 1 h 224"/>
                  <a:gd name="T60" fmla="*/ 1 w 224"/>
                  <a:gd name="T61" fmla="*/ 1 h 224"/>
                  <a:gd name="T62" fmla="*/ 1 w 224"/>
                  <a:gd name="T63" fmla="*/ 1 h 224"/>
                  <a:gd name="T64" fmla="*/ 1 w 224"/>
                  <a:gd name="T65" fmla="*/ 1 h 224"/>
                  <a:gd name="T66" fmla="*/ 1 w 224"/>
                  <a:gd name="T67" fmla="*/ 1 h 224"/>
                  <a:gd name="T68" fmla="*/ 1 w 224"/>
                  <a:gd name="T69" fmla="*/ 1 h 224"/>
                  <a:gd name="T70" fmla="*/ 1 w 224"/>
                  <a:gd name="T71" fmla="*/ 1 h 224"/>
                  <a:gd name="T72" fmla="*/ 1 w 224"/>
                  <a:gd name="T73" fmla="*/ 1 h 224"/>
                  <a:gd name="T74" fmla="*/ 1 w 224"/>
                  <a:gd name="T75" fmla="*/ 1 h 224"/>
                  <a:gd name="T76" fmla="*/ 1 w 224"/>
                  <a:gd name="T77" fmla="*/ 1 h 224"/>
                  <a:gd name="T78" fmla="*/ 1 w 224"/>
                  <a:gd name="T79" fmla="*/ 1 h 224"/>
                  <a:gd name="T80" fmla="*/ 1 w 224"/>
                  <a:gd name="T81" fmla="*/ 1 h 224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224"/>
                  <a:gd name="T124" fmla="*/ 0 h 224"/>
                  <a:gd name="T125" fmla="*/ 224 w 224"/>
                  <a:gd name="T126" fmla="*/ 224 h 224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224" h="224">
                    <a:moveTo>
                      <a:pt x="200" y="72"/>
                    </a:moveTo>
                    <a:lnTo>
                      <a:pt x="160" y="56"/>
                    </a:lnTo>
                    <a:lnTo>
                      <a:pt x="160" y="40"/>
                    </a:lnTo>
                    <a:lnTo>
                      <a:pt x="160" y="32"/>
                    </a:lnTo>
                    <a:lnTo>
                      <a:pt x="120" y="16"/>
                    </a:lnTo>
                    <a:lnTo>
                      <a:pt x="88" y="0"/>
                    </a:lnTo>
                    <a:lnTo>
                      <a:pt x="32" y="0"/>
                    </a:lnTo>
                    <a:lnTo>
                      <a:pt x="24" y="0"/>
                    </a:lnTo>
                    <a:lnTo>
                      <a:pt x="32" y="8"/>
                    </a:lnTo>
                    <a:lnTo>
                      <a:pt x="24" y="16"/>
                    </a:lnTo>
                    <a:lnTo>
                      <a:pt x="16" y="24"/>
                    </a:lnTo>
                    <a:lnTo>
                      <a:pt x="16" y="32"/>
                    </a:lnTo>
                    <a:lnTo>
                      <a:pt x="24" y="40"/>
                    </a:lnTo>
                    <a:lnTo>
                      <a:pt x="24" y="48"/>
                    </a:lnTo>
                    <a:lnTo>
                      <a:pt x="16" y="56"/>
                    </a:lnTo>
                    <a:lnTo>
                      <a:pt x="16" y="64"/>
                    </a:lnTo>
                    <a:lnTo>
                      <a:pt x="8" y="72"/>
                    </a:lnTo>
                    <a:lnTo>
                      <a:pt x="0" y="80"/>
                    </a:lnTo>
                    <a:lnTo>
                      <a:pt x="0" y="104"/>
                    </a:lnTo>
                    <a:lnTo>
                      <a:pt x="24" y="136"/>
                    </a:lnTo>
                    <a:lnTo>
                      <a:pt x="24" y="152"/>
                    </a:lnTo>
                    <a:lnTo>
                      <a:pt x="40" y="168"/>
                    </a:lnTo>
                    <a:lnTo>
                      <a:pt x="64" y="176"/>
                    </a:lnTo>
                    <a:lnTo>
                      <a:pt x="80" y="176"/>
                    </a:lnTo>
                    <a:lnTo>
                      <a:pt x="96" y="176"/>
                    </a:lnTo>
                    <a:lnTo>
                      <a:pt x="104" y="192"/>
                    </a:lnTo>
                    <a:lnTo>
                      <a:pt x="104" y="224"/>
                    </a:lnTo>
                    <a:lnTo>
                      <a:pt x="136" y="224"/>
                    </a:lnTo>
                    <a:lnTo>
                      <a:pt x="152" y="224"/>
                    </a:lnTo>
                    <a:lnTo>
                      <a:pt x="160" y="224"/>
                    </a:lnTo>
                    <a:lnTo>
                      <a:pt x="176" y="224"/>
                    </a:lnTo>
                    <a:lnTo>
                      <a:pt x="192" y="208"/>
                    </a:lnTo>
                    <a:lnTo>
                      <a:pt x="200" y="208"/>
                    </a:lnTo>
                    <a:lnTo>
                      <a:pt x="208" y="200"/>
                    </a:lnTo>
                    <a:lnTo>
                      <a:pt x="224" y="192"/>
                    </a:lnTo>
                    <a:lnTo>
                      <a:pt x="200" y="168"/>
                    </a:lnTo>
                    <a:lnTo>
                      <a:pt x="192" y="144"/>
                    </a:lnTo>
                    <a:lnTo>
                      <a:pt x="200" y="120"/>
                    </a:lnTo>
                    <a:lnTo>
                      <a:pt x="184" y="112"/>
                    </a:lnTo>
                    <a:lnTo>
                      <a:pt x="184" y="96"/>
                    </a:lnTo>
                    <a:lnTo>
                      <a:pt x="200" y="72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22" name="Freeform 209"/>
              <p:cNvSpPr>
                <a:spLocks noChangeAspect="1"/>
              </p:cNvSpPr>
              <p:nvPr/>
            </p:nvSpPr>
            <p:spPr bwMode="auto">
              <a:xfrm>
                <a:off x="3177" y="2824"/>
                <a:ext cx="85" cy="85"/>
              </a:xfrm>
              <a:custGeom>
                <a:avLst/>
                <a:gdLst>
                  <a:gd name="T0" fmla="*/ 1 w 120"/>
                  <a:gd name="T1" fmla="*/ 1 h 120"/>
                  <a:gd name="T2" fmla="*/ 1 w 120"/>
                  <a:gd name="T3" fmla="*/ 1 h 120"/>
                  <a:gd name="T4" fmla="*/ 1 w 120"/>
                  <a:gd name="T5" fmla="*/ 1 h 120"/>
                  <a:gd name="T6" fmla="*/ 1 w 120"/>
                  <a:gd name="T7" fmla="*/ 1 h 120"/>
                  <a:gd name="T8" fmla="*/ 1 w 120"/>
                  <a:gd name="T9" fmla="*/ 1 h 120"/>
                  <a:gd name="T10" fmla="*/ 0 w 120"/>
                  <a:gd name="T11" fmla="*/ 1 h 120"/>
                  <a:gd name="T12" fmla="*/ 1 w 120"/>
                  <a:gd name="T13" fmla="*/ 1 h 120"/>
                  <a:gd name="T14" fmla="*/ 1 w 120"/>
                  <a:gd name="T15" fmla="*/ 1 h 120"/>
                  <a:gd name="T16" fmla="*/ 1 w 120"/>
                  <a:gd name="T17" fmla="*/ 1 h 120"/>
                  <a:gd name="T18" fmla="*/ 1 w 120"/>
                  <a:gd name="T19" fmla="*/ 1 h 120"/>
                  <a:gd name="T20" fmla="*/ 1 w 120"/>
                  <a:gd name="T21" fmla="*/ 1 h 120"/>
                  <a:gd name="T22" fmla="*/ 1 w 120"/>
                  <a:gd name="T23" fmla="*/ 1 h 120"/>
                  <a:gd name="T24" fmla="*/ 1 w 120"/>
                  <a:gd name="T25" fmla="*/ 1 h 120"/>
                  <a:gd name="T26" fmla="*/ 1 w 120"/>
                  <a:gd name="T27" fmla="*/ 0 h 120"/>
                  <a:gd name="T28" fmla="*/ 1 w 120"/>
                  <a:gd name="T29" fmla="*/ 1 h 120"/>
                  <a:gd name="T30" fmla="*/ 1 w 120"/>
                  <a:gd name="T31" fmla="*/ 1 h 120"/>
                  <a:gd name="T32" fmla="*/ 1 w 120"/>
                  <a:gd name="T33" fmla="*/ 1 h 120"/>
                  <a:gd name="T34" fmla="*/ 1 w 120"/>
                  <a:gd name="T35" fmla="*/ 1 h 120"/>
                  <a:gd name="T36" fmla="*/ 1 w 120"/>
                  <a:gd name="T37" fmla="*/ 1 h 120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20"/>
                  <a:gd name="T58" fmla="*/ 0 h 120"/>
                  <a:gd name="T59" fmla="*/ 120 w 120"/>
                  <a:gd name="T60" fmla="*/ 120 h 120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20" h="120">
                    <a:moveTo>
                      <a:pt x="96" y="112"/>
                    </a:moveTo>
                    <a:lnTo>
                      <a:pt x="40" y="112"/>
                    </a:lnTo>
                    <a:lnTo>
                      <a:pt x="32" y="112"/>
                    </a:lnTo>
                    <a:lnTo>
                      <a:pt x="24" y="112"/>
                    </a:lnTo>
                    <a:lnTo>
                      <a:pt x="16" y="120"/>
                    </a:lnTo>
                    <a:lnTo>
                      <a:pt x="0" y="120"/>
                    </a:lnTo>
                    <a:lnTo>
                      <a:pt x="8" y="96"/>
                    </a:lnTo>
                    <a:lnTo>
                      <a:pt x="32" y="56"/>
                    </a:lnTo>
                    <a:lnTo>
                      <a:pt x="32" y="40"/>
                    </a:lnTo>
                    <a:lnTo>
                      <a:pt x="32" y="16"/>
                    </a:lnTo>
                    <a:lnTo>
                      <a:pt x="40" y="16"/>
                    </a:lnTo>
                    <a:lnTo>
                      <a:pt x="56" y="16"/>
                    </a:lnTo>
                    <a:lnTo>
                      <a:pt x="80" y="16"/>
                    </a:lnTo>
                    <a:lnTo>
                      <a:pt x="96" y="0"/>
                    </a:lnTo>
                    <a:lnTo>
                      <a:pt x="104" y="16"/>
                    </a:lnTo>
                    <a:lnTo>
                      <a:pt x="120" y="48"/>
                    </a:lnTo>
                    <a:lnTo>
                      <a:pt x="120" y="64"/>
                    </a:lnTo>
                    <a:lnTo>
                      <a:pt x="96" y="80"/>
                    </a:lnTo>
                    <a:lnTo>
                      <a:pt x="96" y="112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23" name="Freeform 210"/>
              <p:cNvSpPr>
                <a:spLocks noChangeAspect="1"/>
              </p:cNvSpPr>
              <p:nvPr/>
            </p:nvSpPr>
            <p:spPr bwMode="auto">
              <a:xfrm>
                <a:off x="2930" y="3139"/>
                <a:ext cx="202" cy="186"/>
              </a:xfrm>
              <a:custGeom>
                <a:avLst/>
                <a:gdLst>
                  <a:gd name="T0" fmla="*/ 1 w 288"/>
                  <a:gd name="T1" fmla="*/ 1 h 264"/>
                  <a:gd name="T2" fmla="*/ 1 w 288"/>
                  <a:gd name="T3" fmla="*/ 1 h 264"/>
                  <a:gd name="T4" fmla="*/ 1 w 288"/>
                  <a:gd name="T5" fmla="*/ 1 h 264"/>
                  <a:gd name="T6" fmla="*/ 1 w 288"/>
                  <a:gd name="T7" fmla="*/ 1 h 264"/>
                  <a:gd name="T8" fmla="*/ 1 w 288"/>
                  <a:gd name="T9" fmla="*/ 1 h 264"/>
                  <a:gd name="T10" fmla="*/ 1 w 288"/>
                  <a:gd name="T11" fmla="*/ 1 h 264"/>
                  <a:gd name="T12" fmla="*/ 1 w 288"/>
                  <a:gd name="T13" fmla="*/ 1 h 264"/>
                  <a:gd name="T14" fmla="*/ 1 w 288"/>
                  <a:gd name="T15" fmla="*/ 1 h 264"/>
                  <a:gd name="T16" fmla="*/ 1 w 288"/>
                  <a:gd name="T17" fmla="*/ 1 h 264"/>
                  <a:gd name="T18" fmla="*/ 1 w 288"/>
                  <a:gd name="T19" fmla="*/ 1 h 264"/>
                  <a:gd name="T20" fmla="*/ 0 w 288"/>
                  <a:gd name="T21" fmla="*/ 1 h 264"/>
                  <a:gd name="T22" fmla="*/ 1 w 288"/>
                  <a:gd name="T23" fmla="*/ 0 h 264"/>
                  <a:gd name="T24" fmla="*/ 1 w 288"/>
                  <a:gd name="T25" fmla="*/ 0 h 264"/>
                  <a:gd name="T26" fmla="*/ 1 w 288"/>
                  <a:gd name="T27" fmla="*/ 1 h 264"/>
                  <a:gd name="T28" fmla="*/ 1 w 288"/>
                  <a:gd name="T29" fmla="*/ 0 h 264"/>
                  <a:gd name="T30" fmla="*/ 1 w 288"/>
                  <a:gd name="T31" fmla="*/ 0 h 264"/>
                  <a:gd name="T32" fmla="*/ 1 w 288"/>
                  <a:gd name="T33" fmla="*/ 1 h 264"/>
                  <a:gd name="T34" fmla="*/ 1 w 288"/>
                  <a:gd name="T35" fmla="*/ 1 h 264"/>
                  <a:gd name="T36" fmla="*/ 1 w 288"/>
                  <a:gd name="T37" fmla="*/ 1 h 264"/>
                  <a:gd name="T38" fmla="*/ 1 w 288"/>
                  <a:gd name="T39" fmla="*/ 1 h 264"/>
                  <a:gd name="T40" fmla="*/ 1 w 288"/>
                  <a:gd name="T41" fmla="*/ 0 h 264"/>
                  <a:gd name="T42" fmla="*/ 1 w 288"/>
                  <a:gd name="T43" fmla="*/ 1 h 264"/>
                  <a:gd name="T44" fmla="*/ 1 w 288"/>
                  <a:gd name="T45" fmla="*/ 1 h 264"/>
                  <a:gd name="T46" fmla="*/ 1 w 288"/>
                  <a:gd name="T47" fmla="*/ 1 h 264"/>
                  <a:gd name="T48" fmla="*/ 1 w 288"/>
                  <a:gd name="T49" fmla="*/ 1 h 264"/>
                  <a:gd name="T50" fmla="*/ 1 w 288"/>
                  <a:gd name="T51" fmla="*/ 1 h 264"/>
                  <a:gd name="T52" fmla="*/ 1 w 288"/>
                  <a:gd name="T53" fmla="*/ 1 h 264"/>
                  <a:gd name="T54" fmla="*/ 1 w 288"/>
                  <a:gd name="T55" fmla="*/ 1 h 264"/>
                  <a:gd name="T56" fmla="*/ 1 w 288"/>
                  <a:gd name="T57" fmla="*/ 1 h 264"/>
                  <a:gd name="T58" fmla="*/ 1 w 288"/>
                  <a:gd name="T59" fmla="*/ 1 h 264"/>
                  <a:gd name="T60" fmla="*/ 1 w 288"/>
                  <a:gd name="T61" fmla="*/ 1 h 264"/>
                  <a:gd name="T62" fmla="*/ 1 w 288"/>
                  <a:gd name="T63" fmla="*/ 1 h 264"/>
                  <a:gd name="T64" fmla="*/ 1 w 288"/>
                  <a:gd name="T65" fmla="*/ 1 h 264"/>
                  <a:gd name="T66" fmla="*/ 1 w 288"/>
                  <a:gd name="T67" fmla="*/ 1 h 264"/>
                  <a:gd name="T68" fmla="*/ 1 w 288"/>
                  <a:gd name="T69" fmla="*/ 1 h 264"/>
                  <a:gd name="T70" fmla="*/ 1 w 288"/>
                  <a:gd name="T71" fmla="*/ 1 h 264"/>
                  <a:gd name="T72" fmla="*/ 1 w 288"/>
                  <a:gd name="T73" fmla="*/ 1 h 264"/>
                  <a:gd name="T74" fmla="*/ 1 w 288"/>
                  <a:gd name="T75" fmla="*/ 1 h 264"/>
                  <a:gd name="T76" fmla="*/ 1 w 288"/>
                  <a:gd name="T77" fmla="*/ 1 h 264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288"/>
                  <a:gd name="T118" fmla="*/ 0 h 264"/>
                  <a:gd name="T119" fmla="*/ 288 w 288"/>
                  <a:gd name="T120" fmla="*/ 264 h 264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288" h="264">
                    <a:moveTo>
                      <a:pt x="96" y="256"/>
                    </a:moveTo>
                    <a:lnTo>
                      <a:pt x="88" y="240"/>
                    </a:lnTo>
                    <a:lnTo>
                      <a:pt x="72" y="224"/>
                    </a:lnTo>
                    <a:lnTo>
                      <a:pt x="64" y="192"/>
                    </a:lnTo>
                    <a:lnTo>
                      <a:pt x="56" y="168"/>
                    </a:lnTo>
                    <a:lnTo>
                      <a:pt x="48" y="120"/>
                    </a:lnTo>
                    <a:lnTo>
                      <a:pt x="48" y="112"/>
                    </a:lnTo>
                    <a:lnTo>
                      <a:pt x="16" y="56"/>
                    </a:lnTo>
                    <a:lnTo>
                      <a:pt x="16" y="48"/>
                    </a:lnTo>
                    <a:lnTo>
                      <a:pt x="8" y="32"/>
                    </a:lnTo>
                    <a:lnTo>
                      <a:pt x="0" y="8"/>
                    </a:lnTo>
                    <a:lnTo>
                      <a:pt x="16" y="0"/>
                    </a:lnTo>
                    <a:lnTo>
                      <a:pt x="40" y="0"/>
                    </a:lnTo>
                    <a:lnTo>
                      <a:pt x="48" y="8"/>
                    </a:lnTo>
                    <a:lnTo>
                      <a:pt x="72" y="0"/>
                    </a:lnTo>
                    <a:lnTo>
                      <a:pt x="128" y="0"/>
                    </a:lnTo>
                    <a:lnTo>
                      <a:pt x="152" y="16"/>
                    </a:lnTo>
                    <a:lnTo>
                      <a:pt x="168" y="16"/>
                    </a:lnTo>
                    <a:lnTo>
                      <a:pt x="192" y="16"/>
                    </a:lnTo>
                    <a:lnTo>
                      <a:pt x="216" y="16"/>
                    </a:lnTo>
                    <a:lnTo>
                      <a:pt x="232" y="0"/>
                    </a:lnTo>
                    <a:lnTo>
                      <a:pt x="240" y="8"/>
                    </a:lnTo>
                    <a:lnTo>
                      <a:pt x="264" y="8"/>
                    </a:lnTo>
                    <a:lnTo>
                      <a:pt x="280" y="8"/>
                    </a:lnTo>
                    <a:lnTo>
                      <a:pt x="288" y="16"/>
                    </a:lnTo>
                    <a:lnTo>
                      <a:pt x="272" y="16"/>
                    </a:lnTo>
                    <a:lnTo>
                      <a:pt x="248" y="24"/>
                    </a:lnTo>
                    <a:lnTo>
                      <a:pt x="232" y="24"/>
                    </a:lnTo>
                    <a:lnTo>
                      <a:pt x="192" y="32"/>
                    </a:lnTo>
                    <a:lnTo>
                      <a:pt x="192" y="104"/>
                    </a:lnTo>
                    <a:lnTo>
                      <a:pt x="168" y="104"/>
                    </a:lnTo>
                    <a:lnTo>
                      <a:pt x="168" y="160"/>
                    </a:lnTo>
                    <a:lnTo>
                      <a:pt x="168" y="256"/>
                    </a:lnTo>
                    <a:lnTo>
                      <a:pt x="144" y="264"/>
                    </a:lnTo>
                    <a:lnTo>
                      <a:pt x="128" y="256"/>
                    </a:lnTo>
                    <a:lnTo>
                      <a:pt x="120" y="248"/>
                    </a:lnTo>
                    <a:lnTo>
                      <a:pt x="112" y="248"/>
                    </a:lnTo>
                    <a:lnTo>
                      <a:pt x="104" y="248"/>
                    </a:lnTo>
                    <a:lnTo>
                      <a:pt x="96" y="256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24" name="Freeform 211"/>
              <p:cNvSpPr>
                <a:spLocks noChangeAspect="1"/>
              </p:cNvSpPr>
              <p:nvPr/>
            </p:nvSpPr>
            <p:spPr bwMode="auto">
              <a:xfrm>
                <a:off x="3048" y="3151"/>
                <a:ext cx="124" cy="135"/>
              </a:xfrm>
              <a:custGeom>
                <a:avLst/>
                <a:gdLst>
                  <a:gd name="T0" fmla="*/ 1 w 176"/>
                  <a:gd name="T1" fmla="*/ 1 h 192"/>
                  <a:gd name="T2" fmla="*/ 1 w 176"/>
                  <a:gd name="T3" fmla="*/ 1 h 192"/>
                  <a:gd name="T4" fmla="*/ 1 w 176"/>
                  <a:gd name="T5" fmla="*/ 1 h 192"/>
                  <a:gd name="T6" fmla="*/ 1 w 176"/>
                  <a:gd name="T7" fmla="*/ 1 h 192"/>
                  <a:gd name="T8" fmla="*/ 1 w 176"/>
                  <a:gd name="T9" fmla="*/ 1 h 192"/>
                  <a:gd name="T10" fmla="*/ 1 w 176"/>
                  <a:gd name="T11" fmla="*/ 0 h 192"/>
                  <a:gd name="T12" fmla="*/ 1 w 176"/>
                  <a:gd name="T13" fmla="*/ 0 h 192"/>
                  <a:gd name="T14" fmla="*/ 1 w 176"/>
                  <a:gd name="T15" fmla="*/ 1 h 192"/>
                  <a:gd name="T16" fmla="*/ 1 w 176"/>
                  <a:gd name="T17" fmla="*/ 1 h 192"/>
                  <a:gd name="T18" fmla="*/ 1 w 176"/>
                  <a:gd name="T19" fmla="*/ 1 h 192"/>
                  <a:gd name="T20" fmla="*/ 1 w 176"/>
                  <a:gd name="T21" fmla="*/ 1 h 192"/>
                  <a:gd name="T22" fmla="*/ 0 w 176"/>
                  <a:gd name="T23" fmla="*/ 1 h 192"/>
                  <a:gd name="T24" fmla="*/ 0 w 176"/>
                  <a:gd name="T25" fmla="*/ 1 h 192"/>
                  <a:gd name="T26" fmla="*/ 1 w 176"/>
                  <a:gd name="T27" fmla="*/ 1 h 192"/>
                  <a:gd name="T28" fmla="*/ 1 w 176"/>
                  <a:gd name="T29" fmla="*/ 1 h 192"/>
                  <a:gd name="T30" fmla="*/ 1 w 176"/>
                  <a:gd name="T31" fmla="*/ 1 h 192"/>
                  <a:gd name="T32" fmla="*/ 1 w 176"/>
                  <a:gd name="T33" fmla="*/ 1 h 192"/>
                  <a:gd name="T34" fmla="*/ 1 w 176"/>
                  <a:gd name="T35" fmla="*/ 1 h 192"/>
                  <a:gd name="T36" fmla="*/ 1 w 176"/>
                  <a:gd name="T37" fmla="*/ 1 h 192"/>
                  <a:gd name="T38" fmla="*/ 1 w 176"/>
                  <a:gd name="T39" fmla="*/ 1 h 192"/>
                  <a:gd name="T40" fmla="*/ 1 w 176"/>
                  <a:gd name="T41" fmla="*/ 1 h 192"/>
                  <a:gd name="T42" fmla="*/ 1 w 176"/>
                  <a:gd name="T43" fmla="*/ 1 h 192"/>
                  <a:gd name="T44" fmla="*/ 1 w 176"/>
                  <a:gd name="T45" fmla="*/ 1 h 192"/>
                  <a:gd name="T46" fmla="*/ 1 w 176"/>
                  <a:gd name="T47" fmla="*/ 1 h 192"/>
                  <a:gd name="T48" fmla="*/ 1 w 176"/>
                  <a:gd name="T49" fmla="*/ 1 h 192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76"/>
                  <a:gd name="T76" fmla="*/ 0 h 192"/>
                  <a:gd name="T77" fmla="*/ 176 w 176"/>
                  <a:gd name="T78" fmla="*/ 192 h 192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76" h="192">
                    <a:moveTo>
                      <a:pt x="176" y="96"/>
                    </a:moveTo>
                    <a:lnTo>
                      <a:pt x="168" y="80"/>
                    </a:lnTo>
                    <a:lnTo>
                      <a:pt x="152" y="56"/>
                    </a:lnTo>
                    <a:lnTo>
                      <a:pt x="152" y="40"/>
                    </a:lnTo>
                    <a:lnTo>
                      <a:pt x="120" y="16"/>
                    </a:lnTo>
                    <a:lnTo>
                      <a:pt x="120" y="0"/>
                    </a:lnTo>
                    <a:lnTo>
                      <a:pt x="104" y="0"/>
                    </a:lnTo>
                    <a:lnTo>
                      <a:pt x="80" y="8"/>
                    </a:lnTo>
                    <a:lnTo>
                      <a:pt x="64" y="8"/>
                    </a:lnTo>
                    <a:lnTo>
                      <a:pt x="24" y="16"/>
                    </a:lnTo>
                    <a:lnTo>
                      <a:pt x="24" y="88"/>
                    </a:lnTo>
                    <a:lnTo>
                      <a:pt x="0" y="88"/>
                    </a:lnTo>
                    <a:lnTo>
                      <a:pt x="0" y="144"/>
                    </a:lnTo>
                    <a:lnTo>
                      <a:pt x="16" y="160"/>
                    </a:lnTo>
                    <a:lnTo>
                      <a:pt x="24" y="192"/>
                    </a:lnTo>
                    <a:lnTo>
                      <a:pt x="40" y="192"/>
                    </a:lnTo>
                    <a:lnTo>
                      <a:pt x="64" y="168"/>
                    </a:lnTo>
                    <a:lnTo>
                      <a:pt x="80" y="168"/>
                    </a:lnTo>
                    <a:lnTo>
                      <a:pt x="88" y="176"/>
                    </a:lnTo>
                    <a:lnTo>
                      <a:pt x="104" y="168"/>
                    </a:lnTo>
                    <a:lnTo>
                      <a:pt x="120" y="152"/>
                    </a:lnTo>
                    <a:lnTo>
                      <a:pt x="120" y="128"/>
                    </a:lnTo>
                    <a:lnTo>
                      <a:pt x="144" y="120"/>
                    </a:lnTo>
                    <a:lnTo>
                      <a:pt x="152" y="112"/>
                    </a:lnTo>
                    <a:lnTo>
                      <a:pt x="176" y="96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25" name="Freeform 212"/>
              <p:cNvSpPr>
                <a:spLocks noChangeAspect="1"/>
              </p:cNvSpPr>
              <p:nvPr/>
            </p:nvSpPr>
            <p:spPr bwMode="auto">
              <a:xfrm>
                <a:off x="3132" y="3117"/>
                <a:ext cx="102" cy="101"/>
              </a:xfrm>
              <a:custGeom>
                <a:avLst/>
                <a:gdLst>
                  <a:gd name="T0" fmla="*/ 1 w 144"/>
                  <a:gd name="T1" fmla="*/ 1 h 144"/>
                  <a:gd name="T2" fmla="*/ 1 w 144"/>
                  <a:gd name="T3" fmla="*/ 1 h 144"/>
                  <a:gd name="T4" fmla="*/ 1 w 144"/>
                  <a:gd name="T5" fmla="*/ 1 h 144"/>
                  <a:gd name="T6" fmla="*/ 1 w 144"/>
                  <a:gd name="T7" fmla="*/ 1 h 144"/>
                  <a:gd name="T8" fmla="*/ 1 w 144"/>
                  <a:gd name="T9" fmla="*/ 1 h 144"/>
                  <a:gd name="T10" fmla="*/ 0 w 144"/>
                  <a:gd name="T11" fmla="*/ 1 h 144"/>
                  <a:gd name="T12" fmla="*/ 0 w 144"/>
                  <a:gd name="T13" fmla="*/ 1 h 144"/>
                  <a:gd name="T14" fmla="*/ 1 w 144"/>
                  <a:gd name="T15" fmla="*/ 1 h 144"/>
                  <a:gd name="T16" fmla="*/ 1 w 144"/>
                  <a:gd name="T17" fmla="*/ 1 h 144"/>
                  <a:gd name="T18" fmla="*/ 1 w 144"/>
                  <a:gd name="T19" fmla="*/ 1 h 144"/>
                  <a:gd name="T20" fmla="*/ 1 w 144"/>
                  <a:gd name="T21" fmla="*/ 1 h 144"/>
                  <a:gd name="T22" fmla="*/ 1 w 144"/>
                  <a:gd name="T23" fmla="*/ 1 h 144"/>
                  <a:gd name="T24" fmla="*/ 1 w 144"/>
                  <a:gd name="T25" fmla="*/ 1 h 144"/>
                  <a:gd name="T26" fmla="*/ 1 w 144"/>
                  <a:gd name="T27" fmla="*/ 1 h 144"/>
                  <a:gd name="T28" fmla="*/ 1 w 144"/>
                  <a:gd name="T29" fmla="*/ 1 h 144"/>
                  <a:gd name="T30" fmla="*/ 1 w 144"/>
                  <a:gd name="T31" fmla="*/ 1 h 144"/>
                  <a:gd name="T32" fmla="*/ 1 w 144"/>
                  <a:gd name="T33" fmla="*/ 1 h 144"/>
                  <a:gd name="T34" fmla="*/ 1 w 144"/>
                  <a:gd name="T35" fmla="*/ 1 h 144"/>
                  <a:gd name="T36" fmla="*/ 1 w 144"/>
                  <a:gd name="T37" fmla="*/ 1 h 144"/>
                  <a:gd name="T38" fmla="*/ 1 w 144"/>
                  <a:gd name="T39" fmla="*/ 1 h 144"/>
                  <a:gd name="T40" fmla="*/ 1 w 144"/>
                  <a:gd name="T41" fmla="*/ 1 h 144"/>
                  <a:gd name="T42" fmla="*/ 1 w 144"/>
                  <a:gd name="T43" fmla="*/ 1 h 144"/>
                  <a:gd name="T44" fmla="*/ 1 w 144"/>
                  <a:gd name="T45" fmla="*/ 1 h 144"/>
                  <a:gd name="T46" fmla="*/ 1 w 144"/>
                  <a:gd name="T47" fmla="*/ 0 h 144"/>
                  <a:gd name="T48" fmla="*/ 1 w 144"/>
                  <a:gd name="T49" fmla="*/ 1 h 144"/>
                  <a:gd name="T50" fmla="*/ 1 w 144"/>
                  <a:gd name="T51" fmla="*/ 1 h 144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44"/>
                  <a:gd name="T79" fmla="*/ 0 h 144"/>
                  <a:gd name="T80" fmla="*/ 144 w 144"/>
                  <a:gd name="T81" fmla="*/ 144 h 144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44" h="144">
                    <a:moveTo>
                      <a:pt x="56" y="8"/>
                    </a:moveTo>
                    <a:lnTo>
                      <a:pt x="56" y="24"/>
                    </a:lnTo>
                    <a:lnTo>
                      <a:pt x="40" y="32"/>
                    </a:lnTo>
                    <a:lnTo>
                      <a:pt x="32" y="32"/>
                    </a:lnTo>
                    <a:lnTo>
                      <a:pt x="16" y="48"/>
                    </a:lnTo>
                    <a:lnTo>
                      <a:pt x="0" y="48"/>
                    </a:lnTo>
                    <a:lnTo>
                      <a:pt x="0" y="64"/>
                    </a:lnTo>
                    <a:lnTo>
                      <a:pt x="32" y="88"/>
                    </a:lnTo>
                    <a:lnTo>
                      <a:pt x="32" y="104"/>
                    </a:lnTo>
                    <a:lnTo>
                      <a:pt x="48" y="128"/>
                    </a:lnTo>
                    <a:lnTo>
                      <a:pt x="56" y="144"/>
                    </a:lnTo>
                    <a:lnTo>
                      <a:pt x="64" y="144"/>
                    </a:lnTo>
                    <a:lnTo>
                      <a:pt x="80" y="136"/>
                    </a:lnTo>
                    <a:lnTo>
                      <a:pt x="112" y="144"/>
                    </a:lnTo>
                    <a:lnTo>
                      <a:pt x="120" y="136"/>
                    </a:lnTo>
                    <a:lnTo>
                      <a:pt x="120" y="112"/>
                    </a:lnTo>
                    <a:lnTo>
                      <a:pt x="144" y="96"/>
                    </a:lnTo>
                    <a:lnTo>
                      <a:pt x="144" y="88"/>
                    </a:lnTo>
                    <a:lnTo>
                      <a:pt x="136" y="80"/>
                    </a:lnTo>
                    <a:lnTo>
                      <a:pt x="136" y="64"/>
                    </a:lnTo>
                    <a:lnTo>
                      <a:pt x="144" y="56"/>
                    </a:lnTo>
                    <a:lnTo>
                      <a:pt x="136" y="32"/>
                    </a:lnTo>
                    <a:lnTo>
                      <a:pt x="128" y="16"/>
                    </a:lnTo>
                    <a:lnTo>
                      <a:pt x="80" y="0"/>
                    </a:lnTo>
                    <a:lnTo>
                      <a:pt x="64" y="8"/>
                    </a:lnTo>
                    <a:lnTo>
                      <a:pt x="56" y="8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26" name="Rectangle 213"/>
              <p:cNvSpPr>
                <a:spLocks noChangeAspect="1" noChangeArrowheads="1"/>
              </p:cNvSpPr>
              <p:nvPr/>
            </p:nvSpPr>
            <p:spPr bwMode="auto">
              <a:xfrm>
                <a:off x="2902" y="2858"/>
                <a:ext cx="22" cy="17"/>
              </a:xfrm>
              <a:prstGeom prst="rect">
                <a:avLst/>
              </a:prstGeom>
              <a:grpFill/>
              <a:ln w="1270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spcBef>
                    <a:spcPct val="50000"/>
                  </a:spcBef>
                  <a:buClr>
                    <a:schemeClr val="tx2"/>
                  </a:buClr>
                  <a:buSzPct val="70000"/>
                  <a:buFont typeface="Wingdings" pitchFamily="2" charset="2"/>
                  <a:buChar char="§"/>
                  <a:defRPr sz="3200">
                    <a:solidFill>
                      <a:srgbClr val="000000"/>
                    </a:solidFill>
                    <a:latin typeface="Arial" charset="0"/>
                  </a:defRPr>
                </a:lvl1pPr>
                <a:lvl2pPr marL="742950" indent="-285750">
                  <a:spcBef>
                    <a:spcPct val="50000"/>
                  </a:spcBef>
                  <a:buClr>
                    <a:schemeClr val="tx2"/>
                  </a:buClr>
                  <a:buSzPct val="70000"/>
                  <a:buFont typeface="Wingdings" pitchFamily="2" charset="2"/>
                  <a:buChar char="§"/>
                  <a:defRPr sz="2800">
                    <a:solidFill>
                      <a:srgbClr val="000000"/>
                    </a:solidFill>
                    <a:latin typeface="Arial" charset="0"/>
                  </a:defRPr>
                </a:lvl2pPr>
                <a:lvl3pPr marL="1143000" indent="-228600">
                  <a:spcBef>
                    <a:spcPct val="50000"/>
                  </a:spcBef>
                  <a:buClr>
                    <a:schemeClr val="tx2"/>
                  </a:buClr>
                  <a:buSzPct val="70000"/>
                  <a:buFont typeface="Wingdings" pitchFamily="2" charset="2"/>
                  <a:buChar char="§"/>
                  <a:defRPr sz="1600">
                    <a:solidFill>
                      <a:srgbClr val="000000"/>
                    </a:solidFill>
                    <a:latin typeface="Arial" charset="0"/>
                  </a:defRPr>
                </a:lvl3pPr>
                <a:lvl4pPr marL="1600200" indent="-228600">
                  <a:spcBef>
                    <a:spcPct val="50000"/>
                  </a:spcBef>
                  <a:buClr>
                    <a:schemeClr val="tx2"/>
                  </a:buClr>
                  <a:buSzPct val="70000"/>
                  <a:buFont typeface="Wingdings" pitchFamily="2" charset="2"/>
                  <a:buChar char="§"/>
                  <a:defRPr sz="1400">
                    <a:solidFill>
                      <a:srgbClr val="000000"/>
                    </a:solidFill>
                    <a:latin typeface="Arial" charset="0"/>
                  </a:defRPr>
                </a:lvl4pPr>
                <a:lvl5pPr marL="2057400" indent="-228600">
                  <a:spcBef>
                    <a:spcPct val="50000"/>
                  </a:spcBef>
                  <a:buClr>
                    <a:schemeClr val="tx2"/>
                  </a:buClr>
                  <a:buSzPct val="70000"/>
                  <a:buFont typeface="Wingdings" pitchFamily="2" charset="2"/>
                  <a:buChar char="§"/>
                  <a:defRPr sz="1400">
                    <a:solidFill>
                      <a:srgbClr val="000000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0000"/>
                  <a:buFont typeface="Wingdings" pitchFamily="2" charset="2"/>
                  <a:buChar char="§"/>
                  <a:defRPr sz="1400">
                    <a:solidFill>
                      <a:srgbClr val="000000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0000"/>
                  <a:buFont typeface="Wingdings" pitchFamily="2" charset="2"/>
                  <a:buChar char="§"/>
                  <a:defRPr sz="1400">
                    <a:solidFill>
                      <a:srgbClr val="000000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0000"/>
                  <a:buFont typeface="Wingdings" pitchFamily="2" charset="2"/>
                  <a:buChar char="§"/>
                  <a:defRPr sz="1400">
                    <a:solidFill>
                      <a:srgbClr val="000000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tx2"/>
                  </a:buClr>
                  <a:buSzPct val="70000"/>
                  <a:buFont typeface="Wingdings" pitchFamily="2" charset="2"/>
                  <a:buChar char="§"/>
                  <a:defRPr sz="1400">
                    <a:solidFill>
                      <a:srgbClr val="000000"/>
                    </a:solidFill>
                    <a:latin typeface="Arial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endParaRPr lang="en-US" altLang="en-US" sz="1800">
                  <a:cs typeface="Arial" charset="0"/>
                </a:endParaRPr>
              </a:p>
            </p:txBody>
          </p:sp>
          <p:sp>
            <p:nvSpPr>
              <p:cNvPr id="227" name="Freeform 214"/>
              <p:cNvSpPr>
                <a:spLocks noChangeAspect="1"/>
              </p:cNvSpPr>
              <p:nvPr/>
            </p:nvSpPr>
            <p:spPr bwMode="auto">
              <a:xfrm>
                <a:off x="2598" y="2774"/>
                <a:ext cx="56" cy="56"/>
              </a:xfrm>
              <a:custGeom>
                <a:avLst/>
                <a:gdLst>
                  <a:gd name="T0" fmla="*/ 1 w 80"/>
                  <a:gd name="T1" fmla="*/ 1 h 80"/>
                  <a:gd name="T2" fmla="*/ 1 w 80"/>
                  <a:gd name="T3" fmla="*/ 1 h 80"/>
                  <a:gd name="T4" fmla="*/ 1 w 80"/>
                  <a:gd name="T5" fmla="*/ 1 h 80"/>
                  <a:gd name="T6" fmla="*/ 1 w 80"/>
                  <a:gd name="T7" fmla="*/ 1 h 80"/>
                  <a:gd name="T8" fmla="*/ 1 w 80"/>
                  <a:gd name="T9" fmla="*/ 1 h 80"/>
                  <a:gd name="T10" fmla="*/ 1 w 80"/>
                  <a:gd name="T11" fmla="*/ 1 h 80"/>
                  <a:gd name="T12" fmla="*/ 1 w 80"/>
                  <a:gd name="T13" fmla="*/ 1 h 80"/>
                  <a:gd name="T14" fmla="*/ 0 w 80"/>
                  <a:gd name="T15" fmla="*/ 1 h 80"/>
                  <a:gd name="T16" fmla="*/ 1 w 80"/>
                  <a:gd name="T17" fmla="*/ 0 h 80"/>
                  <a:gd name="T18" fmla="*/ 1 w 80"/>
                  <a:gd name="T19" fmla="*/ 1 h 80"/>
                  <a:gd name="T20" fmla="*/ 1 w 80"/>
                  <a:gd name="T21" fmla="*/ 1 h 80"/>
                  <a:gd name="T22" fmla="*/ 1 w 80"/>
                  <a:gd name="T23" fmla="*/ 1 h 8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80"/>
                  <a:gd name="T37" fmla="*/ 0 h 80"/>
                  <a:gd name="T38" fmla="*/ 80 w 80"/>
                  <a:gd name="T39" fmla="*/ 80 h 80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80" h="80">
                    <a:moveTo>
                      <a:pt x="64" y="16"/>
                    </a:moveTo>
                    <a:lnTo>
                      <a:pt x="64" y="40"/>
                    </a:lnTo>
                    <a:lnTo>
                      <a:pt x="80" y="48"/>
                    </a:lnTo>
                    <a:lnTo>
                      <a:pt x="80" y="64"/>
                    </a:lnTo>
                    <a:lnTo>
                      <a:pt x="72" y="80"/>
                    </a:lnTo>
                    <a:lnTo>
                      <a:pt x="48" y="72"/>
                    </a:lnTo>
                    <a:lnTo>
                      <a:pt x="24" y="48"/>
                    </a:lnTo>
                    <a:lnTo>
                      <a:pt x="0" y="32"/>
                    </a:lnTo>
                    <a:lnTo>
                      <a:pt x="24" y="0"/>
                    </a:lnTo>
                    <a:lnTo>
                      <a:pt x="40" y="8"/>
                    </a:lnTo>
                    <a:lnTo>
                      <a:pt x="40" y="16"/>
                    </a:lnTo>
                    <a:lnTo>
                      <a:pt x="64" y="16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28" name="Freeform 215"/>
              <p:cNvSpPr>
                <a:spLocks noChangeAspect="1"/>
              </p:cNvSpPr>
              <p:nvPr/>
            </p:nvSpPr>
            <p:spPr bwMode="auto">
              <a:xfrm>
                <a:off x="3177" y="2926"/>
                <a:ext cx="23" cy="28"/>
              </a:xfrm>
              <a:custGeom>
                <a:avLst/>
                <a:gdLst>
                  <a:gd name="T0" fmla="*/ 0 w 32"/>
                  <a:gd name="T1" fmla="*/ 0 h 40"/>
                  <a:gd name="T2" fmla="*/ 1 w 32"/>
                  <a:gd name="T3" fmla="*/ 0 h 40"/>
                  <a:gd name="T4" fmla="*/ 1 w 32"/>
                  <a:gd name="T5" fmla="*/ 0 h 40"/>
                  <a:gd name="T6" fmla="*/ 1 w 32"/>
                  <a:gd name="T7" fmla="*/ 0 h 40"/>
                  <a:gd name="T8" fmla="*/ 1 w 32"/>
                  <a:gd name="T9" fmla="*/ 1 h 40"/>
                  <a:gd name="T10" fmla="*/ 1 w 32"/>
                  <a:gd name="T11" fmla="*/ 1 h 40"/>
                  <a:gd name="T12" fmla="*/ 1 w 32"/>
                  <a:gd name="T13" fmla="*/ 1 h 40"/>
                  <a:gd name="T14" fmla="*/ 1 w 32"/>
                  <a:gd name="T15" fmla="*/ 1 h 40"/>
                  <a:gd name="T16" fmla="*/ 1 w 32"/>
                  <a:gd name="T17" fmla="*/ 1 h 40"/>
                  <a:gd name="T18" fmla="*/ 1 w 32"/>
                  <a:gd name="T19" fmla="*/ 1 h 40"/>
                  <a:gd name="T20" fmla="*/ 1 w 32"/>
                  <a:gd name="T21" fmla="*/ 1 h 40"/>
                  <a:gd name="T22" fmla="*/ 0 w 32"/>
                  <a:gd name="T23" fmla="*/ 0 h 4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2"/>
                  <a:gd name="T37" fmla="*/ 0 h 40"/>
                  <a:gd name="T38" fmla="*/ 32 w 32"/>
                  <a:gd name="T39" fmla="*/ 40 h 40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2" h="40">
                    <a:moveTo>
                      <a:pt x="0" y="0"/>
                    </a:moveTo>
                    <a:lnTo>
                      <a:pt x="8" y="0"/>
                    </a:lnTo>
                    <a:lnTo>
                      <a:pt x="16" y="0"/>
                    </a:lnTo>
                    <a:lnTo>
                      <a:pt x="24" y="0"/>
                    </a:lnTo>
                    <a:lnTo>
                      <a:pt x="32" y="8"/>
                    </a:lnTo>
                    <a:lnTo>
                      <a:pt x="32" y="16"/>
                    </a:lnTo>
                    <a:lnTo>
                      <a:pt x="24" y="24"/>
                    </a:lnTo>
                    <a:lnTo>
                      <a:pt x="24" y="32"/>
                    </a:lnTo>
                    <a:lnTo>
                      <a:pt x="16" y="40"/>
                    </a:lnTo>
                    <a:lnTo>
                      <a:pt x="8" y="24"/>
                    </a:lnTo>
                    <a:lnTo>
                      <a:pt x="8" y="1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29" name="Freeform 216"/>
              <p:cNvSpPr>
                <a:spLocks noChangeAspect="1"/>
              </p:cNvSpPr>
              <p:nvPr/>
            </p:nvSpPr>
            <p:spPr bwMode="auto">
              <a:xfrm>
                <a:off x="3560" y="2504"/>
                <a:ext cx="11" cy="11"/>
              </a:xfrm>
              <a:custGeom>
                <a:avLst/>
                <a:gdLst>
                  <a:gd name="T0" fmla="*/ 1 w 16"/>
                  <a:gd name="T1" fmla="*/ 1 h 16"/>
                  <a:gd name="T2" fmla="*/ 1 w 16"/>
                  <a:gd name="T3" fmla="*/ 0 h 16"/>
                  <a:gd name="T4" fmla="*/ 1 w 16"/>
                  <a:gd name="T5" fmla="*/ 0 h 16"/>
                  <a:gd name="T6" fmla="*/ 0 w 16"/>
                  <a:gd name="T7" fmla="*/ 1 h 16"/>
                  <a:gd name="T8" fmla="*/ 1 w 16"/>
                  <a:gd name="T9" fmla="*/ 1 h 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"/>
                  <a:gd name="T16" fmla="*/ 0 h 16"/>
                  <a:gd name="T17" fmla="*/ 16 w 16"/>
                  <a:gd name="T18" fmla="*/ 16 h 1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" h="16">
                    <a:moveTo>
                      <a:pt x="8" y="16"/>
                    </a:moveTo>
                    <a:lnTo>
                      <a:pt x="16" y="0"/>
                    </a:lnTo>
                    <a:lnTo>
                      <a:pt x="8" y="0"/>
                    </a:lnTo>
                    <a:lnTo>
                      <a:pt x="0" y="8"/>
                    </a:lnTo>
                    <a:lnTo>
                      <a:pt x="8" y="16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30" name="Freeform 217"/>
              <p:cNvSpPr>
                <a:spLocks noChangeAspect="1"/>
              </p:cNvSpPr>
              <p:nvPr/>
            </p:nvSpPr>
            <p:spPr bwMode="auto">
              <a:xfrm>
                <a:off x="3498" y="2509"/>
                <a:ext cx="68" cy="51"/>
              </a:xfrm>
              <a:custGeom>
                <a:avLst/>
                <a:gdLst>
                  <a:gd name="T0" fmla="*/ 1 w 96"/>
                  <a:gd name="T1" fmla="*/ 1 h 72"/>
                  <a:gd name="T2" fmla="*/ 1 w 96"/>
                  <a:gd name="T3" fmla="*/ 0 h 72"/>
                  <a:gd name="T4" fmla="*/ 1 w 96"/>
                  <a:gd name="T5" fmla="*/ 1 h 72"/>
                  <a:gd name="T6" fmla="*/ 1 w 96"/>
                  <a:gd name="T7" fmla="*/ 1 h 72"/>
                  <a:gd name="T8" fmla="*/ 1 w 96"/>
                  <a:gd name="T9" fmla="*/ 1 h 72"/>
                  <a:gd name="T10" fmla="*/ 1 w 96"/>
                  <a:gd name="T11" fmla="*/ 1 h 72"/>
                  <a:gd name="T12" fmla="*/ 1 w 96"/>
                  <a:gd name="T13" fmla="*/ 1 h 72"/>
                  <a:gd name="T14" fmla="*/ 1 w 96"/>
                  <a:gd name="T15" fmla="*/ 1 h 72"/>
                  <a:gd name="T16" fmla="*/ 0 w 96"/>
                  <a:gd name="T17" fmla="*/ 1 h 72"/>
                  <a:gd name="T18" fmla="*/ 1 w 96"/>
                  <a:gd name="T19" fmla="*/ 1 h 72"/>
                  <a:gd name="T20" fmla="*/ 1 w 96"/>
                  <a:gd name="T21" fmla="*/ 1 h 72"/>
                  <a:gd name="T22" fmla="*/ 1 w 96"/>
                  <a:gd name="T23" fmla="*/ 1 h 72"/>
                  <a:gd name="T24" fmla="*/ 1 w 96"/>
                  <a:gd name="T25" fmla="*/ 1 h 72"/>
                  <a:gd name="T26" fmla="*/ 1 w 96"/>
                  <a:gd name="T27" fmla="*/ 1 h 72"/>
                  <a:gd name="T28" fmla="*/ 1 w 96"/>
                  <a:gd name="T29" fmla="*/ 1 h 72"/>
                  <a:gd name="T30" fmla="*/ 1 w 96"/>
                  <a:gd name="T31" fmla="*/ 1 h 72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96"/>
                  <a:gd name="T49" fmla="*/ 0 h 72"/>
                  <a:gd name="T50" fmla="*/ 96 w 96"/>
                  <a:gd name="T51" fmla="*/ 72 h 72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96" h="72">
                    <a:moveTo>
                      <a:pt x="96" y="8"/>
                    </a:moveTo>
                    <a:lnTo>
                      <a:pt x="88" y="0"/>
                    </a:lnTo>
                    <a:lnTo>
                      <a:pt x="80" y="8"/>
                    </a:lnTo>
                    <a:lnTo>
                      <a:pt x="56" y="24"/>
                    </a:lnTo>
                    <a:lnTo>
                      <a:pt x="48" y="40"/>
                    </a:lnTo>
                    <a:lnTo>
                      <a:pt x="32" y="40"/>
                    </a:lnTo>
                    <a:lnTo>
                      <a:pt x="16" y="40"/>
                    </a:lnTo>
                    <a:lnTo>
                      <a:pt x="8" y="40"/>
                    </a:lnTo>
                    <a:lnTo>
                      <a:pt x="0" y="48"/>
                    </a:lnTo>
                    <a:lnTo>
                      <a:pt x="16" y="64"/>
                    </a:lnTo>
                    <a:lnTo>
                      <a:pt x="72" y="72"/>
                    </a:lnTo>
                    <a:lnTo>
                      <a:pt x="72" y="56"/>
                    </a:lnTo>
                    <a:lnTo>
                      <a:pt x="88" y="32"/>
                    </a:lnTo>
                    <a:lnTo>
                      <a:pt x="88" y="16"/>
                    </a:lnTo>
                    <a:lnTo>
                      <a:pt x="96" y="16"/>
                    </a:lnTo>
                    <a:lnTo>
                      <a:pt x="96" y="8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31" name="Freeform 218"/>
              <p:cNvSpPr>
                <a:spLocks noChangeAspect="1"/>
              </p:cNvSpPr>
              <p:nvPr/>
            </p:nvSpPr>
            <p:spPr bwMode="auto">
              <a:xfrm>
                <a:off x="3487" y="2504"/>
                <a:ext cx="11" cy="28"/>
              </a:xfrm>
              <a:custGeom>
                <a:avLst/>
                <a:gdLst>
                  <a:gd name="T0" fmla="*/ 0 w 16"/>
                  <a:gd name="T1" fmla="*/ 1 h 40"/>
                  <a:gd name="T2" fmla="*/ 1 w 16"/>
                  <a:gd name="T3" fmla="*/ 1 h 40"/>
                  <a:gd name="T4" fmla="*/ 0 w 16"/>
                  <a:gd name="T5" fmla="*/ 1 h 40"/>
                  <a:gd name="T6" fmla="*/ 1 w 16"/>
                  <a:gd name="T7" fmla="*/ 0 h 40"/>
                  <a:gd name="T8" fmla="*/ 1 w 16"/>
                  <a:gd name="T9" fmla="*/ 0 h 40"/>
                  <a:gd name="T10" fmla="*/ 1 w 16"/>
                  <a:gd name="T11" fmla="*/ 1 h 40"/>
                  <a:gd name="T12" fmla="*/ 1 w 16"/>
                  <a:gd name="T13" fmla="*/ 1 h 40"/>
                  <a:gd name="T14" fmla="*/ 1 w 16"/>
                  <a:gd name="T15" fmla="*/ 1 h 40"/>
                  <a:gd name="T16" fmla="*/ 0 w 16"/>
                  <a:gd name="T17" fmla="*/ 1 h 4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6"/>
                  <a:gd name="T28" fmla="*/ 0 h 40"/>
                  <a:gd name="T29" fmla="*/ 16 w 16"/>
                  <a:gd name="T30" fmla="*/ 40 h 4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6" h="40">
                    <a:moveTo>
                      <a:pt x="0" y="24"/>
                    </a:moveTo>
                    <a:lnTo>
                      <a:pt x="8" y="16"/>
                    </a:lnTo>
                    <a:lnTo>
                      <a:pt x="0" y="8"/>
                    </a:lnTo>
                    <a:lnTo>
                      <a:pt x="8" y="0"/>
                    </a:lnTo>
                    <a:lnTo>
                      <a:pt x="16" y="0"/>
                    </a:lnTo>
                    <a:lnTo>
                      <a:pt x="16" y="24"/>
                    </a:lnTo>
                    <a:lnTo>
                      <a:pt x="16" y="40"/>
                    </a:lnTo>
                    <a:lnTo>
                      <a:pt x="8" y="40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32" name="Freeform 219"/>
              <p:cNvSpPr>
                <a:spLocks noChangeAspect="1"/>
              </p:cNvSpPr>
              <p:nvPr/>
            </p:nvSpPr>
            <p:spPr bwMode="auto">
              <a:xfrm>
                <a:off x="3431" y="2442"/>
                <a:ext cx="16" cy="17"/>
              </a:xfrm>
              <a:custGeom>
                <a:avLst/>
                <a:gdLst>
                  <a:gd name="T0" fmla="*/ 0 w 24"/>
                  <a:gd name="T1" fmla="*/ 1 h 24"/>
                  <a:gd name="T2" fmla="*/ 0 w 24"/>
                  <a:gd name="T3" fmla="*/ 1 h 24"/>
                  <a:gd name="T4" fmla="*/ 1 w 24"/>
                  <a:gd name="T5" fmla="*/ 0 h 24"/>
                  <a:gd name="T6" fmla="*/ 1 w 24"/>
                  <a:gd name="T7" fmla="*/ 0 h 24"/>
                  <a:gd name="T8" fmla="*/ 1 w 24"/>
                  <a:gd name="T9" fmla="*/ 1 h 24"/>
                  <a:gd name="T10" fmla="*/ 1 w 24"/>
                  <a:gd name="T11" fmla="*/ 1 h 24"/>
                  <a:gd name="T12" fmla="*/ 1 w 24"/>
                  <a:gd name="T13" fmla="*/ 1 h 24"/>
                  <a:gd name="T14" fmla="*/ 1 w 24"/>
                  <a:gd name="T15" fmla="*/ 1 h 24"/>
                  <a:gd name="T16" fmla="*/ 0 w 24"/>
                  <a:gd name="T17" fmla="*/ 1 h 2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4"/>
                  <a:gd name="T28" fmla="*/ 0 h 24"/>
                  <a:gd name="T29" fmla="*/ 24 w 24"/>
                  <a:gd name="T30" fmla="*/ 24 h 2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4" h="24">
                    <a:moveTo>
                      <a:pt x="0" y="16"/>
                    </a:moveTo>
                    <a:lnTo>
                      <a:pt x="0" y="8"/>
                    </a:lnTo>
                    <a:lnTo>
                      <a:pt x="8" y="0"/>
                    </a:lnTo>
                    <a:lnTo>
                      <a:pt x="24" y="0"/>
                    </a:lnTo>
                    <a:lnTo>
                      <a:pt x="16" y="8"/>
                    </a:lnTo>
                    <a:lnTo>
                      <a:pt x="16" y="16"/>
                    </a:lnTo>
                    <a:lnTo>
                      <a:pt x="24" y="24"/>
                    </a:lnTo>
                    <a:lnTo>
                      <a:pt x="16" y="24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33" name="Freeform 220"/>
              <p:cNvSpPr>
                <a:spLocks noChangeAspect="1"/>
              </p:cNvSpPr>
              <p:nvPr/>
            </p:nvSpPr>
            <p:spPr bwMode="auto">
              <a:xfrm>
                <a:off x="3267" y="2335"/>
                <a:ext cx="17" cy="51"/>
              </a:xfrm>
              <a:custGeom>
                <a:avLst/>
                <a:gdLst>
                  <a:gd name="T0" fmla="*/ 1 w 24"/>
                  <a:gd name="T1" fmla="*/ 1 h 72"/>
                  <a:gd name="T2" fmla="*/ 1 w 24"/>
                  <a:gd name="T3" fmla="*/ 1 h 72"/>
                  <a:gd name="T4" fmla="*/ 0 w 24"/>
                  <a:gd name="T5" fmla="*/ 1 h 72"/>
                  <a:gd name="T6" fmla="*/ 0 w 24"/>
                  <a:gd name="T7" fmla="*/ 1 h 72"/>
                  <a:gd name="T8" fmla="*/ 0 w 24"/>
                  <a:gd name="T9" fmla="*/ 1 h 72"/>
                  <a:gd name="T10" fmla="*/ 1 w 24"/>
                  <a:gd name="T11" fmla="*/ 1 h 72"/>
                  <a:gd name="T12" fmla="*/ 1 w 24"/>
                  <a:gd name="T13" fmla="*/ 0 h 72"/>
                  <a:gd name="T14" fmla="*/ 1 w 24"/>
                  <a:gd name="T15" fmla="*/ 1 h 72"/>
                  <a:gd name="T16" fmla="*/ 1 w 24"/>
                  <a:gd name="T17" fmla="*/ 1 h 72"/>
                  <a:gd name="T18" fmla="*/ 1 w 24"/>
                  <a:gd name="T19" fmla="*/ 1 h 72"/>
                  <a:gd name="T20" fmla="*/ 1 w 24"/>
                  <a:gd name="T21" fmla="*/ 1 h 72"/>
                  <a:gd name="T22" fmla="*/ 1 w 24"/>
                  <a:gd name="T23" fmla="*/ 1 h 72"/>
                  <a:gd name="T24" fmla="*/ 1 w 24"/>
                  <a:gd name="T25" fmla="*/ 1 h 7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4"/>
                  <a:gd name="T40" fmla="*/ 0 h 72"/>
                  <a:gd name="T41" fmla="*/ 24 w 24"/>
                  <a:gd name="T42" fmla="*/ 72 h 7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4" h="72">
                    <a:moveTo>
                      <a:pt x="16" y="64"/>
                    </a:moveTo>
                    <a:lnTo>
                      <a:pt x="8" y="64"/>
                    </a:lnTo>
                    <a:lnTo>
                      <a:pt x="0" y="72"/>
                    </a:lnTo>
                    <a:lnTo>
                      <a:pt x="0" y="64"/>
                    </a:lnTo>
                    <a:lnTo>
                      <a:pt x="0" y="56"/>
                    </a:lnTo>
                    <a:lnTo>
                      <a:pt x="8" y="16"/>
                    </a:lnTo>
                    <a:lnTo>
                      <a:pt x="24" y="0"/>
                    </a:lnTo>
                    <a:lnTo>
                      <a:pt x="24" y="8"/>
                    </a:lnTo>
                    <a:lnTo>
                      <a:pt x="24" y="24"/>
                    </a:lnTo>
                    <a:lnTo>
                      <a:pt x="24" y="40"/>
                    </a:lnTo>
                    <a:lnTo>
                      <a:pt x="16" y="48"/>
                    </a:lnTo>
                    <a:lnTo>
                      <a:pt x="16" y="56"/>
                    </a:lnTo>
                    <a:lnTo>
                      <a:pt x="16" y="64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34" name="Freeform 221"/>
              <p:cNvSpPr>
                <a:spLocks noChangeAspect="1"/>
              </p:cNvSpPr>
              <p:nvPr/>
            </p:nvSpPr>
            <p:spPr bwMode="auto">
              <a:xfrm>
                <a:off x="3391" y="2273"/>
                <a:ext cx="276" cy="248"/>
              </a:xfrm>
              <a:custGeom>
                <a:avLst/>
                <a:gdLst>
                  <a:gd name="T0" fmla="*/ 1 w 392"/>
                  <a:gd name="T1" fmla="*/ 1 h 352"/>
                  <a:gd name="T2" fmla="*/ 1 w 392"/>
                  <a:gd name="T3" fmla="*/ 1 h 352"/>
                  <a:gd name="T4" fmla="*/ 1 w 392"/>
                  <a:gd name="T5" fmla="*/ 1 h 352"/>
                  <a:gd name="T6" fmla="*/ 1 w 392"/>
                  <a:gd name="T7" fmla="*/ 1 h 352"/>
                  <a:gd name="T8" fmla="*/ 1 w 392"/>
                  <a:gd name="T9" fmla="*/ 1 h 352"/>
                  <a:gd name="T10" fmla="*/ 1 w 392"/>
                  <a:gd name="T11" fmla="*/ 1 h 352"/>
                  <a:gd name="T12" fmla="*/ 1 w 392"/>
                  <a:gd name="T13" fmla="*/ 1 h 352"/>
                  <a:gd name="T14" fmla="*/ 1 w 392"/>
                  <a:gd name="T15" fmla="*/ 1 h 352"/>
                  <a:gd name="T16" fmla="*/ 1 w 392"/>
                  <a:gd name="T17" fmla="*/ 1 h 352"/>
                  <a:gd name="T18" fmla="*/ 1 w 392"/>
                  <a:gd name="T19" fmla="*/ 1 h 352"/>
                  <a:gd name="T20" fmla="*/ 1 w 392"/>
                  <a:gd name="T21" fmla="*/ 1 h 352"/>
                  <a:gd name="T22" fmla="*/ 1 w 392"/>
                  <a:gd name="T23" fmla="*/ 1 h 352"/>
                  <a:gd name="T24" fmla="*/ 1 w 392"/>
                  <a:gd name="T25" fmla="*/ 1 h 352"/>
                  <a:gd name="T26" fmla="*/ 1 w 392"/>
                  <a:gd name="T27" fmla="*/ 1 h 352"/>
                  <a:gd name="T28" fmla="*/ 1 w 392"/>
                  <a:gd name="T29" fmla="*/ 1 h 352"/>
                  <a:gd name="T30" fmla="*/ 1 w 392"/>
                  <a:gd name="T31" fmla="*/ 1 h 352"/>
                  <a:gd name="T32" fmla="*/ 1 w 392"/>
                  <a:gd name="T33" fmla="*/ 1 h 352"/>
                  <a:gd name="T34" fmla="*/ 0 w 392"/>
                  <a:gd name="T35" fmla="*/ 1 h 352"/>
                  <a:gd name="T36" fmla="*/ 1 w 392"/>
                  <a:gd name="T37" fmla="*/ 1 h 352"/>
                  <a:gd name="T38" fmla="*/ 1 w 392"/>
                  <a:gd name="T39" fmla="*/ 1 h 352"/>
                  <a:gd name="T40" fmla="*/ 1 w 392"/>
                  <a:gd name="T41" fmla="*/ 1 h 352"/>
                  <a:gd name="T42" fmla="*/ 1 w 392"/>
                  <a:gd name="T43" fmla="*/ 1 h 352"/>
                  <a:gd name="T44" fmla="*/ 1 w 392"/>
                  <a:gd name="T45" fmla="*/ 1 h 352"/>
                  <a:gd name="T46" fmla="*/ 1 w 392"/>
                  <a:gd name="T47" fmla="*/ 1 h 352"/>
                  <a:gd name="T48" fmla="*/ 1 w 392"/>
                  <a:gd name="T49" fmla="*/ 1 h 352"/>
                  <a:gd name="T50" fmla="*/ 1 w 392"/>
                  <a:gd name="T51" fmla="*/ 1 h 352"/>
                  <a:gd name="T52" fmla="*/ 1 w 392"/>
                  <a:gd name="T53" fmla="*/ 1 h 352"/>
                  <a:gd name="T54" fmla="*/ 1 w 392"/>
                  <a:gd name="T55" fmla="*/ 1 h 352"/>
                  <a:gd name="T56" fmla="*/ 1 w 392"/>
                  <a:gd name="T57" fmla="*/ 1 h 352"/>
                  <a:gd name="T58" fmla="*/ 1 w 392"/>
                  <a:gd name="T59" fmla="*/ 1 h 352"/>
                  <a:gd name="T60" fmla="*/ 1 w 392"/>
                  <a:gd name="T61" fmla="*/ 1 h 352"/>
                  <a:gd name="T62" fmla="*/ 1 w 392"/>
                  <a:gd name="T63" fmla="*/ 1 h 352"/>
                  <a:gd name="T64" fmla="*/ 1 w 392"/>
                  <a:gd name="T65" fmla="*/ 1 h 352"/>
                  <a:gd name="T66" fmla="*/ 1 w 392"/>
                  <a:gd name="T67" fmla="*/ 1 h 352"/>
                  <a:gd name="T68" fmla="*/ 1 w 392"/>
                  <a:gd name="T69" fmla="*/ 1 h 352"/>
                  <a:gd name="T70" fmla="*/ 1 w 392"/>
                  <a:gd name="T71" fmla="*/ 1 h 352"/>
                  <a:gd name="T72" fmla="*/ 1 w 392"/>
                  <a:gd name="T73" fmla="*/ 1 h 352"/>
                  <a:gd name="T74" fmla="*/ 1 w 392"/>
                  <a:gd name="T75" fmla="*/ 1 h 352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392"/>
                  <a:gd name="T115" fmla="*/ 0 h 352"/>
                  <a:gd name="T116" fmla="*/ 392 w 392"/>
                  <a:gd name="T117" fmla="*/ 352 h 352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392" h="352">
                    <a:moveTo>
                      <a:pt x="360" y="352"/>
                    </a:moveTo>
                    <a:lnTo>
                      <a:pt x="352" y="344"/>
                    </a:lnTo>
                    <a:lnTo>
                      <a:pt x="336" y="344"/>
                    </a:lnTo>
                    <a:lnTo>
                      <a:pt x="328" y="344"/>
                    </a:lnTo>
                    <a:lnTo>
                      <a:pt x="312" y="344"/>
                    </a:lnTo>
                    <a:lnTo>
                      <a:pt x="296" y="344"/>
                    </a:lnTo>
                    <a:lnTo>
                      <a:pt x="280" y="336"/>
                    </a:lnTo>
                    <a:lnTo>
                      <a:pt x="272" y="328"/>
                    </a:lnTo>
                    <a:lnTo>
                      <a:pt x="272" y="320"/>
                    </a:lnTo>
                    <a:lnTo>
                      <a:pt x="264" y="304"/>
                    </a:lnTo>
                    <a:lnTo>
                      <a:pt x="256" y="304"/>
                    </a:lnTo>
                    <a:lnTo>
                      <a:pt x="248" y="304"/>
                    </a:lnTo>
                    <a:lnTo>
                      <a:pt x="240" y="312"/>
                    </a:lnTo>
                    <a:lnTo>
                      <a:pt x="200" y="312"/>
                    </a:lnTo>
                    <a:lnTo>
                      <a:pt x="192" y="312"/>
                    </a:lnTo>
                    <a:lnTo>
                      <a:pt x="184" y="304"/>
                    </a:lnTo>
                    <a:lnTo>
                      <a:pt x="168" y="288"/>
                    </a:lnTo>
                    <a:lnTo>
                      <a:pt x="160" y="288"/>
                    </a:lnTo>
                    <a:lnTo>
                      <a:pt x="144" y="280"/>
                    </a:lnTo>
                    <a:lnTo>
                      <a:pt x="144" y="272"/>
                    </a:lnTo>
                    <a:lnTo>
                      <a:pt x="136" y="256"/>
                    </a:lnTo>
                    <a:lnTo>
                      <a:pt x="128" y="240"/>
                    </a:lnTo>
                    <a:lnTo>
                      <a:pt x="120" y="232"/>
                    </a:lnTo>
                    <a:lnTo>
                      <a:pt x="96" y="232"/>
                    </a:lnTo>
                    <a:lnTo>
                      <a:pt x="88" y="232"/>
                    </a:lnTo>
                    <a:lnTo>
                      <a:pt x="72" y="224"/>
                    </a:lnTo>
                    <a:lnTo>
                      <a:pt x="80" y="192"/>
                    </a:lnTo>
                    <a:lnTo>
                      <a:pt x="64" y="176"/>
                    </a:lnTo>
                    <a:lnTo>
                      <a:pt x="48" y="168"/>
                    </a:lnTo>
                    <a:lnTo>
                      <a:pt x="24" y="144"/>
                    </a:lnTo>
                    <a:lnTo>
                      <a:pt x="48" y="104"/>
                    </a:lnTo>
                    <a:lnTo>
                      <a:pt x="40" y="96"/>
                    </a:lnTo>
                    <a:lnTo>
                      <a:pt x="24" y="96"/>
                    </a:lnTo>
                    <a:lnTo>
                      <a:pt x="8" y="64"/>
                    </a:lnTo>
                    <a:lnTo>
                      <a:pt x="8" y="48"/>
                    </a:lnTo>
                    <a:lnTo>
                      <a:pt x="0" y="8"/>
                    </a:lnTo>
                    <a:lnTo>
                      <a:pt x="8" y="0"/>
                    </a:lnTo>
                    <a:lnTo>
                      <a:pt x="32" y="16"/>
                    </a:lnTo>
                    <a:lnTo>
                      <a:pt x="48" y="8"/>
                    </a:lnTo>
                    <a:lnTo>
                      <a:pt x="56" y="8"/>
                    </a:lnTo>
                    <a:lnTo>
                      <a:pt x="80" y="0"/>
                    </a:lnTo>
                    <a:lnTo>
                      <a:pt x="80" y="8"/>
                    </a:lnTo>
                    <a:lnTo>
                      <a:pt x="80" y="24"/>
                    </a:lnTo>
                    <a:lnTo>
                      <a:pt x="96" y="40"/>
                    </a:lnTo>
                    <a:lnTo>
                      <a:pt x="104" y="48"/>
                    </a:lnTo>
                    <a:lnTo>
                      <a:pt x="120" y="56"/>
                    </a:lnTo>
                    <a:lnTo>
                      <a:pt x="128" y="64"/>
                    </a:lnTo>
                    <a:lnTo>
                      <a:pt x="144" y="80"/>
                    </a:lnTo>
                    <a:lnTo>
                      <a:pt x="176" y="72"/>
                    </a:lnTo>
                    <a:lnTo>
                      <a:pt x="192" y="72"/>
                    </a:lnTo>
                    <a:lnTo>
                      <a:pt x="208" y="64"/>
                    </a:lnTo>
                    <a:lnTo>
                      <a:pt x="208" y="56"/>
                    </a:lnTo>
                    <a:lnTo>
                      <a:pt x="224" y="56"/>
                    </a:lnTo>
                    <a:lnTo>
                      <a:pt x="240" y="32"/>
                    </a:lnTo>
                    <a:lnTo>
                      <a:pt x="288" y="40"/>
                    </a:lnTo>
                    <a:lnTo>
                      <a:pt x="296" y="48"/>
                    </a:lnTo>
                    <a:lnTo>
                      <a:pt x="312" y="48"/>
                    </a:lnTo>
                    <a:lnTo>
                      <a:pt x="352" y="80"/>
                    </a:lnTo>
                    <a:lnTo>
                      <a:pt x="352" y="96"/>
                    </a:lnTo>
                    <a:lnTo>
                      <a:pt x="352" y="120"/>
                    </a:lnTo>
                    <a:lnTo>
                      <a:pt x="336" y="136"/>
                    </a:lnTo>
                    <a:lnTo>
                      <a:pt x="344" y="176"/>
                    </a:lnTo>
                    <a:lnTo>
                      <a:pt x="336" y="192"/>
                    </a:lnTo>
                    <a:lnTo>
                      <a:pt x="344" y="200"/>
                    </a:lnTo>
                    <a:lnTo>
                      <a:pt x="352" y="192"/>
                    </a:lnTo>
                    <a:lnTo>
                      <a:pt x="360" y="208"/>
                    </a:lnTo>
                    <a:lnTo>
                      <a:pt x="352" y="224"/>
                    </a:lnTo>
                    <a:lnTo>
                      <a:pt x="344" y="240"/>
                    </a:lnTo>
                    <a:lnTo>
                      <a:pt x="344" y="256"/>
                    </a:lnTo>
                    <a:lnTo>
                      <a:pt x="384" y="288"/>
                    </a:lnTo>
                    <a:lnTo>
                      <a:pt x="376" y="296"/>
                    </a:lnTo>
                    <a:lnTo>
                      <a:pt x="392" y="304"/>
                    </a:lnTo>
                    <a:lnTo>
                      <a:pt x="392" y="312"/>
                    </a:lnTo>
                    <a:lnTo>
                      <a:pt x="368" y="328"/>
                    </a:lnTo>
                    <a:lnTo>
                      <a:pt x="360" y="344"/>
                    </a:lnTo>
                    <a:lnTo>
                      <a:pt x="360" y="352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35" name="Freeform 222"/>
              <p:cNvSpPr>
                <a:spLocks noChangeAspect="1"/>
              </p:cNvSpPr>
              <p:nvPr/>
            </p:nvSpPr>
            <p:spPr bwMode="auto">
              <a:xfrm>
                <a:off x="3262" y="2402"/>
                <a:ext cx="5" cy="17"/>
              </a:xfrm>
              <a:custGeom>
                <a:avLst/>
                <a:gdLst>
                  <a:gd name="T0" fmla="*/ 1 w 8"/>
                  <a:gd name="T1" fmla="*/ 0 h 24"/>
                  <a:gd name="T2" fmla="*/ 1 w 8"/>
                  <a:gd name="T3" fmla="*/ 1 h 24"/>
                  <a:gd name="T4" fmla="*/ 0 w 8"/>
                  <a:gd name="T5" fmla="*/ 1 h 24"/>
                  <a:gd name="T6" fmla="*/ 0 w 8"/>
                  <a:gd name="T7" fmla="*/ 1 h 24"/>
                  <a:gd name="T8" fmla="*/ 0 w 8"/>
                  <a:gd name="T9" fmla="*/ 0 h 24"/>
                  <a:gd name="T10" fmla="*/ 1 w 8"/>
                  <a:gd name="T11" fmla="*/ 0 h 2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24"/>
                  <a:gd name="T20" fmla="*/ 8 w 8"/>
                  <a:gd name="T21" fmla="*/ 24 h 2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24">
                    <a:moveTo>
                      <a:pt x="8" y="0"/>
                    </a:moveTo>
                    <a:lnTo>
                      <a:pt x="8" y="24"/>
                    </a:lnTo>
                    <a:lnTo>
                      <a:pt x="0" y="16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36" name="Freeform 223"/>
              <p:cNvSpPr>
                <a:spLocks noChangeAspect="1"/>
              </p:cNvSpPr>
              <p:nvPr/>
            </p:nvSpPr>
            <p:spPr bwMode="auto">
              <a:xfrm>
                <a:off x="3256" y="2386"/>
                <a:ext cx="68" cy="67"/>
              </a:xfrm>
              <a:custGeom>
                <a:avLst/>
                <a:gdLst>
                  <a:gd name="T0" fmla="*/ 1 w 96"/>
                  <a:gd name="T1" fmla="*/ 1 h 96"/>
                  <a:gd name="T2" fmla="*/ 1 w 96"/>
                  <a:gd name="T3" fmla="*/ 1 h 96"/>
                  <a:gd name="T4" fmla="*/ 1 w 96"/>
                  <a:gd name="T5" fmla="*/ 1 h 96"/>
                  <a:gd name="T6" fmla="*/ 1 w 96"/>
                  <a:gd name="T7" fmla="*/ 1 h 96"/>
                  <a:gd name="T8" fmla="*/ 1 w 96"/>
                  <a:gd name="T9" fmla="*/ 1 h 96"/>
                  <a:gd name="T10" fmla="*/ 1 w 96"/>
                  <a:gd name="T11" fmla="*/ 0 h 96"/>
                  <a:gd name="T12" fmla="*/ 1 w 96"/>
                  <a:gd name="T13" fmla="*/ 1 h 96"/>
                  <a:gd name="T14" fmla="*/ 1 w 96"/>
                  <a:gd name="T15" fmla="*/ 1 h 96"/>
                  <a:gd name="T16" fmla="*/ 1 w 96"/>
                  <a:gd name="T17" fmla="*/ 1 h 96"/>
                  <a:gd name="T18" fmla="*/ 1 w 96"/>
                  <a:gd name="T19" fmla="*/ 1 h 96"/>
                  <a:gd name="T20" fmla="*/ 1 w 96"/>
                  <a:gd name="T21" fmla="*/ 1 h 96"/>
                  <a:gd name="T22" fmla="*/ 1 w 96"/>
                  <a:gd name="T23" fmla="*/ 1 h 96"/>
                  <a:gd name="T24" fmla="*/ 1 w 96"/>
                  <a:gd name="T25" fmla="*/ 1 h 96"/>
                  <a:gd name="T26" fmla="*/ 0 w 96"/>
                  <a:gd name="T27" fmla="*/ 1 h 96"/>
                  <a:gd name="T28" fmla="*/ 0 w 96"/>
                  <a:gd name="T29" fmla="*/ 1 h 96"/>
                  <a:gd name="T30" fmla="*/ 1 w 96"/>
                  <a:gd name="T31" fmla="*/ 1 h 96"/>
                  <a:gd name="T32" fmla="*/ 1 w 96"/>
                  <a:gd name="T33" fmla="*/ 1 h 9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96"/>
                  <a:gd name="T52" fmla="*/ 0 h 96"/>
                  <a:gd name="T53" fmla="*/ 96 w 96"/>
                  <a:gd name="T54" fmla="*/ 96 h 9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96" h="96">
                    <a:moveTo>
                      <a:pt x="16" y="48"/>
                    </a:moveTo>
                    <a:lnTo>
                      <a:pt x="16" y="24"/>
                    </a:lnTo>
                    <a:lnTo>
                      <a:pt x="24" y="24"/>
                    </a:lnTo>
                    <a:lnTo>
                      <a:pt x="40" y="24"/>
                    </a:lnTo>
                    <a:lnTo>
                      <a:pt x="64" y="8"/>
                    </a:lnTo>
                    <a:lnTo>
                      <a:pt x="80" y="0"/>
                    </a:lnTo>
                    <a:lnTo>
                      <a:pt x="96" y="24"/>
                    </a:lnTo>
                    <a:lnTo>
                      <a:pt x="88" y="32"/>
                    </a:lnTo>
                    <a:lnTo>
                      <a:pt x="48" y="32"/>
                    </a:lnTo>
                    <a:lnTo>
                      <a:pt x="64" y="72"/>
                    </a:lnTo>
                    <a:lnTo>
                      <a:pt x="56" y="80"/>
                    </a:lnTo>
                    <a:lnTo>
                      <a:pt x="40" y="80"/>
                    </a:lnTo>
                    <a:lnTo>
                      <a:pt x="24" y="96"/>
                    </a:lnTo>
                    <a:lnTo>
                      <a:pt x="0" y="96"/>
                    </a:lnTo>
                    <a:lnTo>
                      <a:pt x="0" y="88"/>
                    </a:lnTo>
                    <a:lnTo>
                      <a:pt x="8" y="64"/>
                    </a:lnTo>
                    <a:lnTo>
                      <a:pt x="16" y="48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37" name="Freeform 224"/>
              <p:cNvSpPr>
                <a:spLocks noChangeAspect="1"/>
              </p:cNvSpPr>
              <p:nvPr/>
            </p:nvSpPr>
            <p:spPr bwMode="auto">
              <a:xfrm>
                <a:off x="3256" y="2402"/>
                <a:ext cx="304" cy="259"/>
              </a:xfrm>
              <a:custGeom>
                <a:avLst/>
                <a:gdLst>
                  <a:gd name="T0" fmla="*/ 1 w 432"/>
                  <a:gd name="T1" fmla="*/ 1 h 368"/>
                  <a:gd name="T2" fmla="*/ 1 w 432"/>
                  <a:gd name="T3" fmla="*/ 1 h 368"/>
                  <a:gd name="T4" fmla="*/ 1 w 432"/>
                  <a:gd name="T5" fmla="*/ 1 h 368"/>
                  <a:gd name="T6" fmla="*/ 1 w 432"/>
                  <a:gd name="T7" fmla="*/ 1 h 368"/>
                  <a:gd name="T8" fmla="*/ 1 w 432"/>
                  <a:gd name="T9" fmla="*/ 1 h 368"/>
                  <a:gd name="T10" fmla="*/ 1 w 432"/>
                  <a:gd name="T11" fmla="*/ 1 h 368"/>
                  <a:gd name="T12" fmla="*/ 1 w 432"/>
                  <a:gd name="T13" fmla="*/ 1 h 368"/>
                  <a:gd name="T14" fmla="*/ 1 w 432"/>
                  <a:gd name="T15" fmla="*/ 1 h 368"/>
                  <a:gd name="T16" fmla="*/ 1 w 432"/>
                  <a:gd name="T17" fmla="*/ 1 h 368"/>
                  <a:gd name="T18" fmla="*/ 1 w 432"/>
                  <a:gd name="T19" fmla="*/ 1 h 368"/>
                  <a:gd name="T20" fmla="*/ 1 w 432"/>
                  <a:gd name="T21" fmla="*/ 1 h 368"/>
                  <a:gd name="T22" fmla="*/ 1 w 432"/>
                  <a:gd name="T23" fmla="*/ 1 h 368"/>
                  <a:gd name="T24" fmla="*/ 1 w 432"/>
                  <a:gd name="T25" fmla="*/ 1 h 368"/>
                  <a:gd name="T26" fmla="*/ 1 w 432"/>
                  <a:gd name="T27" fmla="*/ 1 h 368"/>
                  <a:gd name="T28" fmla="*/ 1 w 432"/>
                  <a:gd name="T29" fmla="*/ 1 h 368"/>
                  <a:gd name="T30" fmla="*/ 1 w 432"/>
                  <a:gd name="T31" fmla="*/ 1 h 368"/>
                  <a:gd name="T32" fmla="*/ 1 w 432"/>
                  <a:gd name="T33" fmla="*/ 1 h 368"/>
                  <a:gd name="T34" fmla="*/ 1 w 432"/>
                  <a:gd name="T35" fmla="*/ 1 h 368"/>
                  <a:gd name="T36" fmla="*/ 1 w 432"/>
                  <a:gd name="T37" fmla="*/ 1 h 368"/>
                  <a:gd name="T38" fmla="*/ 1 w 432"/>
                  <a:gd name="T39" fmla="*/ 1 h 368"/>
                  <a:gd name="T40" fmla="*/ 1 w 432"/>
                  <a:gd name="T41" fmla="*/ 1 h 368"/>
                  <a:gd name="T42" fmla="*/ 1 w 432"/>
                  <a:gd name="T43" fmla="*/ 0 h 368"/>
                  <a:gd name="T44" fmla="*/ 1 w 432"/>
                  <a:gd name="T45" fmla="*/ 1 h 368"/>
                  <a:gd name="T46" fmla="*/ 1 w 432"/>
                  <a:gd name="T47" fmla="*/ 1 h 368"/>
                  <a:gd name="T48" fmla="*/ 1 w 432"/>
                  <a:gd name="T49" fmla="*/ 1 h 368"/>
                  <a:gd name="T50" fmla="*/ 1 w 432"/>
                  <a:gd name="T51" fmla="*/ 1 h 368"/>
                  <a:gd name="T52" fmla="*/ 1 w 432"/>
                  <a:gd name="T53" fmla="*/ 1 h 368"/>
                  <a:gd name="T54" fmla="*/ 1 w 432"/>
                  <a:gd name="T55" fmla="*/ 1 h 368"/>
                  <a:gd name="T56" fmla="*/ 0 w 432"/>
                  <a:gd name="T57" fmla="*/ 1 h 368"/>
                  <a:gd name="T58" fmla="*/ 0 w 432"/>
                  <a:gd name="T59" fmla="*/ 1 h 368"/>
                  <a:gd name="T60" fmla="*/ 1 w 432"/>
                  <a:gd name="T61" fmla="*/ 1 h 368"/>
                  <a:gd name="T62" fmla="*/ 1 w 432"/>
                  <a:gd name="T63" fmla="*/ 1 h 368"/>
                  <a:gd name="T64" fmla="*/ 1 w 432"/>
                  <a:gd name="T65" fmla="*/ 1 h 368"/>
                  <a:gd name="T66" fmla="*/ 1 w 432"/>
                  <a:gd name="T67" fmla="*/ 1 h 368"/>
                  <a:gd name="T68" fmla="*/ 1 w 432"/>
                  <a:gd name="T69" fmla="*/ 1 h 368"/>
                  <a:gd name="T70" fmla="*/ 1 w 432"/>
                  <a:gd name="T71" fmla="*/ 1 h 368"/>
                  <a:gd name="T72" fmla="*/ 1 w 432"/>
                  <a:gd name="T73" fmla="*/ 1 h 368"/>
                  <a:gd name="T74" fmla="*/ 1 w 432"/>
                  <a:gd name="T75" fmla="*/ 1 h 368"/>
                  <a:gd name="T76" fmla="*/ 1 w 432"/>
                  <a:gd name="T77" fmla="*/ 1 h 368"/>
                  <a:gd name="T78" fmla="*/ 1 w 432"/>
                  <a:gd name="T79" fmla="*/ 1 h 368"/>
                  <a:gd name="T80" fmla="*/ 1 w 432"/>
                  <a:gd name="T81" fmla="*/ 1 h 368"/>
                  <a:gd name="T82" fmla="*/ 1 w 432"/>
                  <a:gd name="T83" fmla="*/ 1 h 368"/>
                  <a:gd name="T84" fmla="*/ 1 w 432"/>
                  <a:gd name="T85" fmla="*/ 1 h 368"/>
                  <a:gd name="T86" fmla="*/ 1 w 432"/>
                  <a:gd name="T87" fmla="*/ 1 h 368"/>
                  <a:gd name="T88" fmla="*/ 1 w 432"/>
                  <a:gd name="T89" fmla="*/ 1 h 368"/>
                  <a:gd name="T90" fmla="*/ 1 w 432"/>
                  <a:gd name="T91" fmla="*/ 1 h 368"/>
                  <a:gd name="T92" fmla="*/ 1 w 432"/>
                  <a:gd name="T93" fmla="*/ 1 h 368"/>
                  <a:gd name="T94" fmla="*/ 1 w 432"/>
                  <a:gd name="T95" fmla="*/ 1 h 368"/>
                  <a:gd name="T96" fmla="*/ 1 w 432"/>
                  <a:gd name="T97" fmla="*/ 1 h 368"/>
                  <a:gd name="T98" fmla="*/ 1 w 432"/>
                  <a:gd name="T99" fmla="*/ 1 h 368"/>
                  <a:gd name="T100" fmla="*/ 1 w 432"/>
                  <a:gd name="T101" fmla="*/ 1 h 368"/>
                  <a:gd name="T102" fmla="*/ 1 w 432"/>
                  <a:gd name="T103" fmla="*/ 1 h 368"/>
                  <a:gd name="T104" fmla="*/ 1 w 432"/>
                  <a:gd name="T105" fmla="*/ 1 h 368"/>
                  <a:gd name="T106" fmla="*/ 1 w 432"/>
                  <a:gd name="T107" fmla="*/ 1 h 368"/>
                  <a:gd name="T108" fmla="*/ 1 w 432"/>
                  <a:gd name="T109" fmla="*/ 1 h 368"/>
                  <a:gd name="T110" fmla="*/ 1 w 432"/>
                  <a:gd name="T111" fmla="*/ 1 h 368"/>
                  <a:gd name="T112" fmla="*/ 1 w 432"/>
                  <a:gd name="T113" fmla="*/ 1 h 368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432"/>
                  <a:gd name="T172" fmla="*/ 0 h 368"/>
                  <a:gd name="T173" fmla="*/ 432 w 432"/>
                  <a:gd name="T174" fmla="*/ 368 h 368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432" h="368">
                    <a:moveTo>
                      <a:pt x="416" y="224"/>
                    </a:moveTo>
                    <a:lnTo>
                      <a:pt x="360" y="216"/>
                    </a:lnTo>
                    <a:lnTo>
                      <a:pt x="344" y="200"/>
                    </a:lnTo>
                    <a:lnTo>
                      <a:pt x="352" y="192"/>
                    </a:lnTo>
                    <a:lnTo>
                      <a:pt x="344" y="184"/>
                    </a:lnTo>
                    <a:lnTo>
                      <a:pt x="336" y="184"/>
                    </a:lnTo>
                    <a:lnTo>
                      <a:pt x="328" y="168"/>
                    </a:lnTo>
                    <a:lnTo>
                      <a:pt x="312" y="152"/>
                    </a:lnTo>
                    <a:lnTo>
                      <a:pt x="312" y="128"/>
                    </a:lnTo>
                    <a:lnTo>
                      <a:pt x="304" y="128"/>
                    </a:lnTo>
                    <a:lnTo>
                      <a:pt x="296" y="104"/>
                    </a:lnTo>
                    <a:lnTo>
                      <a:pt x="288" y="96"/>
                    </a:lnTo>
                    <a:lnTo>
                      <a:pt x="280" y="88"/>
                    </a:lnTo>
                    <a:lnTo>
                      <a:pt x="272" y="80"/>
                    </a:lnTo>
                    <a:lnTo>
                      <a:pt x="264" y="80"/>
                    </a:lnTo>
                    <a:lnTo>
                      <a:pt x="248" y="72"/>
                    </a:lnTo>
                    <a:lnTo>
                      <a:pt x="216" y="80"/>
                    </a:lnTo>
                    <a:lnTo>
                      <a:pt x="176" y="64"/>
                    </a:lnTo>
                    <a:lnTo>
                      <a:pt x="176" y="40"/>
                    </a:lnTo>
                    <a:lnTo>
                      <a:pt x="152" y="24"/>
                    </a:lnTo>
                    <a:lnTo>
                      <a:pt x="120" y="8"/>
                    </a:lnTo>
                    <a:lnTo>
                      <a:pt x="96" y="0"/>
                    </a:lnTo>
                    <a:lnTo>
                      <a:pt x="88" y="8"/>
                    </a:lnTo>
                    <a:lnTo>
                      <a:pt x="48" y="8"/>
                    </a:lnTo>
                    <a:lnTo>
                      <a:pt x="64" y="48"/>
                    </a:lnTo>
                    <a:lnTo>
                      <a:pt x="56" y="56"/>
                    </a:lnTo>
                    <a:lnTo>
                      <a:pt x="40" y="56"/>
                    </a:lnTo>
                    <a:lnTo>
                      <a:pt x="24" y="72"/>
                    </a:lnTo>
                    <a:lnTo>
                      <a:pt x="0" y="72"/>
                    </a:lnTo>
                    <a:lnTo>
                      <a:pt x="0" y="104"/>
                    </a:lnTo>
                    <a:lnTo>
                      <a:pt x="16" y="104"/>
                    </a:lnTo>
                    <a:lnTo>
                      <a:pt x="16" y="112"/>
                    </a:lnTo>
                    <a:lnTo>
                      <a:pt x="24" y="136"/>
                    </a:lnTo>
                    <a:lnTo>
                      <a:pt x="32" y="144"/>
                    </a:lnTo>
                    <a:lnTo>
                      <a:pt x="48" y="160"/>
                    </a:lnTo>
                    <a:lnTo>
                      <a:pt x="48" y="176"/>
                    </a:lnTo>
                    <a:lnTo>
                      <a:pt x="56" y="192"/>
                    </a:lnTo>
                    <a:lnTo>
                      <a:pt x="64" y="200"/>
                    </a:lnTo>
                    <a:lnTo>
                      <a:pt x="80" y="208"/>
                    </a:lnTo>
                    <a:lnTo>
                      <a:pt x="88" y="224"/>
                    </a:lnTo>
                    <a:lnTo>
                      <a:pt x="88" y="248"/>
                    </a:lnTo>
                    <a:lnTo>
                      <a:pt x="96" y="264"/>
                    </a:lnTo>
                    <a:lnTo>
                      <a:pt x="104" y="272"/>
                    </a:lnTo>
                    <a:lnTo>
                      <a:pt x="120" y="280"/>
                    </a:lnTo>
                    <a:lnTo>
                      <a:pt x="120" y="288"/>
                    </a:lnTo>
                    <a:lnTo>
                      <a:pt x="136" y="320"/>
                    </a:lnTo>
                    <a:lnTo>
                      <a:pt x="144" y="328"/>
                    </a:lnTo>
                    <a:lnTo>
                      <a:pt x="160" y="344"/>
                    </a:lnTo>
                    <a:lnTo>
                      <a:pt x="176" y="336"/>
                    </a:lnTo>
                    <a:lnTo>
                      <a:pt x="224" y="344"/>
                    </a:lnTo>
                    <a:lnTo>
                      <a:pt x="240" y="368"/>
                    </a:lnTo>
                    <a:lnTo>
                      <a:pt x="288" y="312"/>
                    </a:lnTo>
                    <a:lnTo>
                      <a:pt x="360" y="296"/>
                    </a:lnTo>
                    <a:lnTo>
                      <a:pt x="408" y="280"/>
                    </a:lnTo>
                    <a:lnTo>
                      <a:pt x="424" y="280"/>
                    </a:lnTo>
                    <a:lnTo>
                      <a:pt x="432" y="232"/>
                    </a:lnTo>
                    <a:lnTo>
                      <a:pt x="416" y="224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38" name="Freeform 225"/>
              <p:cNvSpPr>
                <a:spLocks noChangeAspect="1"/>
              </p:cNvSpPr>
              <p:nvPr/>
            </p:nvSpPr>
            <p:spPr bwMode="auto">
              <a:xfrm>
                <a:off x="3369" y="2611"/>
                <a:ext cx="163" cy="95"/>
              </a:xfrm>
              <a:custGeom>
                <a:avLst/>
                <a:gdLst>
                  <a:gd name="T0" fmla="*/ 1 w 232"/>
                  <a:gd name="T1" fmla="*/ 1 h 136"/>
                  <a:gd name="T2" fmla="*/ 1 w 232"/>
                  <a:gd name="T3" fmla="*/ 1 h 136"/>
                  <a:gd name="T4" fmla="*/ 1 w 232"/>
                  <a:gd name="T5" fmla="*/ 1 h 136"/>
                  <a:gd name="T6" fmla="*/ 1 w 232"/>
                  <a:gd name="T7" fmla="*/ 1 h 136"/>
                  <a:gd name="T8" fmla="*/ 1 w 232"/>
                  <a:gd name="T9" fmla="*/ 0 h 136"/>
                  <a:gd name="T10" fmla="*/ 1 w 232"/>
                  <a:gd name="T11" fmla="*/ 1 h 136"/>
                  <a:gd name="T12" fmla="*/ 1 w 232"/>
                  <a:gd name="T13" fmla="*/ 1 h 136"/>
                  <a:gd name="T14" fmla="*/ 1 w 232"/>
                  <a:gd name="T15" fmla="*/ 1 h 136"/>
                  <a:gd name="T16" fmla="*/ 1 w 232"/>
                  <a:gd name="T17" fmla="*/ 1 h 136"/>
                  <a:gd name="T18" fmla="*/ 0 w 232"/>
                  <a:gd name="T19" fmla="*/ 1 h 136"/>
                  <a:gd name="T20" fmla="*/ 0 w 232"/>
                  <a:gd name="T21" fmla="*/ 1 h 136"/>
                  <a:gd name="T22" fmla="*/ 0 w 232"/>
                  <a:gd name="T23" fmla="*/ 1 h 136"/>
                  <a:gd name="T24" fmla="*/ 0 w 232"/>
                  <a:gd name="T25" fmla="*/ 1 h 136"/>
                  <a:gd name="T26" fmla="*/ 1 w 232"/>
                  <a:gd name="T27" fmla="*/ 1 h 136"/>
                  <a:gd name="T28" fmla="*/ 1 w 232"/>
                  <a:gd name="T29" fmla="*/ 1 h 136"/>
                  <a:gd name="T30" fmla="*/ 1 w 232"/>
                  <a:gd name="T31" fmla="*/ 1 h 136"/>
                  <a:gd name="T32" fmla="*/ 1 w 232"/>
                  <a:gd name="T33" fmla="*/ 1 h 136"/>
                  <a:gd name="T34" fmla="*/ 1 w 232"/>
                  <a:gd name="T35" fmla="*/ 1 h 136"/>
                  <a:gd name="T36" fmla="*/ 1 w 232"/>
                  <a:gd name="T37" fmla="*/ 1 h 136"/>
                  <a:gd name="T38" fmla="*/ 1 w 232"/>
                  <a:gd name="T39" fmla="*/ 1 h 136"/>
                  <a:gd name="T40" fmla="*/ 1 w 232"/>
                  <a:gd name="T41" fmla="*/ 1 h 136"/>
                  <a:gd name="T42" fmla="*/ 1 w 232"/>
                  <a:gd name="T43" fmla="*/ 1 h 136"/>
                  <a:gd name="T44" fmla="*/ 1 w 232"/>
                  <a:gd name="T45" fmla="*/ 1 h 136"/>
                  <a:gd name="T46" fmla="*/ 1 w 232"/>
                  <a:gd name="T47" fmla="*/ 1 h 136"/>
                  <a:gd name="T48" fmla="*/ 1 w 232"/>
                  <a:gd name="T49" fmla="*/ 1 h 136"/>
                  <a:gd name="T50" fmla="*/ 1 w 232"/>
                  <a:gd name="T51" fmla="*/ 1 h 136"/>
                  <a:gd name="T52" fmla="*/ 1 w 232"/>
                  <a:gd name="T53" fmla="*/ 1 h 136"/>
                  <a:gd name="T54" fmla="*/ 1 w 232"/>
                  <a:gd name="T55" fmla="*/ 1 h 136"/>
                  <a:gd name="T56" fmla="*/ 1 w 232"/>
                  <a:gd name="T57" fmla="*/ 1 h 1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232"/>
                  <a:gd name="T88" fmla="*/ 0 h 136"/>
                  <a:gd name="T89" fmla="*/ 232 w 232"/>
                  <a:gd name="T90" fmla="*/ 136 h 1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232" h="136">
                    <a:moveTo>
                      <a:pt x="232" y="48"/>
                    </a:moveTo>
                    <a:lnTo>
                      <a:pt x="224" y="40"/>
                    </a:lnTo>
                    <a:lnTo>
                      <a:pt x="208" y="32"/>
                    </a:lnTo>
                    <a:lnTo>
                      <a:pt x="208" y="24"/>
                    </a:lnTo>
                    <a:lnTo>
                      <a:pt x="200" y="0"/>
                    </a:lnTo>
                    <a:lnTo>
                      <a:pt x="128" y="16"/>
                    </a:lnTo>
                    <a:lnTo>
                      <a:pt x="80" y="72"/>
                    </a:lnTo>
                    <a:lnTo>
                      <a:pt x="64" y="48"/>
                    </a:lnTo>
                    <a:lnTo>
                      <a:pt x="16" y="40"/>
                    </a:lnTo>
                    <a:lnTo>
                      <a:pt x="0" y="48"/>
                    </a:lnTo>
                    <a:lnTo>
                      <a:pt x="0" y="64"/>
                    </a:lnTo>
                    <a:lnTo>
                      <a:pt x="0" y="80"/>
                    </a:lnTo>
                    <a:lnTo>
                      <a:pt x="0" y="88"/>
                    </a:lnTo>
                    <a:lnTo>
                      <a:pt x="8" y="112"/>
                    </a:lnTo>
                    <a:lnTo>
                      <a:pt x="16" y="128"/>
                    </a:lnTo>
                    <a:lnTo>
                      <a:pt x="24" y="136"/>
                    </a:lnTo>
                    <a:lnTo>
                      <a:pt x="56" y="136"/>
                    </a:lnTo>
                    <a:lnTo>
                      <a:pt x="64" y="128"/>
                    </a:lnTo>
                    <a:lnTo>
                      <a:pt x="80" y="128"/>
                    </a:lnTo>
                    <a:lnTo>
                      <a:pt x="88" y="120"/>
                    </a:lnTo>
                    <a:lnTo>
                      <a:pt x="128" y="104"/>
                    </a:lnTo>
                    <a:lnTo>
                      <a:pt x="136" y="96"/>
                    </a:lnTo>
                    <a:lnTo>
                      <a:pt x="144" y="96"/>
                    </a:lnTo>
                    <a:lnTo>
                      <a:pt x="160" y="88"/>
                    </a:lnTo>
                    <a:lnTo>
                      <a:pt x="176" y="80"/>
                    </a:lnTo>
                    <a:lnTo>
                      <a:pt x="192" y="80"/>
                    </a:lnTo>
                    <a:lnTo>
                      <a:pt x="200" y="72"/>
                    </a:lnTo>
                    <a:lnTo>
                      <a:pt x="208" y="56"/>
                    </a:lnTo>
                    <a:lnTo>
                      <a:pt x="232" y="48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39" name="Freeform 226"/>
              <p:cNvSpPr>
                <a:spLocks noChangeAspect="1"/>
              </p:cNvSpPr>
              <p:nvPr/>
            </p:nvSpPr>
            <p:spPr bwMode="auto">
              <a:xfrm>
                <a:off x="3509" y="2521"/>
                <a:ext cx="113" cy="123"/>
              </a:xfrm>
              <a:custGeom>
                <a:avLst/>
                <a:gdLst>
                  <a:gd name="T0" fmla="*/ 1 w 160"/>
                  <a:gd name="T1" fmla="*/ 1 h 176"/>
                  <a:gd name="T2" fmla="*/ 1 w 160"/>
                  <a:gd name="T3" fmla="*/ 1 h 176"/>
                  <a:gd name="T4" fmla="*/ 1 w 160"/>
                  <a:gd name="T5" fmla="*/ 1 h 176"/>
                  <a:gd name="T6" fmla="*/ 1 w 160"/>
                  <a:gd name="T7" fmla="*/ 1 h 176"/>
                  <a:gd name="T8" fmla="*/ 1 w 160"/>
                  <a:gd name="T9" fmla="*/ 1 h 176"/>
                  <a:gd name="T10" fmla="*/ 1 w 160"/>
                  <a:gd name="T11" fmla="*/ 1 h 176"/>
                  <a:gd name="T12" fmla="*/ 1 w 160"/>
                  <a:gd name="T13" fmla="*/ 1 h 176"/>
                  <a:gd name="T14" fmla="*/ 1 w 160"/>
                  <a:gd name="T15" fmla="*/ 1 h 176"/>
                  <a:gd name="T16" fmla="*/ 1 w 160"/>
                  <a:gd name="T17" fmla="*/ 1 h 176"/>
                  <a:gd name="T18" fmla="*/ 1 w 160"/>
                  <a:gd name="T19" fmla="*/ 1 h 176"/>
                  <a:gd name="T20" fmla="*/ 1 w 160"/>
                  <a:gd name="T21" fmla="*/ 1 h 176"/>
                  <a:gd name="T22" fmla="*/ 1 w 160"/>
                  <a:gd name="T23" fmla="*/ 1 h 176"/>
                  <a:gd name="T24" fmla="*/ 1 w 160"/>
                  <a:gd name="T25" fmla="*/ 1 h 176"/>
                  <a:gd name="T26" fmla="*/ 1 w 160"/>
                  <a:gd name="T27" fmla="*/ 1 h 176"/>
                  <a:gd name="T28" fmla="*/ 1 w 160"/>
                  <a:gd name="T29" fmla="*/ 1 h 176"/>
                  <a:gd name="T30" fmla="*/ 1 w 160"/>
                  <a:gd name="T31" fmla="*/ 1 h 176"/>
                  <a:gd name="T32" fmla="*/ 1 w 160"/>
                  <a:gd name="T33" fmla="*/ 1 h 176"/>
                  <a:gd name="T34" fmla="*/ 1 w 160"/>
                  <a:gd name="T35" fmla="*/ 1 h 176"/>
                  <a:gd name="T36" fmla="*/ 1 w 160"/>
                  <a:gd name="T37" fmla="*/ 1 h 176"/>
                  <a:gd name="T38" fmla="*/ 1 w 160"/>
                  <a:gd name="T39" fmla="*/ 0 h 176"/>
                  <a:gd name="T40" fmla="*/ 1 w 160"/>
                  <a:gd name="T41" fmla="*/ 0 h 176"/>
                  <a:gd name="T42" fmla="*/ 1 w 160"/>
                  <a:gd name="T43" fmla="*/ 1 h 176"/>
                  <a:gd name="T44" fmla="*/ 1 w 160"/>
                  <a:gd name="T45" fmla="*/ 1 h 176"/>
                  <a:gd name="T46" fmla="*/ 1 w 160"/>
                  <a:gd name="T47" fmla="*/ 1 h 176"/>
                  <a:gd name="T48" fmla="*/ 1 w 160"/>
                  <a:gd name="T49" fmla="*/ 1 h 176"/>
                  <a:gd name="T50" fmla="*/ 1 w 160"/>
                  <a:gd name="T51" fmla="*/ 1 h 176"/>
                  <a:gd name="T52" fmla="*/ 1 w 160"/>
                  <a:gd name="T53" fmla="*/ 1 h 176"/>
                  <a:gd name="T54" fmla="*/ 0 w 160"/>
                  <a:gd name="T55" fmla="*/ 1 h 176"/>
                  <a:gd name="T56" fmla="*/ 1 w 160"/>
                  <a:gd name="T57" fmla="*/ 1 h 176"/>
                  <a:gd name="T58" fmla="*/ 1 w 160"/>
                  <a:gd name="T59" fmla="*/ 1 h 176"/>
                  <a:gd name="T60" fmla="*/ 1 w 160"/>
                  <a:gd name="T61" fmla="*/ 1 h 176"/>
                  <a:gd name="T62" fmla="*/ 1 w 160"/>
                  <a:gd name="T63" fmla="*/ 1 h 17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60"/>
                  <a:gd name="T97" fmla="*/ 0 h 176"/>
                  <a:gd name="T98" fmla="*/ 160 w 160"/>
                  <a:gd name="T99" fmla="*/ 176 h 17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60" h="176">
                    <a:moveTo>
                      <a:pt x="32" y="176"/>
                    </a:moveTo>
                    <a:lnTo>
                      <a:pt x="56" y="176"/>
                    </a:lnTo>
                    <a:lnTo>
                      <a:pt x="64" y="160"/>
                    </a:lnTo>
                    <a:lnTo>
                      <a:pt x="80" y="160"/>
                    </a:lnTo>
                    <a:lnTo>
                      <a:pt x="88" y="152"/>
                    </a:lnTo>
                    <a:lnTo>
                      <a:pt x="88" y="144"/>
                    </a:lnTo>
                    <a:lnTo>
                      <a:pt x="104" y="128"/>
                    </a:lnTo>
                    <a:lnTo>
                      <a:pt x="112" y="112"/>
                    </a:lnTo>
                    <a:lnTo>
                      <a:pt x="120" y="104"/>
                    </a:lnTo>
                    <a:lnTo>
                      <a:pt x="128" y="96"/>
                    </a:lnTo>
                    <a:lnTo>
                      <a:pt x="144" y="80"/>
                    </a:lnTo>
                    <a:lnTo>
                      <a:pt x="160" y="64"/>
                    </a:lnTo>
                    <a:lnTo>
                      <a:pt x="152" y="56"/>
                    </a:lnTo>
                    <a:lnTo>
                      <a:pt x="144" y="48"/>
                    </a:lnTo>
                    <a:lnTo>
                      <a:pt x="128" y="40"/>
                    </a:lnTo>
                    <a:lnTo>
                      <a:pt x="128" y="32"/>
                    </a:lnTo>
                    <a:lnTo>
                      <a:pt x="112" y="24"/>
                    </a:lnTo>
                    <a:lnTo>
                      <a:pt x="96" y="16"/>
                    </a:lnTo>
                    <a:lnTo>
                      <a:pt x="88" y="8"/>
                    </a:lnTo>
                    <a:lnTo>
                      <a:pt x="80" y="0"/>
                    </a:lnTo>
                    <a:lnTo>
                      <a:pt x="72" y="0"/>
                    </a:lnTo>
                    <a:lnTo>
                      <a:pt x="72" y="16"/>
                    </a:lnTo>
                    <a:lnTo>
                      <a:pt x="56" y="40"/>
                    </a:lnTo>
                    <a:lnTo>
                      <a:pt x="56" y="56"/>
                    </a:lnTo>
                    <a:lnTo>
                      <a:pt x="72" y="64"/>
                    </a:lnTo>
                    <a:lnTo>
                      <a:pt x="64" y="112"/>
                    </a:lnTo>
                    <a:lnTo>
                      <a:pt x="48" y="112"/>
                    </a:lnTo>
                    <a:lnTo>
                      <a:pt x="0" y="128"/>
                    </a:lnTo>
                    <a:lnTo>
                      <a:pt x="8" y="152"/>
                    </a:lnTo>
                    <a:lnTo>
                      <a:pt x="8" y="160"/>
                    </a:lnTo>
                    <a:lnTo>
                      <a:pt x="24" y="168"/>
                    </a:lnTo>
                    <a:lnTo>
                      <a:pt x="32" y="176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40" name="Freeform 227"/>
              <p:cNvSpPr>
                <a:spLocks noChangeAspect="1"/>
              </p:cNvSpPr>
              <p:nvPr/>
            </p:nvSpPr>
            <p:spPr bwMode="auto">
              <a:xfrm>
                <a:off x="3273" y="2312"/>
                <a:ext cx="90" cy="90"/>
              </a:xfrm>
              <a:custGeom>
                <a:avLst/>
                <a:gdLst>
                  <a:gd name="T0" fmla="*/ 1 w 128"/>
                  <a:gd name="T1" fmla="*/ 1 h 128"/>
                  <a:gd name="T2" fmla="*/ 1 w 128"/>
                  <a:gd name="T3" fmla="*/ 1 h 128"/>
                  <a:gd name="T4" fmla="*/ 1 w 128"/>
                  <a:gd name="T5" fmla="*/ 1 h 128"/>
                  <a:gd name="T6" fmla="*/ 0 w 128"/>
                  <a:gd name="T7" fmla="*/ 1 h 128"/>
                  <a:gd name="T8" fmla="*/ 1 w 128"/>
                  <a:gd name="T9" fmla="*/ 1 h 128"/>
                  <a:gd name="T10" fmla="*/ 1 w 128"/>
                  <a:gd name="T11" fmla="*/ 1 h 128"/>
                  <a:gd name="T12" fmla="*/ 1 w 128"/>
                  <a:gd name="T13" fmla="*/ 1 h 128"/>
                  <a:gd name="T14" fmla="*/ 1 w 128"/>
                  <a:gd name="T15" fmla="*/ 1 h 128"/>
                  <a:gd name="T16" fmla="*/ 1 w 128"/>
                  <a:gd name="T17" fmla="*/ 1 h 128"/>
                  <a:gd name="T18" fmla="*/ 1 w 128"/>
                  <a:gd name="T19" fmla="*/ 1 h 128"/>
                  <a:gd name="T20" fmla="*/ 1 w 128"/>
                  <a:gd name="T21" fmla="*/ 1 h 128"/>
                  <a:gd name="T22" fmla="*/ 1 w 128"/>
                  <a:gd name="T23" fmla="*/ 1 h 128"/>
                  <a:gd name="T24" fmla="*/ 1 w 128"/>
                  <a:gd name="T25" fmla="*/ 1 h 128"/>
                  <a:gd name="T26" fmla="*/ 1 w 128"/>
                  <a:gd name="T27" fmla="*/ 1 h 128"/>
                  <a:gd name="T28" fmla="*/ 1 w 128"/>
                  <a:gd name="T29" fmla="*/ 1 h 128"/>
                  <a:gd name="T30" fmla="*/ 1 w 128"/>
                  <a:gd name="T31" fmla="*/ 1 h 128"/>
                  <a:gd name="T32" fmla="*/ 1 w 128"/>
                  <a:gd name="T33" fmla="*/ 0 h 128"/>
                  <a:gd name="T34" fmla="*/ 1 w 128"/>
                  <a:gd name="T35" fmla="*/ 1 h 128"/>
                  <a:gd name="T36" fmla="*/ 1 w 128"/>
                  <a:gd name="T37" fmla="*/ 1 h 128"/>
                  <a:gd name="T38" fmla="*/ 1 w 128"/>
                  <a:gd name="T39" fmla="*/ 1 h 128"/>
                  <a:gd name="T40" fmla="*/ 1 w 128"/>
                  <a:gd name="T41" fmla="*/ 1 h 128"/>
                  <a:gd name="T42" fmla="*/ 1 w 128"/>
                  <a:gd name="T43" fmla="*/ 1 h 128"/>
                  <a:gd name="T44" fmla="*/ 1 w 128"/>
                  <a:gd name="T45" fmla="*/ 1 h 128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128"/>
                  <a:gd name="T70" fmla="*/ 0 h 128"/>
                  <a:gd name="T71" fmla="*/ 128 w 128"/>
                  <a:gd name="T72" fmla="*/ 128 h 128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128" h="128">
                    <a:moveTo>
                      <a:pt x="56" y="104"/>
                    </a:moveTo>
                    <a:lnTo>
                      <a:pt x="40" y="112"/>
                    </a:lnTo>
                    <a:lnTo>
                      <a:pt x="16" y="128"/>
                    </a:lnTo>
                    <a:lnTo>
                      <a:pt x="0" y="128"/>
                    </a:lnTo>
                    <a:lnTo>
                      <a:pt x="8" y="96"/>
                    </a:lnTo>
                    <a:lnTo>
                      <a:pt x="8" y="88"/>
                    </a:lnTo>
                    <a:lnTo>
                      <a:pt x="8" y="80"/>
                    </a:lnTo>
                    <a:lnTo>
                      <a:pt x="16" y="72"/>
                    </a:lnTo>
                    <a:lnTo>
                      <a:pt x="16" y="56"/>
                    </a:lnTo>
                    <a:lnTo>
                      <a:pt x="16" y="40"/>
                    </a:lnTo>
                    <a:lnTo>
                      <a:pt x="16" y="32"/>
                    </a:lnTo>
                    <a:lnTo>
                      <a:pt x="16" y="24"/>
                    </a:lnTo>
                    <a:lnTo>
                      <a:pt x="40" y="16"/>
                    </a:lnTo>
                    <a:lnTo>
                      <a:pt x="56" y="16"/>
                    </a:lnTo>
                    <a:lnTo>
                      <a:pt x="80" y="16"/>
                    </a:lnTo>
                    <a:lnTo>
                      <a:pt x="104" y="8"/>
                    </a:lnTo>
                    <a:lnTo>
                      <a:pt x="120" y="0"/>
                    </a:lnTo>
                    <a:lnTo>
                      <a:pt x="128" y="8"/>
                    </a:lnTo>
                    <a:lnTo>
                      <a:pt x="104" y="24"/>
                    </a:lnTo>
                    <a:lnTo>
                      <a:pt x="112" y="48"/>
                    </a:lnTo>
                    <a:lnTo>
                      <a:pt x="104" y="72"/>
                    </a:lnTo>
                    <a:lnTo>
                      <a:pt x="64" y="96"/>
                    </a:lnTo>
                    <a:lnTo>
                      <a:pt x="56" y="104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41" name="Freeform 228"/>
              <p:cNvSpPr>
                <a:spLocks noChangeAspect="1"/>
              </p:cNvSpPr>
              <p:nvPr/>
            </p:nvSpPr>
            <p:spPr bwMode="auto">
              <a:xfrm>
                <a:off x="3312" y="2312"/>
                <a:ext cx="141" cy="147"/>
              </a:xfrm>
              <a:custGeom>
                <a:avLst/>
                <a:gdLst>
                  <a:gd name="T0" fmla="*/ 1 w 200"/>
                  <a:gd name="T1" fmla="*/ 1 h 208"/>
                  <a:gd name="T2" fmla="*/ 1 w 200"/>
                  <a:gd name="T3" fmla="*/ 1 h 208"/>
                  <a:gd name="T4" fmla="*/ 1 w 200"/>
                  <a:gd name="T5" fmla="*/ 1 h 208"/>
                  <a:gd name="T6" fmla="*/ 1 w 200"/>
                  <a:gd name="T7" fmla="*/ 1 h 208"/>
                  <a:gd name="T8" fmla="*/ 1 w 200"/>
                  <a:gd name="T9" fmla="*/ 1 h 208"/>
                  <a:gd name="T10" fmla="*/ 1 w 200"/>
                  <a:gd name="T11" fmla="*/ 1 h 208"/>
                  <a:gd name="T12" fmla="*/ 1 w 200"/>
                  <a:gd name="T13" fmla="*/ 1 h 208"/>
                  <a:gd name="T14" fmla="*/ 1 w 200"/>
                  <a:gd name="T15" fmla="*/ 1 h 208"/>
                  <a:gd name="T16" fmla="*/ 1 w 200"/>
                  <a:gd name="T17" fmla="*/ 1 h 208"/>
                  <a:gd name="T18" fmla="*/ 1 w 200"/>
                  <a:gd name="T19" fmla="*/ 1 h 208"/>
                  <a:gd name="T20" fmla="*/ 0 w 200"/>
                  <a:gd name="T21" fmla="*/ 1 h 208"/>
                  <a:gd name="T22" fmla="*/ 1 w 200"/>
                  <a:gd name="T23" fmla="*/ 1 h 208"/>
                  <a:gd name="T24" fmla="*/ 1 w 200"/>
                  <a:gd name="T25" fmla="*/ 1 h 208"/>
                  <a:gd name="T26" fmla="*/ 1 w 200"/>
                  <a:gd name="T27" fmla="*/ 1 h 208"/>
                  <a:gd name="T28" fmla="*/ 1 w 200"/>
                  <a:gd name="T29" fmla="*/ 1 h 208"/>
                  <a:gd name="T30" fmla="*/ 1 w 200"/>
                  <a:gd name="T31" fmla="*/ 1 h 208"/>
                  <a:gd name="T32" fmla="*/ 1 w 200"/>
                  <a:gd name="T33" fmla="*/ 0 h 208"/>
                  <a:gd name="T34" fmla="*/ 1 w 200"/>
                  <a:gd name="T35" fmla="*/ 0 h 208"/>
                  <a:gd name="T36" fmla="*/ 1 w 200"/>
                  <a:gd name="T37" fmla="*/ 1 h 208"/>
                  <a:gd name="T38" fmla="*/ 1 w 200"/>
                  <a:gd name="T39" fmla="*/ 1 h 208"/>
                  <a:gd name="T40" fmla="*/ 1 w 200"/>
                  <a:gd name="T41" fmla="*/ 1 h 208"/>
                  <a:gd name="T42" fmla="*/ 1 w 200"/>
                  <a:gd name="T43" fmla="*/ 1 h 208"/>
                  <a:gd name="T44" fmla="*/ 1 w 200"/>
                  <a:gd name="T45" fmla="*/ 1 h 208"/>
                  <a:gd name="T46" fmla="*/ 1 w 200"/>
                  <a:gd name="T47" fmla="*/ 1 h 208"/>
                  <a:gd name="T48" fmla="*/ 1 w 200"/>
                  <a:gd name="T49" fmla="*/ 1 h 208"/>
                  <a:gd name="T50" fmla="*/ 1 w 200"/>
                  <a:gd name="T51" fmla="*/ 1 h 208"/>
                  <a:gd name="T52" fmla="*/ 1 w 200"/>
                  <a:gd name="T53" fmla="*/ 1 h 208"/>
                  <a:gd name="T54" fmla="*/ 1 w 200"/>
                  <a:gd name="T55" fmla="*/ 1 h 208"/>
                  <a:gd name="T56" fmla="*/ 1 w 200"/>
                  <a:gd name="T57" fmla="*/ 1 h 208"/>
                  <a:gd name="T58" fmla="*/ 1 w 200"/>
                  <a:gd name="T59" fmla="*/ 1 h 208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200"/>
                  <a:gd name="T91" fmla="*/ 0 h 208"/>
                  <a:gd name="T92" fmla="*/ 200 w 200"/>
                  <a:gd name="T93" fmla="*/ 208 h 208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200" h="208">
                    <a:moveTo>
                      <a:pt x="192" y="184"/>
                    </a:moveTo>
                    <a:lnTo>
                      <a:pt x="176" y="184"/>
                    </a:lnTo>
                    <a:lnTo>
                      <a:pt x="168" y="192"/>
                    </a:lnTo>
                    <a:lnTo>
                      <a:pt x="168" y="200"/>
                    </a:lnTo>
                    <a:lnTo>
                      <a:pt x="136" y="208"/>
                    </a:lnTo>
                    <a:lnTo>
                      <a:pt x="96" y="192"/>
                    </a:lnTo>
                    <a:lnTo>
                      <a:pt x="96" y="168"/>
                    </a:lnTo>
                    <a:lnTo>
                      <a:pt x="72" y="152"/>
                    </a:lnTo>
                    <a:lnTo>
                      <a:pt x="40" y="136"/>
                    </a:lnTo>
                    <a:lnTo>
                      <a:pt x="16" y="128"/>
                    </a:lnTo>
                    <a:lnTo>
                      <a:pt x="0" y="104"/>
                    </a:lnTo>
                    <a:lnTo>
                      <a:pt x="8" y="96"/>
                    </a:lnTo>
                    <a:lnTo>
                      <a:pt x="48" y="72"/>
                    </a:lnTo>
                    <a:lnTo>
                      <a:pt x="56" y="48"/>
                    </a:lnTo>
                    <a:lnTo>
                      <a:pt x="48" y="24"/>
                    </a:lnTo>
                    <a:lnTo>
                      <a:pt x="72" y="8"/>
                    </a:lnTo>
                    <a:lnTo>
                      <a:pt x="88" y="0"/>
                    </a:lnTo>
                    <a:lnTo>
                      <a:pt x="104" y="0"/>
                    </a:lnTo>
                    <a:lnTo>
                      <a:pt x="112" y="8"/>
                    </a:lnTo>
                    <a:lnTo>
                      <a:pt x="120" y="8"/>
                    </a:lnTo>
                    <a:lnTo>
                      <a:pt x="136" y="40"/>
                    </a:lnTo>
                    <a:lnTo>
                      <a:pt x="152" y="40"/>
                    </a:lnTo>
                    <a:lnTo>
                      <a:pt x="160" y="48"/>
                    </a:lnTo>
                    <a:lnTo>
                      <a:pt x="136" y="88"/>
                    </a:lnTo>
                    <a:lnTo>
                      <a:pt x="160" y="112"/>
                    </a:lnTo>
                    <a:lnTo>
                      <a:pt x="176" y="120"/>
                    </a:lnTo>
                    <a:lnTo>
                      <a:pt x="192" y="136"/>
                    </a:lnTo>
                    <a:lnTo>
                      <a:pt x="184" y="168"/>
                    </a:lnTo>
                    <a:lnTo>
                      <a:pt x="200" y="176"/>
                    </a:lnTo>
                    <a:lnTo>
                      <a:pt x="192" y="184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42" name="Freeform 229"/>
              <p:cNvSpPr>
                <a:spLocks noChangeAspect="1"/>
              </p:cNvSpPr>
              <p:nvPr/>
            </p:nvSpPr>
            <p:spPr bwMode="auto">
              <a:xfrm>
                <a:off x="3380" y="3066"/>
                <a:ext cx="101" cy="209"/>
              </a:xfrm>
              <a:custGeom>
                <a:avLst/>
                <a:gdLst>
                  <a:gd name="T0" fmla="*/ 0 w 144"/>
                  <a:gd name="T1" fmla="*/ 1 h 296"/>
                  <a:gd name="T2" fmla="*/ 0 w 144"/>
                  <a:gd name="T3" fmla="*/ 1 h 296"/>
                  <a:gd name="T4" fmla="*/ 1 w 144"/>
                  <a:gd name="T5" fmla="*/ 1 h 296"/>
                  <a:gd name="T6" fmla="*/ 1 w 144"/>
                  <a:gd name="T7" fmla="*/ 1 h 296"/>
                  <a:gd name="T8" fmla="*/ 1 w 144"/>
                  <a:gd name="T9" fmla="*/ 1 h 296"/>
                  <a:gd name="T10" fmla="*/ 1 w 144"/>
                  <a:gd name="T11" fmla="*/ 1 h 296"/>
                  <a:gd name="T12" fmla="*/ 1 w 144"/>
                  <a:gd name="T13" fmla="*/ 1 h 296"/>
                  <a:gd name="T14" fmla="*/ 1 w 144"/>
                  <a:gd name="T15" fmla="*/ 1 h 296"/>
                  <a:gd name="T16" fmla="*/ 1 w 144"/>
                  <a:gd name="T17" fmla="*/ 1 h 296"/>
                  <a:gd name="T18" fmla="*/ 1 w 144"/>
                  <a:gd name="T19" fmla="*/ 1 h 296"/>
                  <a:gd name="T20" fmla="*/ 1 w 144"/>
                  <a:gd name="T21" fmla="*/ 1 h 296"/>
                  <a:gd name="T22" fmla="*/ 1 w 144"/>
                  <a:gd name="T23" fmla="*/ 1 h 296"/>
                  <a:gd name="T24" fmla="*/ 1 w 144"/>
                  <a:gd name="T25" fmla="*/ 1 h 296"/>
                  <a:gd name="T26" fmla="*/ 1 w 144"/>
                  <a:gd name="T27" fmla="*/ 1 h 296"/>
                  <a:gd name="T28" fmla="*/ 1 w 144"/>
                  <a:gd name="T29" fmla="*/ 1 h 296"/>
                  <a:gd name="T30" fmla="*/ 1 w 144"/>
                  <a:gd name="T31" fmla="*/ 1 h 296"/>
                  <a:gd name="T32" fmla="*/ 1 w 144"/>
                  <a:gd name="T33" fmla="*/ 1 h 296"/>
                  <a:gd name="T34" fmla="*/ 1 w 144"/>
                  <a:gd name="T35" fmla="*/ 1 h 296"/>
                  <a:gd name="T36" fmla="*/ 1 w 144"/>
                  <a:gd name="T37" fmla="*/ 1 h 296"/>
                  <a:gd name="T38" fmla="*/ 1 w 144"/>
                  <a:gd name="T39" fmla="*/ 0 h 296"/>
                  <a:gd name="T40" fmla="*/ 1 w 144"/>
                  <a:gd name="T41" fmla="*/ 0 h 296"/>
                  <a:gd name="T42" fmla="*/ 1 w 144"/>
                  <a:gd name="T43" fmla="*/ 1 h 296"/>
                  <a:gd name="T44" fmla="*/ 1 w 144"/>
                  <a:gd name="T45" fmla="*/ 1 h 296"/>
                  <a:gd name="T46" fmla="*/ 1 w 144"/>
                  <a:gd name="T47" fmla="*/ 1 h 296"/>
                  <a:gd name="T48" fmla="*/ 1 w 144"/>
                  <a:gd name="T49" fmla="*/ 1 h 296"/>
                  <a:gd name="T50" fmla="*/ 1 w 144"/>
                  <a:gd name="T51" fmla="*/ 1 h 296"/>
                  <a:gd name="T52" fmla="*/ 1 w 144"/>
                  <a:gd name="T53" fmla="*/ 1 h 296"/>
                  <a:gd name="T54" fmla="*/ 1 w 144"/>
                  <a:gd name="T55" fmla="*/ 1 h 296"/>
                  <a:gd name="T56" fmla="*/ 1 w 144"/>
                  <a:gd name="T57" fmla="*/ 1 h 296"/>
                  <a:gd name="T58" fmla="*/ 1 w 144"/>
                  <a:gd name="T59" fmla="*/ 1 h 296"/>
                  <a:gd name="T60" fmla="*/ 1 w 144"/>
                  <a:gd name="T61" fmla="*/ 1 h 296"/>
                  <a:gd name="T62" fmla="*/ 1 w 144"/>
                  <a:gd name="T63" fmla="*/ 1 h 296"/>
                  <a:gd name="T64" fmla="*/ 1 w 144"/>
                  <a:gd name="T65" fmla="*/ 1 h 296"/>
                  <a:gd name="T66" fmla="*/ 1 w 144"/>
                  <a:gd name="T67" fmla="*/ 1 h 296"/>
                  <a:gd name="T68" fmla="*/ 1 w 144"/>
                  <a:gd name="T69" fmla="*/ 1 h 296"/>
                  <a:gd name="T70" fmla="*/ 1 w 144"/>
                  <a:gd name="T71" fmla="*/ 1 h 296"/>
                  <a:gd name="T72" fmla="*/ 0 w 144"/>
                  <a:gd name="T73" fmla="*/ 1 h 29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144"/>
                  <a:gd name="T112" fmla="*/ 0 h 296"/>
                  <a:gd name="T113" fmla="*/ 144 w 144"/>
                  <a:gd name="T114" fmla="*/ 296 h 29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144" h="296">
                    <a:moveTo>
                      <a:pt x="0" y="208"/>
                    </a:moveTo>
                    <a:lnTo>
                      <a:pt x="0" y="232"/>
                    </a:lnTo>
                    <a:lnTo>
                      <a:pt x="8" y="248"/>
                    </a:lnTo>
                    <a:lnTo>
                      <a:pt x="16" y="272"/>
                    </a:lnTo>
                    <a:lnTo>
                      <a:pt x="24" y="288"/>
                    </a:lnTo>
                    <a:lnTo>
                      <a:pt x="40" y="296"/>
                    </a:lnTo>
                    <a:lnTo>
                      <a:pt x="56" y="288"/>
                    </a:lnTo>
                    <a:lnTo>
                      <a:pt x="72" y="280"/>
                    </a:lnTo>
                    <a:lnTo>
                      <a:pt x="88" y="264"/>
                    </a:lnTo>
                    <a:lnTo>
                      <a:pt x="88" y="224"/>
                    </a:lnTo>
                    <a:lnTo>
                      <a:pt x="104" y="200"/>
                    </a:lnTo>
                    <a:lnTo>
                      <a:pt x="112" y="168"/>
                    </a:lnTo>
                    <a:lnTo>
                      <a:pt x="128" y="112"/>
                    </a:lnTo>
                    <a:lnTo>
                      <a:pt x="128" y="104"/>
                    </a:lnTo>
                    <a:lnTo>
                      <a:pt x="128" y="80"/>
                    </a:lnTo>
                    <a:lnTo>
                      <a:pt x="144" y="80"/>
                    </a:lnTo>
                    <a:lnTo>
                      <a:pt x="144" y="64"/>
                    </a:lnTo>
                    <a:lnTo>
                      <a:pt x="128" y="24"/>
                    </a:lnTo>
                    <a:lnTo>
                      <a:pt x="128" y="8"/>
                    </a:lnTo>
                    <a:lnTo>
                      <a:pt x="128" y="0"/>
                    </a:lnTo>
                    <a:lnTo>
                      <a:pt x="120" y="0"/>
                    </a:lnTo>
                    <a:lnTo>
                      <a:pt x="112" y="8"/>
                    </a:lnTo>
                    <a:lnTo>
                      <a:pt x="104" y="32"/>
                    </a:lnTo>
                    <a:lnTo>
                      <a:pt x="96" y="40"/>
                    </a:lnTo>
                    <a:lnTo>
                      <a:pt x="96" y="48"/>
                    </a:lnTo>
                    <a:lnTo>
                      <a:pt x="88" y="56"/>
                    </a:lnTo>
                    <a:lnTo>
                      <a:pt x="80" y="64"/>
                    </a:lnTo>
                    <a:lnTo>
                      <a:pt x="64" y="72"/>
                    </a:lnTo>
                    <a:lnTo>
                      <a:pt x="56" y="80"/>
                    </a:lnTo>
                    <a:lnTo>
                      <a:pt x="40" y="80"/>
                    </a:lnTo>
                    <a:lnTo>
                      <a:pt x="40" y="88"/>
                    </a:lnTo>
                    <a:lnTo>
                      <a:pt x="24" y="88"/>
                    </a:lnTo>
                    <a:lnTo>
                      <a:pt x="16" y="104"/>
                    </a:lnTo>
                    <a:lnTo>
                      <a:pt x="16" y="136"/>
                    </a:lnTo>
                    <a:lnTo>
                      <a:pt x="24" y="144"/>
                    </a:lnTo>
                    <a:lnTo>
                      <a:pt x="16" y="184"/>
                    </a:lnTo>
                    <a:lnTo>
                      <a:pt x="0" y="208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43" name="Freeform 230"/>
              <p:cNvSpPr>
                <a:spLocks noChangeAspect="1"/>
              </p:cNvSpPr>
              <p:nvPr/>
            </p:nvSpPr>
            <p:spPr bwMode="auto">
              <a:xfrm>
                <a:off x="2997" y="3213"/>
                <a:ext cx="231" cy="112"/>
              </a:xfrm>
              <a:custGeom>
                <a:avLst/>
                <a:gdLst>
                  <a:gd name="T0" fmla="*/ 0 w 328"/>
                  <a:gd name="T1" fmla="*/ 1 h 160"/>
                  <a:gd name="T2" fmla="*/ 1 w 328"/>
                  <a:gd name="T3" fmla="*/ 1 h 160"/>
                  <a:gd name="T4" fmla="*/ 1 w 328"/>
                  <a:gd name="T5" fmla="*/ 1 h 160"/>
                  <a:gd name="T6" fmla="*/ 1 w 328"/>
                  <a:gd name="T7" fmla="*/ 1 h 160"/>
                  <a:gd name="T8" fmla="*/ 1 w 328"/>
                  <a:gd name="T9" fmla="*/ 1 h 160"/>
                  <a:gd name="T10" fmla="*/ 1 w 328"/>
                  <a:gd name="T11" fmla="*/ 1 h 160"/>
                  <a:gd name="T12" fmla="*/ 1 w 328"/>
                  <a:gd name="T13" fmla="*/ 1 h 160"/>
                  <a:gd name="T14" fmla="*/ 1 w 328"/>
                  <a:gd name="T15" fmla="*/ 1 h 160"/>
                  <a:gd name="T16" fmla="*/ 1 w 328"/>
                  <a:gd name="T17" fmla="*/ 1 h 160"/>
                  <a:gd name="T18" fmla="*/ 1 w 328"/>
                  <a:gd name="T19" fmla="*/ 1 h 160"/>
                  <a:gd name="T20" fmla="*/ 1 w 328"/>
                  <a:gd name="T21" fmla="*/ 1 h 160"/>
                  <a:gd name="T22" fmla="*/ 1 w 328"/>
                  <a:gd name="T23" fmla="*/ 1 h 160"/>
                  <a:gd name="T24" fmla="*/ 1 w 328"/>
                  <a:gd name="T25" fmla="*/ 1 h 160"/>
                  <a:gd name="T26" fmla="*/ 1 w 328"/>
                  <a:gd name="T27" fmla="*/ 1 h 160"/>
                  <a:gd name="T28" fmla="*/ 1 w 328"/>
                  <a:gd name="T29" fmla="*/ 1 h 160"/>
                  <a:gd name="T30" fmla="*/ 1 w 328"/>
                  <a:gd name="T31" fmla="*/ 1 h 160"/>
                  <a:gd name="T32" fmla="*/ 1 w 328"/>
                  <a:gd name="T33" fmla="*/ 1 h 160"/>
                  <a:gd name="T34" fmla="*/ 1 w 328"/>
                  <a:gd name="T35" fmla="*/ 1 h 160"/>
                  <a:gd name="T36" fmla="*/ 1 w 328"/>
                  <a:gd name="T37" fmla="*/ 1 h 160"/>
                  <a:gd name="T38" fmla="*/ 1 w 328"/>
                  <a:gd name="T39" fmla="*/ 1 h 160"/>
                  <a:gd name="T40" fmla="*/ 1 w 328"/>
                  <a:gd name="T41" fmla="*/ 1 h 160"/>
                  <a:gd name="T42" fmla="*/ 1 w 328"/>
                  <a:gd name="T43" fmla="*/ 0 h 160"/>
                  <a:gd name="T44" fmla="*/ 1 w 328"/>
                  <a:gd name="T45" fmla="*/ 1 h 160"/>
                  <a:gd name="T46" fmla="*/ 1 w 328"/>
                  <a:gd name="T47" fmla="*/ 1 h 160"/>
                  <a:gd name="T48" fmla="*/ 1 w 328"/>
                  <a:gd name="T49" fmla="*/ 1 h 160"/>
                  <a:gd name="T50" fmla="*/ 1 w 328"/>
                  <a:gd name="T51" fmla="*/ 1 h 160"/>
                  <a:gd name="T52" fmla="*/ 1 w 328"/>
                  <a:gd name="T53" fmla="*/ 1 h 160"/>
                  <a:gd name="T54" fmla="*/ 0 w 328"/>
                  <a:gd name="T55" fmla="*/ 1 h 160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328"/>
                  <a:gd name="T85" fmla="*/ 0 h 160"/>
                  <a:gd name="T86" fmla="*/ 328 w 328"/>
                  <a:gd name="T87" fmla="*/ 160 h 160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328" h="160">
                    <a:moveTo>
                      <a:pt x="0" y="152"/>
                    </a:moveTo>
                    <a:lnTo>
                      <a:pt x="8" y="144"/>
                    </a:lnTo>
                    <a:lnTo>
                      <a:pt x="16" y="144"/>
                    </a:lnTo>
                    <a:lnTo>
                      <a:pt x="24" y="144"/>
                    </a:lnTo>
                    <a:lnTo>
                      <a:pt x="32" y="152"/>
                    </a:lnTo>
                    <a:lnTo>
                      <a:pt x="48" y="160"/>
                    </a:lnTo>
                    <a:lnTo>
                      <a:pt x="72" y="152"/>
                    </a:lnTo>
                    <a:lnTo>
                      <a:pt x="72" y="56"/>
                    </a:lnTo>
                    <a:lnTo>
                      <a:pt x="88" y="72"/>
                    </a:lnTo>
                    <a:lnTo>
                      <a:pt x="96" y="104"/>
                    </a:lnTo>
                    <a:lnTo>
                      <a:pt x="112" y="104"/>
                    </a:lnTo>
                    <a:lnTo>
                      <a:pt x="136" y="80"/>
                    </a:lnTo>
                    <a:lnTo>
                      <a:pt x="152" y="80"/>
                    </a:lnTo>
                    <a:lnTo>
                      <a:pt x="160" y="88"/>
                    </a:lnTo>
                    <a:lnTo>
                      <a:pt x="176" y="80"/>
                    </a:lnTo>
                    <a:lnTo>
                      <a:pt x="192" y="64"/>
                    </a:lnTo>
                    <a:lnTo>
                      <a:pt x="192" y="40"/>
                    </a:lnTo>
                    <a:lnTo>
                      <a:pt x="216" y="32"/>
                    </a:lnTo>
                    <a:lnTo>
                      <a:pt x="224" y="24"/>
                    </a:lnTo>
                    <a:lnTo>
                      <a:pt x="248" y="8"/>
                    </a:lnTo>
                    <a:lnTo>
                      <a:pt x="256" y="8"/>
                    </a:lnTo>
                    <a:lnTo>
                      <a:pt x="272" y="0"/>
                    </a:lnTo>
                    <a:lnTo>
                      <a:pt x="304" y="8"/>
                    </a:lnTo>
                    <a:lnTo>
                      <a:pt x="312" y="56"/>
                    </a:lnTo>
                    <a:lnTo>
                      <a:pt x="304" y="80"/>
                    </a:lnTo>
                    <a:lnTo>
                      <a:pt x="312" y="104"/>
                    </a:lnTo>
                    <a:lnTo>
                      <a:pt x="328" y="112"/>
                    </a:lnTo>
                    <a:lnTo>
                      <a:pt x="0" y="152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44" name="Freeform 231"/>
              <p:cNvSpPr>
                <a:spLocks noChangeAspect="1"/>
              </p:cNvSpPr>
              <p:nvPr/>
            </p:nvSpPr>
            <p:spPr bwMode="auto">
              <a:xfrm>
                <a:off x="3312" y="2312"/>
                <a:ext cx="85" cy="74"/>
              </a:xfrm>
              <a:custGeom>
                <a:avLst/>
                <a:gdLst>
                  <a:gd name="T0" fmla="*/ 0 w 120"/>
                  <a:gd name="T1" fmla="*/ 1 h 104"/>
                  <a:gd name="T2" fmla="*/ 1 w 120"/>
                  <a:gd name="T3" fmla="*/ 1 h 104"/>
                  <a:gd name="T4" fmla="*/ 1 w 120"/>
                  <a:gd name="T5" fmla="*/ 1 h 104"/>
                  <a:gd name="T6" fmla="*/ 1 w 120"/>
                  <a:gd name="T7" fmla="*/ 1 h 104"/>
                  <a:gd name="T8" fmla="*/ 1 w 120"/>
                  <a:gd name="T9" fmla="*/ 1 h 104"/>
                  <a:gd name="T10" fmla="*/ 1 w 120"/>
                  <a:gd name="T11" fmla="*/ 1 h 104"/>
                  <a:gd name="T12" fmla="*/ 1 w 120"/>
                  <a:gd name="T13" fmla="*/ 0 h 104"/>
                  <a:gd name="T14" fmla="*/ 1 w 120"/>
                  <a:gd name="T15" fmla="*/ 0 h 104"/>
                  <a:gd name="T16" fmla="*/ 1 w 120"/>
                  <a:gd name="T17" fmla="*/ 1 h 104"/>
                  <a:gd name="T18" fmla="*/ 1 w 120"/>
                  <a:gd name="T19" fmla="*/ 1 h 104"/>
                  <a:gd name="T20" fmla="*/ 0 w 120"/>
                  <a:gd name="T21" fmla="*/ 1 h 10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20"/>
                  <a:gd name="T34" fmla="*/ 0 h 104"/>
                  <a:gd name="T35" fmla="*/ 120 w 120"/>
                  <a:gd name="T36" fmla="*/ 104 h 104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20" h="104">
                    <a:moveTo>
                      <a:pt x="0" y="104"/>
                    </a:moveTo>
                    <a:lnTo>
                      <a:pt x="8" y="96"/>
                    </a:lnTo>
                    <a:lnTo>
                      <a:pt x="48" y="72"/>
                    </a:lnTo>
                    <a:lnTo>
                      <a:pt x="56" y="48"/>
                    </a:lnTo>
                    <a:lnTo>
                      <a:pt x="48" y="24"/>
                    </a:lnTo>
                    <a:lnTo>
                      <a:pt x="72" y="8"/>
                    </a:lnTo>
                    <a:lnTo>
                      <a:pt x="88" y="0"/>
                    </a:lnTo>
                    <a:lnTo>
                      <a:pt x="104" y="0"/>
                    </a:lnTo>
                    <a:lnTo>
                      <a:pt x="112" y="8"/>
                    </a:lnTo>
                    <a:lnTo>
                      <a:pt x="120" y="8"/>
                    </a:lnTo>
                    <a:lnTo>
                      <a:pt x="0" y="104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  <p:sp>
            <p:nvSpPr>
              <p:cNvPr id="245" name="Freeform 232"/>
              <p:cNvSpPr>
                <a:spLocks noChangeAspect="1"/>
              </p:cNvSpPr>
              <p:nvPr/>
            </p:nvSpPr>
            <p:spPr bwMode="auto">
              <a:xfrm>
                <a:off x="3284" y="2312"/>
                <a:ext cx="79" cy="23"/>
              </a:xfrm>
              <a:custGeom>
                <a:avLst/>
                <a:gdLst>
                  <a:gd name="T0" fmla="*/ 0 w 112"/>
                  <a:gd name="T1" fmla="*/ 1 h 32"/>
                  <a:gd name="T2" fmla="*/ 0 w 112"/>
                  <a:gd name="T3" fmla="*/ 1 h 32"/>
                  <a:gd name="T4" fmla="*/ 1 w 112"/>
                  <a:gd name="T5" fmla="*/ 1 h 32"/>
                  <a:gd name="T6" fmla="*/ 1 w 112"/>
                  <a:gd name="T7" fmla="*/ 1 h 32"/>
                  <a:gd name="T8" fmla="*/ 1 w 112"/>
                  <a:gd name="T9" fmla="*/ 1 h 32"/>
                  <a:gd name="T10" fmla="*/ 1 w 112"/>
                  <a:gd name="T11" fmla="*/ 1 h 32"/>
                  <a:gd name="T12" fmla="*/ 1 w 112"/>
                  <a:gd name="T13" fmla="*/ 0 h 32"/>
                  <a:gd name="T14" fmla="*/ 1 w 112"/>
                  <a:gd name="T15" fmla="*/ 1 h 32"/>
                  <a:gd name="T16" fmla="*/ 0 w 112"/>
                  <a:gd name="T17" fmla="*/ 1 h 3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2"/>
                  <a:gd name="T28" fmla="*/ 0 h 32"/>
                  <a:gd name="T29" fmla="*/ 112 w 112"/>
                  <a:gd name="T30" fmla="*/ 32 h 3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2" h="32">
                    <a:moveTo>
                      <a:pt x="0" y="32"/>
                    </a:moveTo>
                    <a:lnTo>
                      <a:pt x="0" y="24"/>
                    </a:lnTo>
                    <a:lnTo>
                      <a:pt x="24" y="16"/>
                    </a:lnTo>
                    <a:lnTo>
                      <a:pt x="40" y="16"/>
                    </a:lnTo>
                    <a:lnTo>
                      <a:pt x="64" y="16"/>
                    </a:lnTo>
                    <a:lnTo>
                      <a:pt x="88" y="8"/>
                    </a:lnTo>
                    <a:lnTo>
                      <a:pt x="104" y="0"/>
                    </a:lnTo>
                    <a:lnTo>
                      <a:pt x="112" y="8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 w="127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2897"/>
                  </a:solidFill>
                  <a:cs typeface="Arial" charset="0"/>
                </a:endParaRPr>
              </a:p>
            </p:txBody>
          </p:sp>
        </p:grpSp>
        <p:grpSp>
          <p:nvGrpSpPr>
            <p:cNvPr id="19" name="Group 233"/>
            <p:cNvGrpSpPr>
              <a:grpSpLocks noChangeAspect="1"/>
            </p:cNvGrpSpPr>
            <p:nvPr/>
          </p:nvGrpSpPr>
          <p:grpSpPr bwMode="auto">
            <a:xfrm>
              <a:off x="1703" y="1069"/>
              <a:ext cx="3832" cy="1609"/>
              <a:chOff x="1703" y="1069"/>
              <a:chExt cx="3832" cy="1609"/>
            </a:xfrm>
            <a:grpFill/>
          </p:grpSpPr>
          <p:grpSp>
            <p:nvGrpSpPr>
              <p:cNvPr id="20" name="Group 234"/>
              <p:cNvGrpSpPr>
                <a:grpSpLocks noChangeAspect="1"/>
              </p:cNvGrpSpPr>
              <p:nvPr/>
            </p:nvGrpSpPr>
            <p:grpSpPr bwMode="auto">
              <a:xfrm>
                <a:off x="2795" y="1913"/>
                <a:ext cx="534" cy="360"/>
                <a:chOff x="2795" y="1913"/>
                <a:chExt cx="534" cy="360"/>
              </a:xfrm>
              <a:grpFill/>
            </p:grpSpPr>
            <p:sp>
              <p:nvSpPr>
                <p:cNvPr id="165" name="Freeform 235"/>
                <p:cNvSpPr>
                  <a:spLocks noChangeAspect="1"/>
                </p:cNvSpPr>
                <p:nvPr/>
              </p:nvSpPr>
              <p:spPr bwMode="auto">
                <a:xfrm>
                  <a:off x="2902" y="2087"/>
                  <a:ext cx="101" cy="57"/>
                </a:xfrm>
                <a:custGeom>
                  <a:avLst/>
                  <a:gdLst>
                    <a:gd name="T0" fmla="*/ 1 w 144"/>
                    <a:gd name="T1" fmla="*/ 1 h 80"/>
                    <a:gd name="T2" fmla="*/ 1 w 144"/>
                    <a:gd name="T3" fmla="*/ 1 h 80"/>
                    <a:gd name="T4" fmla="*/ 1 w 144"/>
                    <a:gd name="T5" fmla="*/ 1 h 80"/>
                    <a:gd name="T6" fmla="*/ 1 w 144"/>
                    <a:gd name="T7" fmla="*/ 1 h 80"/>
                    <a:gd name="T8" fmla="*/ 1 w 144"/>
                    <a:gd name="T9" fmla="*/ 1 h 80"/>
                    <a:gd name="T10" fmla="*/ 1 w 144"/>
                    <a:gd name="T11" fmla="*/ 1 h 80"/>
                    <a:gd name="T12" fmla="*/ 1 w 144"/>
                    <a:gd name="T13" fmla="*/ 1 h 80"/>
                    <a:gd name="T14" fmla="*/ 1 w 144"/>
                    <a:gd name="T15" fmla="*/ 1 h 80"/>
                    <a:gd name="T16" fmla="*/ 1 w 144"/>
                    <a:gd name="T17" fmla="*/ 1 h 80"/>
                    <a:gd name="T18" fmla="*/ 1 w 144"/>
                    <a:gd name="T19" fmla="*/ 1 h 80"/>
                    <a:gd name="T20" fmla="*/ 0 w 144"/>
                    <a:gd name="T21" fmla="*/ 1 h 80"/>
                    <a:gd name="T22" fmla="*/ 0 w 144"/>
                    <a:gd name="T23" fmla="*/ 1 h 80"/>
                    <a:gd name="T24" fmla="*/ 1 w 144"/>
                    <a:gd name="T25" fmla="*/ 1 h 80"/>
                    <a:gd name="T26" fmla="*/ 1 w 144"/>
                    <a:gd name="T27" fmla="*/ 1 h 80"/>
                    <a:gd name="T28" fmla="*/ 1 w 144"/>
                    <a:gd name="T29" fmla="*/ 1 h 80"/>
                    <a:gd name="T30" fmla="*/ 1 w 144"/>
                    <a:gd name="T31" fmla="*/ 1 h 80"/>
                    <a:gd name="T32" fmla="*/ 1 w 144"/>
                    <a:gd name="T33" fmla="*/ 1 h 80"/>
                    <a:gd name="T34" fmla="*/ 1 w 144"/>
                    <a:gd name="T35" fmla="*/ 1 h 80"/>
                    <a:gd name="T36" fmla="*/ 1 w 144"/>
                    <a:gd name="T37" fmla="*/ 1 h 80"/>
                    <a:gd name="T38" fmla="*/ 1 w 144"/>
                    <a:gd name="T39" fmla="*/ 0 h 80"/>
                    <a:gd name="T40" fmla="*/ 1 w 144"/>
                    <a:gd name="T41" fmla="*/ 0 h 80"/>
                    <a:gd name="T42" fmla="*/ 1 w 144"/>
                    <a:gd name="T43" fmla="*/ 1 h 80"/>
                    <a:gd name="T44" fmla="*/ 1 w 144"/>
                    <a:gd name="T45" fmla="*/ 1 h 80"/>
                    <a:gd name="T46" fmla="*/ 1 w 144"/>
                    <a:gd name="T47" fmla="*/ 1 h 80"/>
                    <a:gd name="T48" fmla="*/ 1 w 144"/>
                    <a:gd name="T49" fmla="*/ 1 h 80"/>
                    <a:gd name="T50" fmla="*/ 1 w 144"/>
                    <a:gd name="T51" fmla="*/ 1 h 80"/>
                    <a:gd name="T52" fmla="*/ 1 w 144"/>
                    <a:gd name="T53" fmla="*/ 1 h 80"/>
                    <a:gd name="T54" fmla="*/ 1 w 144"/>
                    <a:gd name="T55" fmla="*/ 1 h 80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144"/>
                    <a:gd name="T85" fmla="*/ 0 h 80"/>
                    <a:gd name="T86" fmla="*/ 144 w 144"/>
                    <a:gd name="T87" fmla="*/ 80 h 80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144" h="80">
                      <a:moveTo>
                        <a:pt x="136" y="64"/>
                      </a:moveTo>
                      <a:lnTo>
                        <a:pt x="112" y="64"/>
                      </a:lnTo>
                      <a:lnTo>
                        <a:pt x="96" y="80"/>
                      </a:lnTo>
                      <a:lnTo>
                        <a:pt x="80" y="72"/>
                      </a:lnTo>
                      <a:lnTo>
                        <a:pt x="64" y="64"/>
                      </a:lnTo>
                      <a:lnTo>
                        <a:pt x="56" y="64"/>
                      </a:lnTo>
                      <a:lnTo>
                        <a:pt x="48" y="64"/>
                      </a:lnTo>
                      <a:lnTo>
                        <a:pt x="40" y="64"/>
                      </a:lnTo>
                      <a:lnTo>
                        <a:pt x="32" y="64"/>
                      </a:lnTo>
                      <a:lnTo>
                        <a:pt x="8" y="64"/>
                      </a:lnTo>
                      <a:lnTo>
                        <a:pt x="0" y="64"/>
                      </a:lnTo>
                      <a:lnTo>
                        <a:pt x="0" y="48"/>
                      </a:lnTo>
                      <a:lnTo>
                        <a:pt x="16" y="48"/>
                      </a:lnTo>
                      <a:lnTo>
                        <a:pt x="40" y="48"/>
                      </a:lnTo>
                      <a:lnTo>
                        <a:pt x="48" y="40"/>
                      </a:lnTo>
                      <a:lnTo>
                        <a:pt x="64" y="40"/>
                      </a:lnTo>
                      <a:lnTo>
                        <a:pt x="72" y="32"/>
                      </a:lnTo>
                      <a:lnTo>
                        <a:pt x="72" y="24"/>
                      </a:lnTo>
                      <a:lnTo>
                        <a:pt x="80" y="16"/>
                      </a:lnTo>
                      <a:lnTo>
                        <a:pt x="80" y="0"/>
                      </a:lnTo>
                      <a:lnTo>
                        <a:pt x="112" y="0"/>
                      </a:lnTo>
                      <a:lnTo>
                        <a:pt x="128" y="8"/>
                      </a:lnTo>
                      <a:lnTo>
                        <a:pt x="136" y="16"/>
                      </a:lnTo>
                      <a:lnTo>
                        <a:pt x="144" y="24"/>
                      </a:lnTo>
                      <a:lnTo>
                        <a:pt x="144" y="32"/>
                      </a:lnTo>
                      <a:lnTo>
                        <a:pt x="136" y="40"/>
                      </a:lnTo>
                      <a:lnTo>
                        <a:pt x="136" y="56"/>
                      </a:lnTo>
                      <a:lnTo>
                        <a:pt x="136" y="64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66" name="Freeform 236"/>
                <p:cNvSpPr>
                  <a:spLocks noChangeAspect="1"/>
                </p:cNvSpPr>
                <p:nvPr/>
              </p:nvSpPr>
              <p:spPr bwMode="auto">
                <a:xfrm>
                  <a:off x="2845" y="2110"/>
                  <a:ext cx="62" cy="45"/>
                </a:xfrm>
                <a:custGeom>
                  <a:avLst/>
                  <a:gdLst>
                    <a:gd name="T0" fmla="*/ 1 w 88"/>
                    <a:gd name="T1" fmla="*/ 1 h 64"/>
                    <a:gd name="T2" fmla="*/ 1 w 88"/>
                    <a:gd name="T3" fmla="*/ 1 h 64"/>
                    <a:gd name="T4" fmla="*/ 1 w 88"/>
                    <a:gd name="T5" fmla="*/ 1 h 64"/>
                    <a:gd name="T6" fmla="*/ 0 w 88"/>
                    <a:gd name="T7" fmla="*/ 1 h 64"/>
                    <a:gd name="T8" fmla="*/ 0 w 88"/>
                    <a:gd name="T9" fmla="*/ 1 h 64"/>
                    <a:gd name="T10" fmla="*/ 1 w 88"/>
                    <a:gd name="T11" fmla="*/ 1 h 64"/>
                    <a:gd name="T12" fmla="*/ 1 w 88"/>
                    <a:gd name="T13" fmla="*/ 1 h 64"/>
                    <a:gd name="T14" fmla="*/ 1 w 88"/>
                    <a:gd name="T15" fmla="*/ 1 h 64"/>
                    <a:gd name="T16" fmla="*/ 1 w 88"/>
                    <a:gd name="T17" fmla="*/ 1 h 64"/>
                    <a:gd name="T18" fmla="*/ 1 w 88"/>
                    <a:gd name="T19" fmla="*/ 1 h 64"/>
                    <a:gd name="T20" fmla="*/ 1 w 88"/>
                    <a:gd name="T21" fmla="*/ 1 h 64"/>
                    <a:gd name="T22" fmla="*/ 1 w 88"/>
                    <a:gd name="T23" fmla="*/ 1 h 64"/>
                    <a:gd name="T24" fmla="*/ 1 w 88"/>
                    <a:gd name="T25" fmla="*/ 0 h 64"/>
                    <a:gd name="T26" fmla="*/ 1 w 88"/>
                    <a:gd name="T27" fmla="*/ 1 h 64"/>
                    <a:gd name="T28" fmla="*/ 1 w 88"/>
                    <a:gd name="T29" fmla="*/ 1 h 64"/>
                    <a:gd name="T30" fmla="*/ 1 w 88"/>
                    <a:gd name="T31" fmla="*/ 1 h 64"/>
                    <a:gd name="T32" fmla="*/ 1 w 88"/>
                    <a:gd name="T33" fmla="*/ 1 h 64"/>
                    <a:gd name="T34" fmla="*/ 1 w 88"/>
                    <a:gd name="T35" fmla="*/ 1 h 64"/>
                    <a:gd name="T36" fmla="*/ 1 w 88"/>
                    <a:gd name="T37" fmla="*/ 1 h 64"/>
                    <a:gd name="T38" fmla="*/ 1 w 88"/>
                    <a:gd name="T39" fmla="*/ 1 h 64"/>
                    <a:gd name="T40" fmla="*/ 1 w 88"/>
                    <a:gd name="T41" fmla="*/ 1 h 64"/>
                    <a:gd name="T42" fmla="*/ 1 w 88"/>
                    <a:gd name="T43" fmla="*/ 1 h 64"/>
                    <a:gd name="T44" fmla="*/ 1 w 88"/>
                    <a:gd name="T45" fmla="*/ 1 h 64"/>
                    <a:gd name="T46" fmla="*/ 1 w 88"/>
                    <a:gd name="T47" fmla="*/ 1 h 64"/>
                    <a:gd name="T48" fmla="*/ 1 w 88"/>
                    <a:gd name="T49" fmla="*/ 1 h 64"/>
                    <a:gd name="T50" fmla="*/ 1 w 88"/>
                    <a:gd name="T51" fmla="*/ 1 h 64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88"/>
                    <a:gd name="T79" fmla="*/ 0 h 64"/>
                    <a:gd name="T80" fmla="*/ 88 w 88"/>
                    <a:gd name="T81" fmla="*/ 64 h 64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88" h="64">
                      <a:moveTo>
                        <a:pt x="16" y="64"/>
                      </a:moveTo>
                      <a:lnTo>
                        <a:pt x="16" y="48"/>
                      </a:lnTo>
                      <a:lnTo>
                        <a:pt x="8" y="48"/>
                      </a:lnTo>
                      <a:lnTo>
                        <a:pt x="0" y="56"/>
                      </a:lnTo>
                      <a:lnTo>
                        <a:pt x="0" y="48"/>
                      </a:lnTo>
                      <a:lnTo>
                        <a:pt x="8" y="40"/>
                      </a:lnTo>
                      <a:lnTo>
                        <a:pt x="8" y="32"/>
                      </a:lnTo>
                      <a:lnTo>
                        <a:pt x="16" y="32"/>
                      </a:lnTo>
                      <a:lnTo>
                        <a:pt x="16" y="16"/>
                      </a:lnTo>
                      <a:lnTo>
                        <a:pt x="24" y="8"/>
                      </a:lnTo>
                      <a:lnTo>
                        <a:pt x="32" y="16"/>
                      </a:lnTo>
                      <a:lnTo>
                        <a:pt x="40" y="8"/>
                      </a:lnTo>
                      <a:lnTo>
                        <a:pt x="56" y="0"/>
                      </a:lnTo>
                      <a:lnTo>
                        <a:pt x="64" y="16"/>
                      </a:lnTo>
                      <a:lnTo>
                        <a:pt x="80" y="16"/>
                      </a:lnTo>
                      <a:lnTo>
                        <a:pt x="72" y="24"/>
                      </a:lnTo>
                      <a:lnTo>
                        <a:pt x="80" y="32"/>
                      </a:lnTo>
                      <a:lnTo>
                        <a:pt x="88" y="32"/>
                      </a:lnTo>
                      <a:lnTo>
                        <a:pt x="80" y="48"/>
                      </a:lnTo>
                      <a:lnTo>
                        <a:pt x="56" y="48"/>
                      </a:lnTo>
                      <a:lnTo>
                        <a:pt x="56" y="40"/>
                      </a:lnTo>
                      <a:lnTo>
                        <a:pt x="40" y="40"/>
                      </a:lnTo>
                      <a:lnTo>
                        <a:pt x="40" y="56"/>
                      </a:lnTo>
                      <a:lnTo>
                        <a:pt x="32" y="64"/>
                      </a:lnTo>
                      <a:lnTo>
                        <a:pt x="24" y="64"/>
                      </a:lnTo>
                      <a:lnTo>
                        <a:pt x="16" y="64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67" name="Freeform 237"/>
                <p:cNvSpPr>
                  <a:spLocks noChangeAspect="1"/>
                </p:cNvSpPr>
                <p:nvPr/>
              </p:nvSpPr>
              <p:spPr bwMode="auto">
                <a:xfrm>
                  <a:off x="2845" y="1952"/>
                  <a:ext cx="135" cy="169"/>
                </a:xfrm>
                <a:custGeom>
                  <a:avLst/>
                  <a:gdLst>
                    <a:gd name="T0" fmla="*/ 1 w 192"/>
                    <a:gd name="T1" fmla="*/ 1 h 240"/>
                    <a:gd name="T2" fmla="*/ 1 w 192"/>
                    <a:gd name="T3" fmla="*/ 1 h 240"/>
                    <a:gd name="T4" fmla="*/ 1 w 192"/>
                    <a:gd name="T5" fmla="*/ 1 h 240"/>
                    <a:gd name="T6" fmla="*/ 1 w 192"/>
                    <a:gd name="T7" fmla="*/ 1 h 240"/>
                    <a:gd name="T8" fmla="*/ 1 w 192"/>
                    <a:gd name="T9" fmla="*/ 1 h 240"/>
                    <a:gd name="T10" fmla="*/ 1 w 192"/>
                    <a:gd name="T11" fmla="*/ 1 h 240"/>
                    <a:gd name="T12" fmla="*/ 1 w 192"/>
                    <a:gd name="T13" fmla="*/ 1 h 240"/>
                    <a:gd name="T14" fmla="*/ 1 w 192"/>
                    <a:gd name="T15" fmla="*/ 1 h 240"/>
                    <a:gd name="T16" fmla="*/ 1 w 192"/>
                    <a:gd name="T17" fmla="*/ 1 h 240"/>
                    <a:gd name="T18" fmla="*/ 1 w 192"/>
                    <a:gd name="T19" fmla="*/ 1 h 240"/>
                    <a:gd name="T20" fmla="*/ 1 w 192"/>
                    <a:gd name="T21" fmla="*/ 1 h 240"/>
                    <a:gd name="T22" fmla="*/ 1 w 192"/>
                    <a:gd name="T23" fmla="*/ 1 h 240"/>
                    <a:gd name="T24" fmla="*/ 1 w 192"/>
                    <a:gd name="T25" fmla="*/ 1 h 240"/>
                    <a:gd name="T26" fmla="*/ 1 w 192"/>
                    <a:gd name="T27" fmla="*/ 1 h 240"/>
                    <a:gd name="T28" fmla="*/ 1 w 192"/>
                    <a:gd name="T29" fmla="*/ 1 h 240"/>
                    <a:gd name="T30" fmla="*/ 1 w 192"/>
                    <a:gd name="T31" fmla="*/ 1 h 240"/>
                    <a:gd name="T32" fmla="*/ 1 w 192"/>
                    <a:gd name="T33" fmla="*/ 1 h 240"/>
                    <a:gd name="T34" fmla="*/ 1 w 192"/>
                    <a:gd name="T35" fmla="*/ 1 h 240"/>
                    <a:gd name="T36" fmla="*/ 1 w 192"/>
                    <a:gd name="T37" fmla="*/ 1 h 240"/>
                    <a:gd name="T38" fmla="*/ 1 w 192"/>
                    <a:gd name="T39" fmla="*/ 1 h 240"/>
                    <a:gd name="T40" fmla="*/ 1 w 192"/>
                    <a:gd name="T41" fmla="*/ 1 h 240"/>
                    <a:gd name="T42" fmla="*/ 1 w 192"/>
                    <a:gd name="T43" fmla="*/ 1 h 240"/>
                    <a:gd name="T44" fmla="*/ 1 w 192"/>
                    <a:gd name="T45" fmla="*/ 1 h 240"/>
                    <a:gd name="T46" fmla="*/ 1 w 192"/>
                    <a:gd name="T47" fmla="*/ 1 h 240"/>
                    <a:gd name="T48" fmla="*/ 1 w 192"/>
                    <a:gd name="T49" fmla="*/ 1 h 240"/>
                    <a:gd name="T50" fmla="*/ 1 w 192"/>
                    <a:gd name="T51" fmla="*/ 1 h 240"/>
                    <a:gd name="T52" fmla="*/ 1 w 192"/>
                    <a:gd name="T53" fmla="*/ 1 h 240"/>
                    <a:gd name="T54" fmla="*/ 1 w 192"/>
                    <a:gd name="T55" fmla="*/ 1 h 240"/>
                    <a:gd name="T56" fmla="*/ 1 w 192"/>
                    <a:gd name="T57" fmla="*/ 1 h 240"/>
                    <a:gd name="T58" fmla="*/ 1 w 192"/>
                    <a:gd name="T59" fmla="*/ 1 h 240"/>
                    <a:gd name="T60" fmla="*/ 1 w 192"/>
                    <a:gd name="T61" fmla="*/ 1 h 240"/>
                    <a:gd name="T62" fmla="*/ 1 w 192"/>
                    <a:gd name="T63" fmla="*/ 0 h 240"/>
                    <a:gd name="T64" fmla="*/ 1 w 192"/>
                    <a:gd name="T65" fmla="*/ 0 h 240"/>
                    <a:gd name="T66" fmla="*/ 1 w 192"/>
                    <a:gd name="T67" fmla="*/ 0 h 240"/>
                    <a:gd name="T68" fmla="*/ 1 w 192"/>
                    <a:gd name="T69" fmla="*/ 1 h 240"/>
                    <a:gd name="T70" fmla="*/ 1 w 192"/>
                    <a:gd name="T71" fmla="*/ 1 h 240"/>
                    <a:gd name="T72" fmla="*/ 1 w 192"/>
                    <a:gd name="T73" fmla="*/ 1 h 240"/>
                    <a:gd name="T74" fmla="*/ 1 w 192"/>
                    <a:gd name="T75" fmla="*/ 1 h 240"/>
                    <a:gd name="T76" fmla="*/ 1 w 192"/>
                    <a:gd name="T77" fmla="*/ 1 h 240"/>
                    <a:gd name="T78" fmla="*/ 1 w 192"/>
                    <a:gd name="T79" fmla="*/ 1 h 240"/>
                    <a:gd name="T80" fmla="*/ 1 w 192"/>
                    <a:gd name="T81" fmla="*/ 1 h 240"/>
                    <a:gd name="T82" fmla="*/ 1 w 192"/>
                    <a:gd name="T83" fmla="*/ 1 h 240"/>
                    <a:gd name="T84" fmla="*/ 1 w 192"/>
                    <a:gd name="T85" fmla="*/ 1 h 240"/>
                    <a:gd name="T86" fmla="*/ 1 w 192"/>
                    <a:gd name="T87" fmla="*/ 1 h 240"/>
                    <a:gd name="T88" fmla="*/ 1 w 192"/>
                    <a:gd name="T89" fmla="*/ 1 h 240"/>
                    <a:gd name="T90" fmla="*/ 0 w 192"/>
                    <a:gd name="T91" fmla="*/ 1 h 240"/>
                    <a:gd name="T92" fmla="*/ 1 w 192"/>
                    <a:gd name="T93" fmla="*/ 1 h 240"/>
                    <a:gd name="T94" fmla="*/ 0 w 192"/>
                    <a:gd name="T95" fmla="*/ 1 h 240"/>
                    <a:gd name="T96" fmla="*/ 0 w 192"/>
                    <a:gd name="T97" fmla="*/ 1 h 240"/>
                    <a:gd name="T98" fmla="*/ 0 w 192"/>
                    <a:gd name="T99" fmla="*/ 1 h 240"/>
                    <a:gd name="T100" fmla="*/ 1 w 192"/>
                    <a:gd name="T101" fmla="*/ 1 h 240"/>
                    <a:gd name="T102" fmla="*/ 1 w 192"/>
                    <a:gd name="T103" fmla="*/ 1 h 240"/>
                    <a:gd name="T104" fmla="*/ 1 w 192"/>
                    <a:gd name="T105" fmla="*/ 1 h 240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192"/>
                    <a:gd name="T160" fmla="*/ 0 h 240"/>
                    <a:gd name="T161" fmla="*/ 192 w 192"/>
                    <a:gd name="T162" fmla="*/ 240 h 240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192" h="240">
                      <a:moveTo>
                        <a:pt x="16" y="176"/>
                      </a:moveTo>
                      <a:lnTo>
                        <a:pt x="32" y="176"/>
                      </a:lnTo>
                      <a:lnTo>
                        <a:pt x="48" y="184"/>
                      </a:lnTo>
                      <a:lnTo>
                        <a:pt x="40" y="208"/>
                      </a:lnTo>
                      <a:lnTo>
                        <a:pt x="32" y="240"/>
                      </a:lnTo>
                      <a:lnTo>
                        <a:pt x="40" y="232"/>
                      </a:lnTo>
                      <a:lnTo>
                        <a:pt x="56" y="224"/>
                      </a:lnTo>
                      <a:lnTo>
                        <a:pt x="64" y="240"/>
                      </a:lnTo>
                      <a:lnTo>
                        <a:pt x="80" y="240"/>
                      </a:lnTo>
                      <a:lnTo>
                        <a:pt x="96" y="240"/>
                      </a:lnTo>
                      <a:lnTo>
                        <a:pt x="120" y="240"/>
                      </a:lnTo>
                      <a:lnTo>
                        <a:pt x="128" y="232"/>
                      </a:lnTo>
                      <a:lnTo>
                        <a:pt x="144" y="232"/>
                      </a:lnTo>
                      <a:lnTo>
                        <a:pt x="152" y="224"/>
                      </a:lnTo>
                      <a:lnTo>
                        <a:pt x="152" y="216"/>
                      </a:lnTo>
                      <a:lnTo>
                        <a:pt x="160" y="208"/>
                      </a:lnTo>
                      <a:lnTo>
                        <a:pt x="160" y="192"/>
                      </a:lnTo>
                      <a:lnTo>
                        <a:pt x="136" y="176"/>
                      </a:lnTo>
                      <a:lnTo>
                        <a:pt x="128" y="152"/>
                      </a:lnTo>
                      <a:lnTo>
                        <a:pt x="160" y="136"/>
                      </a:lnTo>
                      <a:lnTo>
                        <a:pt x="168" y="128"/>
                      </a:lnTo>
                      <a:lnTo>
                        <a:pt x="192" y="120"/>
                      </a:lnTo>
                      <a:lnTo>
                        <a:pt x="168" y="72"/>
                      </a:lnTo>
                      <a:lnTo>
                        <a:pt x="176" y="48"/>
                      </a:lnTo>
                      <a:lnTo>
                        <a:pt x="168" y="32"/>
                      </a:lnTo>
                      <a:lnTo>
                        <a:pt x="160" y="16"/>
                      </a:lnTo>
                      <a:lnTo>
                        <a:pt x="152" y="8"/>
                      </a:lnTo>
                      <a:lnTo>
                        <a:pt x="128" y="8"/>
                      </a:lnTo>
                      <a:lnTo>
                        <a:pt x="120" y="16"/>
                      </a:lnTo>
                      <a:lnTo>
                        <a:pt x="104" y="16"/>
                      </a:lnTo>
                      <a:lnTo>
                        <a:pt x="88" y="16"/>
                      </a:lnTo>
                      <a:lnTo>
                        <a:pt x="80" y="0"/>
                      </a:lnTo>
                      <a:lnTo>
                        <a:pt x="64" y="0"/>
                      </a:lnTo>
                      <a:lnTo>
                        <a:pt x="56" y="0"/>
                      </a:lnTo>
                      <a:lnTo>
                        <a:pt x="64" y="16"/>
                      </a:lnTo>
                      <a:lnTo>
                        <a:pt x="56" y="32"/>
                      </a:lnTo>
                      <a:lnTo>
                        <a:pt x="48" y="40"/>
                      </a:lnTo>
                      <a:lnTo>
                        <a:pt x="40" y="40"/>
                      </a:lnTo>
                      <a:lnTo>
                        <a:pt x="32" y="40"/>
                      </a:lnTo>
                      <a:lnTo>
                        <a:pt x="24" y="48"/>
                      </a:lnTo>
                      <a:lnTo>
                        <a:pt x="24" y="56"/>
                      </a:lnTo>
                      <a:lnTo>
                        <a:pt x="16" y="64"/>
                      </a:lnTo>
                      <a:lnTo>
                        <a:pt x="24" y="72"/>
                      </a:lnTo>
                      <a:lnTo>
                        <a:pt x="24" y="88"/>
                      </a:lnTo>
                      <a:lnTo>
                        <a:pt x="8" y="96"/>
                      </a:lnTo>
                      <a:lnTo>
                        <a:pt x="0" y="104"/>
                      </a:lnTo>
                      <a:lnTo>
                        <a:pt x="8" y="112"/>
                      </a:lnTo>
                      <a:lnTo>
                        <a:pt x="0" y="120"/>
                      </a:lnTo>
                      <a:lnTo>
                        <a:pt x="0" y="128"/>
                      </a:lnTo>
                      <a:lnTo>
                        <a:pt x="0" y="136"/>
                      </a:lnTo>
                      <a:lnTo>
                        <a:pt x="8" y="152"/>
                      </a:lnTo>
                      <a:lnTo>
                        <a:pt x="8" y="160"/>
                      </a:lnTo>
                      <a:lnTo>
                        <a:pt x="16" y="17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68" name="Freeform 238"/>
                <p:cNvSpPr>
                  <a:spLocks noChangeAspect="1"/>
                </p:cNvSpPr>
                <p:nvPr/>
              </p:nvSpPr>
              <p:spPr bwMode="auto">
                <a:xfrm>
                  <a:off x="2806" y="1986"/>
                  <a:ext cx="56" cy="62"/>
                </a:xfrm>
                <a:custGeom>
                  <a:avLst/>
                  <a:gdLst>
                    <a:gd name="T0" fmla="*/ 1 w 80"/>
                    <a:gd name="T1" fmla="*/ 1 h 88"/>
                    <a:gd name="T2" fmla="*/ 1 w 80"/>
                    <a:gd name="T3" fmla="*/ 1 h 88"/>
                    <a:gd name="T4" fmla="*/ 1 w 80"/>
                    <a:gd name="T5" fmla="*/ 1 h 88"/>
                    <a:gd name="T6" fmla="*/ 1 w 80"/>
                    <a:gd name="T7" fmla="*/ 1 h 88"/>
                    <a:gd name="T8" fmla="*/ 1 w 80"/>
                    <a:gd name="T9" fmla="*/ 1 h 88"/>
                    <a:gd name="T10" fmla="*/ 1 w 80"/>
                    <a:gd name="T11" fmla="*/ 1 h 88"/>
                    <a:gd name="T12" fmla="*/ 1 w 80"/>
                    <a:gd name="T13" fmla="*/ 0 h 88"/>
                    <a:gd name="T14" fmla="*/ 1 w 80"/>
                    <a:gd name="T15" fmla="*/ 0 h 88"/>
                    <a:gd name="T16" fmla="*/ 1 w 80"/>
                    <a:gd name="T17" fmla="*/ 1 h 88"/>
                    <a:gd name="T18" fmla="*/ 1 w 80"/>
                    <a:gd name="T19" fmla="*/ 1 h 88"/>
                    <a:gd name="T20" fmla="*/ 1 w 80"/>
                    <a:gd name="T21" fmla="*/ 1 h 88"/>
                    <a:gd name="T22" fmla="*/ 1 w 80"/>
                    <a:gd name="T23" fmla="*/ 1 h 88"/>
                    <a:gd name="T24" fmla="*/ 1 w 80"/>
                    <a:gd name="T25" fmla="*/ 1 h 88"/>
                    <a:gd name="T26" fmla="*/ 1 w 80"/>
                    <a:gd name="T27" fmla="*/ 1 h 88"/>
                    <a:gd name="T28" fmla="*/ 1 w 80"/>
                    <a:gd name="T29" fmla="*/ 1 h 88"/>
                    <a:gd name="T30" fmla="*/ 1 w 80"/>
                    <a:gd name="T31" fmla="*/ 1 h 88"/>
                    <a:gd name="T32" fmla="*/ 1 w 80"/>
                    <a:gd name="T33" fmla="*/ 1 h 88"/>
                    <a:gd name="T34" fmla="*/ 1 w 80"/>
                    <a:gd name="T35" fmla="*/ 1 h 88"/>
                    <a:gd name="T36" fmla="*/ 1 w 80"/>
                    <a:gd name="T37" fmla="*/ 1 h 88"/>
                    <a:gd name="T38" fmla="*/ 1 w 80"/>
                    <a:gd name="T39" fmla="*/ 1 h 88"/>
                    <a:gd name="T40" fmla="*/ 1 w 80"/>
                    <a:gd name="T41" fmla="*/ 1 h 88"/>
                    <a:gd name="T42" fmla="*/ 0 w 80"/>
                    <a:gd name="T43" fmla="*/ 1 h 88"/>
                    <a:gd name="T44" fmla="*/ 1 w 80"/>
                    <a:gd name="T45" fmla="*/ 1 h 88"/>
                    <a:gd name="T46" fmla="*/ 1 w 80"/>
                    <a:gd name="T47" fmla="*/ 1 h 88"/>
                    <a:gd name="T48" fmla="*/ 1 w 80"/>
                    <a:gd name="T49" fmla="*/ 1 h 88"/>
                    <a:gd name="T50" fmla="*/ 1 w 80"/>
                    <a:gd name="T51" fmla="*/ 1 h 88"/>
                    <a:gd name="T52" fmla="*/ 1 w 80"/>
                    <a:gd name="T53" fmla="*/ 1 h 88"/>
                    <a:gd name="T54" fmla="*/ 1 w 80"/>
                    <a:gd name="T55" fmla="*/ 1 h 88"/>
                    <a:gd name="T56" fmla="*/ 1 w 80"/>
                    <a:gd name="T57" fmla="*/ 1 h 88"/>
                    <a:gd name="T58" fmla="*/ 1 w 80"/>
                    <a:gd name="T59" fmla="*/ 1 h 88"/>
                    <a:gd name="T60" fmla="*/ 1 w 80"/>
                    <a:gd name="T61" fmla="*/ 1 h 88"/>
                    <a:gd name="T62" fmla="*/ 1 w 80"/>
                    <a:gd name="T63" fmla="*/ 1 h 88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80"/>
                    <a:gd name="T97" fmla="*/ 0 h 88"/>
                    <a:gd name="T98" fmla="*/ 80 w 80"/>
                    <a:gd name="T99" fmla="*/ 88 h 88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80" h="88">
                      <a:moveTo>
                        <a:pt x="56" y="56"/>
                      </a:moveTo>
                      <a:lnTo>
                        <a:pt x="64" y="48"/>
                      </a:lnTo>
                      <a:lnTo>
                        <a:pt x="80" y="40"/>
                      </a:lnTo>
                      <a:lnTo>
                        <a:pt x="80" y="24"/>
                      </a:lnTo>
                      <a:lnTo>
                        <a:pt x="72" y="16"/>
                      </a:lnTo>
                      <a:lnTo>
                        <a:pt x="80" y="8"/>
                      </a:lnTo>
                      <a:lnTo>
                        <a:pt x="80" y="0"/>
                      </a:lnTo>
                      <a:lnTo>
                        <a:pt x="56" y="0"/>
                      </a:lnTo>
                      <a:lnTo>
                        <a:pt x="48" y="8"/>
                      </a:lnTo>
                      <a:lnTo>
                        <a:pt x="48" y="16"/>
                      </a:lnTo>
                      <a:lnTo>
                        <a:pt x="56" y="24"/>
                      </a:lnTo>
                      <a:lnTo>
                        <a:pt x="48" y="32"/>
                      </a:lnTo>
                      <a:lnTo>
                        <a:pt x="40" y="32"/>
                      </a:lnTo>
                      <a:lnTo>
                        <a:pt x="40" y="24"/>
                      </a:lnTo>
                      <a:lnTo>
                        <a:pt x="40" y="16"/>
                      </a:lnTo>
                      <a:lnTo>
                        <a:pt x="32" y="16"/>
                      </a:lnTo>
                      <a:lnTo>
                        <a:pt x="24" y="40"/>
                      </a:lnTo>
                      <a:lnTo>
                        <a:pt x="16" y="48"/>
                      </a:lnTo>
                      <a:lnTo>
                        <a:pt x="16" y="56"/>
                      </a:lnTo>
                      <a:lnTo>
                        <a:pt x="16" y="64"/>
                      </a:lnTo>
                      <a:lnTo>
                        <a:pt x="8" y="64"/>
                      </a:lnTo>
                      <a:lnTo>
                        <a:pt x="0" y="72"/>
                      </a:lnTo>
                      <a:lnTo>
                        <a:pt x="8" y="72"/>
                      </a:lnTo>
                      <a:lnTo>
                        <a:pt x="16" y="72"/>
                      </a:lnTo>
                      <a:lnTo>
                        <a:pt x="32" y="64"/>
                      </a:lnTo>
                      <a:lnTo>
                        <a:pt x="48" y="64"/>
                      </a:lnTo>
                      <a:lnTo>
                        <a:pt x="48" y="80"/>
                      </a:lnTo>
                      <a:lnTo>
                        <a:pt x="56" y="88"/>
                      </a:lnTo>
                      <a:lnTo>
                        <a:pt x="56" y="80"/>
                      </a:lnTo>
                      <a:lnTo>
                        <a:pt x="56" y="72"/>
                      </a:lnTo>
                      <a:lnTo>
                        <a:pt x="64" y="64"/>
                      </a:lnTo>
                      <a:lnTo>
                        <a:pt x="56" y="5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69" name="Freeform 239"/>
                <p:cNvSpPr>
                  <a:spLocks noChangeAspect="1"/>
                </p:cNvSpPr>
                <p:nvPr/>
              </p:nvSpPr>
              <p:spPr bwMode="auto">
                <a:xfrm>
                  <a:off x="2795" y="2031"/>
                  <a:ext cx="56" cy="45"/>
                </a:xfrm>
                <a:custGeom>
                  <a:avLst/>
                  <a:gdLst>
                    <a:gd name="T0" fmla="*/ 1 w 80"/>
                    <a:gd name="T1" fmla="*/ 1 h 64"/>
                    <a:gd name="T2" fmla="*/ 1 w 80"/>
                    <a:gd name="T3" fmla="*/ 1 h 64"/>
                    <a:gd name="T4" fmla="*/ 1 w 80"/>
                    <a:gd name="T5" fmla="*/ 1 h 64"/>
                    <a:gd name="T6" fmla="*/ 1 w 80"/>
                    <a:gd name="T7" fmla="*/ 1 h 64"/>
                    <a:gd name="T8" fmla="*/ 1 w 80"/>
                    <a:gd name="T9" fmla="*/ 1 h 64"/>
                    <a:gd name="T10" fmla="*/ 1 w 80"/>
                    <a:gd name="T11" fmla="*/ 1 h 64"/>
                    <a:gd name="T12" fmla="*/ 1 w 80"/>
                    <a:gd name="T13" fmla="*/ 1 h 64"/>
                    <a:gd name="T14" fmla="*/ 1 w 80"/>
                    <a:gd name="T15" fmla="*/ 1 h 64"/>
                    <a:gd name="T16" fmla="*/ 0 w 80"/>
                    <a:gd name="T17" fmla="*/ 1 h 64"/>
                    <a:gd name="T18" fmla="*/ 1 w 80"/>
                    <a:gd name="T19" fmla="*/ 1 h 64"/>
                    <a:gd name="T20" fmla="*/ 1 w 80"/>
                    <a:gd name="T21" fmla="*/ 1 h 64"/>
                    <a:gd name="T22" fmla="*/ 1 w 80"/>
                    <a:gd name="T23" fmla="*/ 1 h 64"/>
                    <a:gd name="T24" fmla="*/ 1 w 80"/>
                    <a:gd name="T25" fmla="*/ 1 h 64"/>
                    <a:gd name="T26" fmla="*/ 1 w 80"/>
                    <a:gd name="T27" fmla="*/ 0 h 64"/>
                    <a:gd name="T28" fmla="*/ 1 w 80"/>
                    <a:gd name="T29" fmla="*/ 0 h 64"/>
                    <a:gd name="T30" fmla="*/ 1 w 80"/>
                    <a:gd name="T31" fmla="*/ 1 h 64"/>
                    <a:gd name="T32" fmla="*/ 1 w 80"/>
                    <a:gd name="T33" fmla="*/ 1 h 64"/>
                    <a:gd name="T34" fmla="*/ 1 w 80"/>
                    <a:gd name="T35" fmla="*/ 1 h 64"/>
                    <a:gd name="T36" fmla="*/ 1 w 80"/>
                    <a:gd name="T37" fmla="*/ 1 h 64"/>
                    <a:gd name="T38" fmla="*/ 1 w 80"/>
                    <a:gd name="T39" fmla="*/ 1 h 64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80"/>
                    <a:gd name="T61" fmla="*/ 0 h 64"/>
                    <a:gd name="T62" fmla="*/ 80 w 80"/>
                    <a:gd name="T63" fmla="*/ 64 h 64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80" h="64">
                      <a:moveTo>
                        <a:pt x="80" y="40"/>
                      </a:moveTo>
                      <a:lnTo>
                        <a:pt x="72" y="40"/>
                      </a:lnTo>
                      <a:lnTo>
                        <a:pt x="72" y="48"/>
                      </a:lnTo>
                      <a:lnTo>
                        <a:pt x="72" y="64"/>
                      </a:lnTo>
                      <a:lnTo>
                        <a:pt x="56" y="48"/>
                      </a:lnTo>
                      <a:lnTo>
                        <a:pt x="48" y="48"/>
                      </a:lnTo>
                      <a:lnTo>
                        <a:pt x="32" y="40"/>
                      </a:lnTo>
                      <a:lnTo>
                        <a:pt x="16" y="32"/>
                      </a:lnTo>
                      <a:lnTo>
                        <a:pt x="0" y="16"/>
                      </a:lnTo>
                      <a:lnTo>
                        <a:pt x="8" y="8"/>
                      </a:lnTo>
                      <a:lnTo>
                        <a:pt x="16" y="8"/>
                      </a:lnTo>
                      <a:lnTo>
                        <a:pt x="24" y="8"/>
                      </a:lnTo>
                      <a:lnTo>
                        <a:pt x="32" y="8"/>
                      </a:lnTo>
                      <a:lnTo>
                        <a:pt x="48" y="0"/>
                      </a:lnTo>
                      <a:lnTo>
                        <a:pt x="64" y="0"/>
                      </a:lnTo>
                      <a:lnTo>
                        <a:pt x="64" y="16"/>
                      </a:lnTo>
                      <a:lnTo>
                        <a:pt x="72" y="24"/>
                      </a:lnTo>
                      <a:lnTo>
                        <a:pt x="72" y="16"/>
                      </a:lnTo>
                      <a:lnTo>
                        <a:pt x="72" y="24"/>
                      </a:lnTo>
                      <a:lnTo>
                        <a:pt x="80" y="4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70" name="Freeform 240"/>
                <p:cNvSpPr>
                  <a:spLocks noChangeAspect="1"/>
                </p:cNvSpPr>
                <p:nvPr/>
              </p:nvSpPr>
              <p:spPr bwMode="auto">
                <a:xfrm>
                  <a:off x="3132" y="2228"/>
                  <a:ext cx="40" cy="34"/>
                </a:xfrm>
                <a:custGeom>
                  <a:avLst/>
                  <a:gdLst>
                    <a:gd name="T0" fmla="*/ 1 w 56"/>
                    <a:gd name="T1" fmla="*/ 0 h 48"/>
                    <a:gd name="T2" fmla="*/ 1 w 56"/>
                    <a:gd name="T3" fmla="*/ 0 h 48"/>
                    <a:gd name="T4" fmla="*/ 1 w 56"/>
                    <a:gd name="T5" fmla="*/ 0 h 48"/>
                    <a:gd name="T6" fmla="*/ 1 w 56"/>
                    <a:gd name="T7" fmla="*/ 1 h 48"/>
                    <a:gd name="T8" fmla="*/ 1 w 56"/>
                    <a:gd name="T9" fmla="*/ 1 h 48"/>
                    <a:gd name="T10" fmla="*/ 1 w 56"/>
                    <a:gd name="T11" fmla="*/ 1 h 48"/>
                    <a:gd name="T12" fmla="*/ 1 w 56"/>
                    <a:gd name="T13" fmla="*/ 1 h 48"/>
                    <a:gd name="T14" fmla="*/ 1 w 56"/>
                    <a:gd name="T15" fmla="*/ 1 h 48"/>
                    <a:gd name="T16" fmla="*/ 1 w 56"/>
                    <a:gd name="T17" fmla="*/ 1 h 48"/>
                    <a:gd name="T18" fmla="*/ 1 w 56"/>
                    <a:gd name="T19" fmla="*/ 1 h 48"/>
                    <a:gd name="T20" fmla="*/ 0 w 56"/>
                    <a:gd name="T21" fmla="*/ 1 h 48"/>
                    <a:gd name="T22" fmla="*/ 1 w 56"/>
                    <a:gd name="T23" fmla="*/ 1 h 48"/>
                    <a:gd name="T24" fmla="*/ 1 w 56"/>
                    <a:gd name="T25" fmla="*/ 1 h 48"/>
                    <a:gd name="T26" fmla="*/ 1 w 56"/>
                    <a:gd name="T27" fmla="*/ 0 h 48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56"/>
                    <a:gd name="T43" fmla="*/ 0 h 48"/>
                    <a:gd name="T44" fmla="*/ 56 w 56"/>
                    <a:gd name="T45" fmla="*/ 48 h 48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56" h="48">
                      <a:moveTo>
                        <a:pt x="8" y="0"/>
                      </a:moveTo>
                      <a:lnTo>
                        <a:pt x="24" y="0"/>
                      </a:lnTo>
                      <a:lnTo>
                        <a:pt x="32" y="0"/>
                      </a:lnTo>
                      <a:lnTo>
                        <a:pt x="56" y="24"/>
                      </a:lnTo>
                      <a:lnTo>
                        <a:pt x="56" y="32"/>
                      </a:lnTo>
                      <a:lnTo>
                        <a:pt x="48" y="32"/>
                      </a:lnTo>
                      <a:lnTo>
                        <a:pt x="32" y="32"/>
                      </a:lnTo>
                      <a:lnTo>
                        <a:pt x="16" y="40"/>
                      </a:lnTo>
                      <a:lnTo>
                        <a:pt x="8" y="48"/>
                      </a:lnTo>
                      <a:lnTo>
                        <a:pt x="8" y="40"/>
                      </a:lnTo>
                      <a:lnTo>
                        <a:pt x="0" y="32"/>
                      </a:lnTo>
                      <a:lnTo>
                        <a:pt x="16" y="24"/>
                      </a:lnTo>
                      <a:lnTo>
                        <a:pt x="16" y="16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71" name="Freeform 241"/>
                <p:cNvSpPr>
                  <a:spLocks noChangeAspect="1"/>
                </p:cNvSpPr>
                <p:nvPr/>
              </p:nvSpPr>
              <p:spPr bwMode="auto">
                <a:xfrm>
                  <a:off x="3093" y="1913"/>
                  <a:ext cx="129" cy="118"/>
                </a:xfrm>
                <a:custGeom>
                  <a:avLst/>
                  <a:gdLst>
                    <a:gd name="T0" fmla="*/ 1 w 184"/>
                    <a:gd name="T1" fmla="*/ 1 h 168"/>
                    <a:gd name="T2" fmla="*/ 1 w 184"/>
                    <a:gd name="T3" fmla="*/ 1 h 168"/>
                    <a:gd name="T4" fmla="*/ 1 w 184"/>
                    <a:gd name="T5" fmla="*/ 1 h 168"/>
                    <a:gd name="T6" fmla="*/ 1 w 184"/>
                    <a:gd name="T7" fmla="*/ 1 h 168"/>
                    <a:gd name="T8" fmla="*/ 1 w 184"/>
                    <a:gd name="T9" fmla="*/ 1 h 168"/>
                    <a:gd name="T10" fmla="*/ 1 w 184"/>
                    <a:gd name="T11" fmla="*/ 1 h 168"/>
                    <a:gd name="T12" fmla="*/ 1 w 184"/>
                    <a:gd name="T13" fmla="*/ 1 h 168"/>
                    <a:gd name="T14" fmla="*/ 1 w 184"/>
                    <a:gd name="T15" fmla="*/ 1 h 168"/>
                    <a:gd name="T16" fmla="*/ 1 w 184"/>
                    <a:gd name="T17" fmla="*/ 1 h 168"/>
                    <a:gd name="T18" fmla="*/ 1 w 184"/>
                    <a:gd name="T19" fmla="*/ 1 h 168"/>
                    <a:gd name="T20" fmla="*/ 1 w 184"/>
                    <a:gd name="T21" fmla="*/ 1 h 168"/>
                    <a:gd name="T22" fmla="*/ 1 w 184"/>
                    <a:gd name="T23" fmla="*/ 1 h 168"/>
                    <a:gd name="T24" fmla="*/ 0 w 184"/>
                    <a:gd name="T25" fmla="*/ 1 h 168"/>
                    <a:gd name="T26" fmla="*/ 1 w 184"/>
                    <a:gd name="T27" fmla="*/ 1 h 168"/>
                    <a:gd name="T28" fmla="*/ 1 w 184"/>
                    <a:gd name="T29" fmla="*/ 1 h 168"/>
                    <a:gd name="T30" fmla="*/ 1 w 184"/>
                    <a:gd name="T31" fmla="*/ 1 h 168"/>
                    <a:gd name="T32" fmla="*/ 1 w 184"/>
                    <a:gd name="T33" fmla="*/ 1 h 168"/>
                    <a:gd name="T34" fmla="*/ 1 w 184"/>
                    <a:gd name="T35" fmla="*/ 1 h 168"/>
                    <a:gd name="T36" fmla="*/ 1 w 184"/>
                    <a:gd name="T37" fmla="*/ 1 h 168"/>
                    <a:gd name="T38" fmla="*/ 1 w 184"/>
                    <a:gd name="T39" fmla="*/ 1 h 168"/>
                    <a:gd name="T40" fmla="*/ 1 w 184"/>
                    <a:gd name="T41" fmla="*/ 1 h 168"/>
                    <a:gd name="T42" fmla="*/ 1 w 184"/>
                    <a:gd name="T43" fmla="*/ 1 h 168"/>
                    <a:gd name="T44" fmla="*/ 1 w 184"/>
                    <a:gd name="T45" fmla="*/ 1 h 168"/>
                    <a:gd name="T46" fmla="*/ 1 w 184"/>
                    <a:gd name="T47" fmla="*/ 0 h 168"/>
                    <a:gd name="T48" fmla="*/ 1 w 184"/>
                    <a:gd name="T49" fmla="*/ 1 h 168"/>
                    <a:gd name="T50" fmla="*/ 1 w 184"/>
                    <a:gd name="T51" fmla="*/ 1 h 168"/>
                    <a:gd name="T52" fmla="*/ 1 w 184"/>
                    <a:gd name="T53" fmla="*/ 1 h 168"/>
                    <a:gd name="T54" fmla="*/ 1 w 184"/>
                    <a:gd name="T55" fmla="*/ 1 h 168"/>
                    <a:gd name="T56" fmla="*/ 1 w 184"/>
                    <a:gd name="T57" fmla="*/ 1 h 168"/>
                    <a:gd name="T58" fmla="*/ 1 w 184"/>
                    <a:gd name="T59" fmla="*/ 1 h 168"/>
                    <a:gd name="T60" fmla="*/ 1 w 184"/>
                    <a:gd name="T61" fmla="*/ 1 h 168"/>
                    <a:gd name="T62" fmla="*/ 1 w 184"/>
                    <a:gd name="T63" fmla="*/ 1 h 168"/>
                    <a:gd name="T64" fmla="*/ 1 w 184"/>
                    <a:gd name="T65" fmla="*/ 1 h 168"/>
                    <a:gd name="T66" fmla="*/ 1 w 184"/>
                    <a:gd name="T67" fmla="*/ 1 h 168"/>
                    <a:gd name="T68" fmla="*/ 1 w 184"/>
                    <a:gd name="T69" fmla="*/ 1 h 168"/>
                    <a:gd name="T70" fmla="*/ 1 w 184"/>
                    <a:gd name="T71" fmla="*/ 1 h 168"/>
                    <a:gd name="T72" fmla="*/ 1 w 184"/>
                    <a:gd name="T73" fmla="*/ 1 h 168"/>
                    <a:gd name="T74" fmla="*/ 1 w 184"/>
                    <a:gd name="T75" fmla="*/ 1 h 168"/>
                    <a:gd name="T76" fmla="*/ 1 w 184"/>
                    <a:gd name="T77" fmla="*/ 1 h 168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184"/>
                    <a:gd name="T118" fmla="*/ 0 h 168"/>
                    <a:gd name="T119" fmla="*/ 184 w 184"/>
                    <a:gd name="T120" fmla="*/ 168 h 168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184" h="168">
                      <a:moveTo>
                        <a:pt x="168" y="144"/>
                      </a:moveTo>
                      <a:lnTo>
                        <a:pt x="152" y="144"/>
                      </a:lnTo>
                      <a:lnTo>
                        <a:pt x="144" y="160"/>
                      </a:lnTo>
                      <a:lnTo>
                        <a:pt x="136" y="160"/>
                      </a:lnTo>
                      <a:lnTo>
                        <a:pt x="104" y="152"/>
                      </a:lnTo>
                      <a:lnTo>
                        <a:pt x="96" y="152"/>
                      </a:lnTo>
                      <a:lnTo>
                        <a:pt x="80" y="152"/>
                      </a:lnTo>
                      <a:lnTo>
                        <a:pt x="72" y="152"/>
                      </a:lnTo>
                      <a:lnTo>
                        <a:pt x="56" y="144"/>
                      </a:lnTo>
                      <a:lnTo>
                        <a:pt x="40" y="144"/>
                      </a:lnTo>
                      <a:lnTo>
                        <a:pt x="24" y="168"/>
                      </a:lnTo>
                      <a:lnTo>
                        <a:pt x="16" y="152"/>
                      </a:lnTo>
                      <a:lnTo>
                        <a:pt x="0" y="136"/>
                      </a:lnTo>
                      <a:lnTo>
                        <a:pt x="16" y="120"/>
                      </a:lnTo>
                      <a:lnTo>
                        <a:pt x="8" y="96"/>
                      </a:lnTo>
                      <a:lnTo>
                        <a:pt x="8" y="72"/>
                      </a:lnTo>
                      <a:lnTo>
                        <a:pt x="24" y="80"/>
                      </a:lnTo>
                      <a:lnTo>
                        <a:pt x="32" y="72"/>
                      </a:lnTo>
                      <a:lnTo>
                        <a:pt x="32" y="64"/>
                      </a:lnTo>
                      <a:lnTo>
                        <a:pt x="48" y="56"/>
                      </a:lnTo>
                      <a:lnTo>
                        <a:pt x="56" y="40"/>
                      </a:lnTo>
                      <a:lnTo>
                        <a:pt x="72" y="24"/>
                      </a:lnTo>
                      <a:lnTo>
                        <a:pt x="80" y="24"/>
                      </a:lnTo>
                      <a:lnTo>
                        <a:pt x="96" y="0"/>
                      </a:lnTo>
                      <a:lnTo>
                        <a:pt x="112" y="8"/>
                      </a:lnTo>
                      <a:lnTo>
                        <a:pt x="120" y="16"/>
                      </a:lnTo>
                      <a:lnTo>
                        <a:pt x="128" y="16"/>
                      </a:lnTo>
                      <a:lnTo>
                        <a:pt x="144" y="16"/>
                      </a:lnTo>
                      <a:lnTo>
                        <a:pt x="152" y="24"/>
                      </a:lnTo>
                      <a:lnTo>
                        <a:pt x="152" y="56"/>
                      </a:lnTo>
                      <a:lnTo>
                        <a:pt x="168" y="80"/>
                      </a:lnTo>
                      <a:lnTo>
                        <a:pt x="184" y="96"/>
                      </a:lnTo>
                      <a:lnTo>
                        <a:pt x="184" y="112"/>
                      </a:lnTo>
                      <a:lnTo>
                        <a:pt x="176" y="112"/>
                      </a:lnTo>
                      <a:lnTo>
                        <a:pt x="168" y="104"/>
                      </a:lnTo>
                      <a:lnTo>
                        <a:pt x="152" y="104"/>
                      </a:lnTo>
                      <a:lnTo>
                        <a:pt x="160" y="120"/>
                      </a:lnTo>
                      <a:lnTo>
                        <a:pt x="168" y="128"/>
                      </a:lnTo>
                      <a:lnTo>
                        <a:pt x="168" y="144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72" name="Freeform 242"/>
                <p:cNvSpPr>
                  <a:spLocks noChangeAspect="1"/>
                </p:cNvSpPr>
                <p:nvPr/>
              </p:nvSpPr>
              <p:spPr bwMode="auto">
                <a:xfrm>
                  <a:off x="2963" y="1947"/>
                  <a:ext cx="147" cy="135"/>
                </a:xfrm>
                <a:custGeom>
                  <a:avLst/>
                  <a:gdLst>
                    <a:gd name="T0" fmla="*/ 0 w 208"/>
                    <a:gd name="T1" fmla="*/ 1 h 192"/>
                    <a:gd name="T2" fmla="*/ 1 w 208"/>
                    <a:gd name="T3" fmla="*/ 1 h 192"/>
                    <a:gd name="T4" fmla="*/ 1 w 208"/>
                    <a:gd name="T5" fmla="*/ 1 h 192"/>
                    <a:gd name="T6" fmla="*/ 1 w 208"/>
                    <a:gd name="T7" fmla="*/ 1 h 192"/>
                    <a:gd name="T8" fmla="*/ 1 w 208"/>
                    <a:gd name="T9" fmla="*/ 1 h 192"/>
                    <a:gd name="T10" fmla="*/ 1 w 208"/>
                    <a:gd name="T11" fmla="*/ 0 h 192"/>
                    <a:gd name="T12" fmla="*/ 1 w 208"/>
                    <a:gd name="T13" fmla="*/ 1 h 192"/>
                    <a:gd name="T14" fmla="*/ 1 w 208"/>
                    <a:gd name="T15" fmla="*/ 1 h 192"/>
                    <a:gd name="T16" fmla="*/ 1 w 208"/>
                    <a:gd name="T17" fmla="*/ 1 h 192"/>
                    <a:gd name="T18" fmla="*/ 1 w 208"/>
                    <a:gd name="T19" fmla="*/ 1 h 192"/>
                    <a:gd name="T20" fmla="*/ 1 w 208"/>
                    <a:gd name="T21" fmla="*/ 1 h 192"/>
                    <a:gd name="T22" fmla="*/ 1 w 208"/>
                    <a:gd name="T23" fmla="*/ 1 h 192"/>
                    <a:gd name="T24" fmla="*/ 1 w 208"/>
                    <a:gd name="T25" fmla="*/ 1 h 192"/>
                    <a:gd name="T26" fmla="*/ 1 w 208"/>
                    <a:gd name="T27" fmla="*/ 1 h 192"/>
                    <a:gd name="T28" fmla="*/ 1 w 208"/>
                    <a:gd name="T29" fmla="*/ 1 h 192"/>
                    <a:gd name="T30" fmla="*/ 1 w 208"/>
                    <a:gd name="T31" fmla="*/ 1 h 192"/>
                    <a:gd name="T32" fmla="*/ 1 w 208"/>
                    <a:gd name="T33" fmla="*/ 1 h 192"/>
                    <a:gd name="T34" fmla="*/ 1 w 208"/>
                    <a:gd name="T35" fmla="*/ 1 h 192"/>
                    <a:gd name="T36" fmla="*/ 1 w 208"/>
                    <a:gd name="T37" fmla="*/ 1 h 192"/>
                    <a:gd name="T38" fmla="*/ 1 w 208"/>
                    <a:gd name="T39" fmla="*/ 1 h 192"/>
                    <a:gd name="T40" fmla="*/ 1 w 208"/>
                    <a:gd name="T41" fmla="*/ 1 h 192"/>
                    <a:gd name="T42" fmla="*/ 1 w 208"/>
                    <a:gd name="T43" fmla="*/ 1 h 192"/>
                    <a:gd name="T44" fmla="*/ 1 w 208"/>
                    <a:gd name="T45" fmla="*/ 1 h 192"/>
                    <a:gd name="T46" fmla="*/ 1 w 208"/>
                    <a:gd name="T47" fmla="*/ 1 h 192"/>
                    <a:gd name="T48" fmla="*/ 1 w 208"/>
                    <a:gd name="T49" fmla="*/ 1 h 192"/>
                    <a:gd name="T50" fmla="*/ 1 w 208"/>
                    <a:gd name="T51" fmla="*/ 1 h 192"/>
                    <a:gd name="T52" fmla="*/ 1 w 208"/>
                    <a:gd name="T53" fmla="*/ 1 h 192"/>
                    <a:gd name="T54" fmla="*/ 1 w 208"/>
                    <a:gd name="T55" fmla="*/ 1 h 192"/>
                    <a:gd name="T56" fmla="*/ 1 w 208"/>
                    <a:gd name="T57" fmla="*/ 1 h 192"/>
                    <a:gd name="T58" fmla="*/ 1 w 208"/>
                    <a:gd name="T59" fmla="*/ 1 h 192"/>
                    <a:gd name="T60" fmla="*/ 1 w 208"/>
                    <a:gd name="T61" fmla="*/ 1 h 192"/>
                    <a:gd name="T62" fmla="*/ 1 w 208"/>
                    <a:gd name="T63" fmla="*/ 1 h 192"/>
                    <a:gd name="T64" fmla="*/ 0 w 208"/>
                    <a:gd name="T65" fmla="*/ 1 h 192"/>
                    <a:gd name="T66" fmla="*/ 1 w 208"/>
                    <a:gd name="T67" fmla="*/ 1 h 192"/>
                    <a:gd name="T68" fmla="*/ 0 w 208"/>
                    <a:gd name="T69" fmla="*/ 1 h 192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208"/>
                    <a:gd name="T106" fmla="*/ 0 h 192"/>
                    <a:gd name="T107" fmla="*/ 208 w 208"/>
                    <a:gd name="T108" fmla="*/ 192 h 192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208" h="192">
                      <a:moveTo>
                        <a:pt x="0" y="40"/>
                      </a:moveTo>
                      <a:lnTo>
                        <a:pt x="16" y="32"/>
                      </a:lnTo>
                      <a:lnTo>
                        <a:pt x="32" y="24"/>
                      </a:lnTo>
                      <a:lnTo>
                        <a:pt x="48" y="16"/>
                      </a:lnTo>
                      <a:lnTo>
                        <a:pt x="64" y="8"/>
                      </a:lnTo>
                      <a:lnTo>
                        <a:pt x="72" y="0"/>
                      </a:lnTo>
                      <a:lnTo>
                        <a:pt x="88" y="8"/>
                      </a:lnTo>
                      <a:lnTo>
                        <a:pt x="88" y="24"/>
                      </a:lnTo>
                      <a:lnTo>
                        <a:pt x="104" y="24"/>
                      </a:lnTo>
                      <a:lnTo>
                        <a:pt x="120" y="16"/>
                      </a:lnTo>
                      <a:lnTo>
                        <a:pt x="128" y="16"/>
                      </a:lnTo>
                      <a:lnTo>
                        <a:pt x="152" y="24"/>
                      </a:lnTo>
                      <a:lnTo>
                        <a:pt x="176" y="16"/>
                      </a:lnTo>
                      <a:lnTo>
                        <a:pt x="184" y="16"/>
                      </a:lnTo>
                      <a:lnTo>
                        <a:pt x="192" y="24"/>
                      </a:lnTo>
                      <a:lnTo>
                        <a:pt x="192" y="48"/>
                      </a:lnTo>
                      <a:lnTo>
                        <a:pt x="200" y="72"/>
                      </a:lnTo>
                      <a:lnTo>
                        <a:pt x="184" y="88"/>
                      </a:lnTo>
                      <a:lnTo>
                        <a:pt x="200" y="104"/>
                      </a:lnTo>
                      <a:lnTo>
                        <a:pt x="208" y="120"/>
                      </a:lnTo>
                      <a:lnTo>
                        <a:pt x="208" y="144"/>
                      </a:lnTo>
                      <a:lnTo>
                        <a:pt x="176" y="176"/>
                      </a:lnTo>
                      <a:lnTo>
                        <a:pt x="184" y="184"/>
                      </a:lnTo>
                      <a:lnTo>
                        <a:pt x="168" y="192"/>
                      </a:lnTo>
                      <a:lnTo>
                        <a:pt x="160" y="184"/>
                      </a:lnTo>
                      <a:lnTo>
                        <a:pt x="120" y="184"/>
                      </a:lnTo>
                      <a:lnTo>
                        <a:pt x="104" y="176"/>
                      </a:lnTo>
                      <a:lnTo>
                        <a:pt x="88" y="176"/>
                      </a:lnTo>
                      <a:lnTo>
                        <a:pt x="56" y="152"/>
                      </a:lnTo>
                      <a:lnTo>
                        <a:pt x="48" y="152"/>
                      </a:lnTo>
                      <a:lnTo>
                        <a:pt x="32" y="136"/>
                      </a:lnTo>
                      <a:lnTo>
                        <a:pt x="24" y="128"/>
                      </a:lnTo>
                      <a:lnTo>
                        <a:pt x="0" y="80"/>
                      </a:lnTo>
                      <a:lnTo>
                        <a:pt x="8" y="56"/>
                      </a:lnTo>
                      <a:lnTo>
                        <a:pt x="0" y="4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73" name="Freeform 243"/>
                <p:cNvSpPr>
                  <a:spLocks noChangeAspect="1"/>
                </p:cNvSpPr>
                <p:nvPr/>
              </p:nvSpPr>
              <p:spPr bwMode="auto">
                <a:xfrm>
                  <a:off x="3008" y="2070"/>
                  <a:ext cx="74" cy="34"/>
                </a:xfrm>
                <a:custGeom>
                  <a:avLst/>
                  <a:gdLst>
                    <a:gd name="T0" fmla="*/ 1 w 104"/>
                    <a:gd name="T1" fmla="*/ 1 h 48"/>
                    <a:gd name="T2" fmla="*/ 1 w 104"/>
                    <a:gd name="T3" fmla="*/ 1 h 48"/>
                    <a:gd name="T4" fmla="*/ 1 w 104"/>
                    <a:gd name="T5" fmla="*/ 1 h 48"/>
                    <a:gd name="T6" fmla="*/ 1 w 104"/>
                    <a:gd name="T7" fmla="*/ 0 h 48"/>
                    <a:gd name="T8" fmla="*/ 1 w 104"/>
                    <a:gd name="T9" fmla="*/ 1 h 48"/>
                    <a:gd name="T10" fmla="*/ 1 w 104"/>
                    <a:gd name="T11" fmla="*/ 1 h 48"/>
                    <a:gd name="T12" fmla="*/ 1 w 104"/>
                    <a:gd name="T13" fmla="*/ 1 h 48"/>
                    <a:gd name="T14" fmla="*/ 0 w 104"/>
                    <a:gd name="T15" fmla="*/ 1 h 48"/>
                    <a:gd name="T16" fmla="*/ 0 w 104"/>
                    <a:gd name="T17" fmla="*/ 1 h 48"/>
                    <a:gd name="T18" fmla="*/ 1 w 104"/>
                    <a:gd name="T19" fmla="*/ 1 h 48"/>
                    <a:gd name="T20" fmla="*/ 1 w 104"/>
                    <a:gd name="T21" fmla="*/ 1 h 48"/>
                    <a:gd name="T22" fmla="*/ 1 w 104"/>
                    <a:gd name="T23" fmla="*/ 1 h 48"/>
                    <a:gd name="T24" fmla="*/ 1 w 104"/>
                    <a:gd name="T25" fmla="*/ 1 h 48"/>
                    <a:gd name="T26" fmla="*/ 1 w 104"/>
                    <a:gd name="T27" fmla="*/ 1 h 48"/>
                    <a:gd name="T28" fmla="*/ 1 w 104"/>
                    <a:gd name="T29" fmla="*/ 1 h 48"/>
                    <a:gd name="T30" fmla="*/ 1 w 104"/>
                    <a:gd name="T31" fmla="*/ 1 h 48"/>
                    <a:gd name="T32" fmla="*/ 1 w 104"/>
                    <a:gd name="T33" fmla="*/ 1 h 48"/>
                    <a:gd name="T34" fmla="*/ 1 w 104"/>
                    <a:gd name="T35" fmla="*/ 1 h 48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04"/>
                    <a:gd name="T55" fmla="*/ 0 h 48"/>
                    <a:gd name="T56" fmla="*/ 104 w 104"/>
                    <a:gd name="T57" fmla="*/ 48 h 48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04" h="48">
                      <a:moveTo>
                        <a:pt x="104" y="16"/>
                      </a:moveTo>
                      <a:lnTo>
                        <a:pt x="96" y="8"/>
                      </a:lnTo>
                      <a:lnTo>
                        <a:pt x="56" y="8"/>
                      </a:lnTo>
                      <a:lnTo>
                        <a:pt x="40" y="0"/>
                      </a:lnTo>
                      <a:lnTo>
                        <a:pt x="32" y="16"/>
                      </a:lnTo>
                      <a:lnTo>
                        <a:pt x="24" y="16"/>
                      </a:lnTo>
                      <a:lnTo>
                        <a:pt x="16" y="24"/>
                      </a:lnTo>
                      <a:lnTo>
                        <a:pt x="0" y="32"/>
                      </a:lnTo>
                      <a:lnTo>
                        <a:pt x="0" y="48"/>
                      </a:lnTo>
                      <a:lnTo>
                        <a:pt x="8" y="48"/>
                      </a:lnTo>
                      <a:lnTo>
                        <a:pt x="16" y="48"/>
                      </a:lnTo>
                      <a:lnTo>
                        <a:pt x="32" y="48"/>
                      </a:lnTo>
                      <a:lnTo>
                        <a:pt x="48" y="48"/>
                      </a:lnTo>
                      <a:lnTo>
                        <a:pt x="64" y="32"/>
                      </a:lnTo>
                      <a:lnTo>
                        <a:pt x="88" y="32"/>
                      </a:lnTo>
                      <a:lnTo>
                        <a:pt x="96" y="32"/>
                      </a:lnTo>
                      <a:lnTo>
                        <a:pt x="104" y="32"/>
                      </a:lnTo>
                      <a:lnTo>
                        <a:pt x="104" y="1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74" name="Freeform 244"/>
                <p:cNvSpPr>
                  <a:spLocks noChangeAspect="1"/>
                </p:cNvSpPr>
                <p:nvPr/>
              </p:nvSpPr>
              <p:spPr bwMode="auto">
                <a:xfrm>
                  <a:off x="2997" y="2093"/>
                  <a:ext cx="96" cy="62"/>
                </a:xfrm>
                <a:custGeom>
                  <a:avLst/>
                  <a:gdLst>
                    <a:gd name="T0" fmla="*/ 1 w 136"/>
                    <a:gd name="T1" fmla="*/ 0 h 88"/>
                    <a:gd name="T2" fmla="*/ 1 w 136"/>
                    <a:gd name="T3" fmla="*/ 0 h 88"/>
                    <a:gd name="T4" fmla="*/ 1 w 136"/>
                    <a:gd name="T5" fmla="*/ 0 h 88"/>
                    <a:gd name="T6" fmla="*/ 1 w 136"/>
                    <a:gd name="T7" fmla="*/ 0 h 88"/>
                    <a:gd name="T8" fmla="*/ 1 w 136"/>
                    <a:gd name="T9" fmla="*/ 1 h 88"/>
                    <a:gd name="T10" fmla="*/ 1 w 136"/>
                    <a:gd name="T11" fmla="*/ 1 h 88"/>
                    <a:gd name="T12" fmla="*/ 1 w 136"/>
                    <a:gd name="T13" fmla="*/ 1 h 88"/>
                    <a:gd name="T14" fmla="*/ 1 w 136"/>
                    <a:gd name="T15" fmla="*/ 1 h 88"/>
                    <a:gd name="T16" fmla="*/ 1 w 136"/>
                    <a:gd name="T17" fmla="*/ 1 h 88"/>
                    <a:gd name="T18" fmla="*/ 1 w 136"/>
                    <a:gd name="T19" fmla="*/ 1 h 88"/>
                    <a:gd name="T20" fmla="*/ 1 w 136"/>
                    <a:gd name="T21" fmla="*/ 1 h 88"/>
                    <a:gd name="T22" fmla="*/ 0 w 136"/>
                    <a:gd name="T23" fmla="*/ 1 h 88"/>
                    <a:gd name="T24" fmla="*/ 0 w 136"/>
                    <a:gd name="T25" fmla="*/ 1 h 88"/>
                    <a:gd name="T26" fmla="*/ 0 w 136"/>
                    <a:gd name="T27" fmla="*/ 1 h 88"/>
                    <a:gd name="T28" fmla="*/ 1 w 136"/>
                    <a:gd name="T29" fmla="*/ 1 h 88"/>
                    <a:gd name="T30" fmla="*/ 1 w 136"/>
                    <a:gd name="T31" fmla="*/ 1 h 88"/>
                    <a:gd name="T32" fmla="*/ 1 w 136"/>
                    <a:gd name="T33" fmla="*/ 1 h 88"/>
                    <a:gd name="T34" fmla="*/ 1 w 136"/>
                    <a:gd name="T35" fmla="*/ 1 h 88"/>
                    <a:gd name="T36" fmla="*/ 1 w 136"/>
                    <a:gd name="T37" fmla="*/ 1 h 88"/>
                    <a:gd name="T38" fmla="*/ 1 w 136"/>
                    <a:gd name="T39" fmla="*/ 1 h 88"/>
                    <a:gd name="T40" fmla="*/ 1 w 136"/>
                    <a:gd name="T41" fmla="*/ 1 h 88"/>
                    <a:gd name="T42" fmla="*/ 1 w 136"/>
                    <a:gd name="T43" fmla="*/ 1 h 88"/>
                    <a:gd name="T44" fmla="*/ 1 w 136"/>
                    <a:gd name="T45" fmla="*/ 1 h 88"/>
                    <a:gd name="T46" fmla="*/ 1 w 136"/>
                    <a:gd name="T47" fmla="*/ 1 h 88"/>
                    <a:gd name="T48" fmla="*/ 1 w 136"/>
                    <a:gd name="T49" fmla="*/ 0 h 88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36"/>
                    <a:gd name="T76" fmla="*/ 0 h 88"/>
                    <a:gd name="T77" fmla="*/ 136 w 136"/>
                    <a:gd name="T78" fmla="*/ 88 h 88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36" h="88">
                      <a:moveTo>
                        <a:pt x="120" y="0"/>
                      </a:moveTo>
                      <a:lnTo>
                        <a:pt x="112" y="0"/>
                      </a:lnTo>
                      <a:lnTo>
                        <a:pt x="104" y="0"/>
                      </a:lnTo>
                      <a:lnTo>
                        <a:pt x="80" y="0"/>
                      </a:lnTo>
                      <a:lnTo>
                        <a:pt x="64" y="16"/>
                      </a:lnTo>
                      <a:lnTo>
                        <a:pt x="48" y="16"/>
                      </a:lnTo>
                      <a:lnTo>
                        <a:pt x="32" y="16"/>
                      </a:lnTo>
                      <a:lnTo>
                        <a:pt x="24" y="16"/>
                      </a:lnTo>
                      <a:lnTo>
                        <a:pt x="16" y="16"/>
                      </a:lnTo>
                      <a:lnTo>
                        <a:pt x="8" y="16"/>
                      </a:lnTo>
                      <a:lnTo>
                        <a:pt x="8" y="24"/>
                      </a:lnTo>
                      <a:lnTo>
                        <a:pt x="0" y="32"/>
                      </a:lnTo>
                      <a:lnTo>
                        <a:pt x="0" y="48"/>
                      </a:lnTo>
                      <a:lnTo>
                        <a:pt x="0" y="56"/>
                      </a:lnTo>
                      <a:lnTo>
                        <a:pt x="8" y="64"/>
                      </a:lnTo>
                      <a:lnTo>
                        <a:pt x="24" y="80"/>
                      </a:lnTo>
                      <a:lnTo>
                        <a:pt x="48" y="88"/>
                      </a:lnTo>
                      <a:lnTo>
                        <a:pt x="56" y="80"/>
                      </a:lnTo>
                      <a:lnTo>
                        <a:pt x="72" y="72"/>
                      </a:lnTo>
                      <a:lnTo>
                        <a:pt x="80" y="72"/>
                      </a:lnTo>
                      <a:lnTo>
                        <a:pt x="96" y="72"/>
                      </a:lnTo>
                      <a:lnTo>
                        <a:pt x="104" y="48"/>
                      </a:lnTo>
                      <a:lnTo>
                        <a:pt x="120" y="24"/>
                      </a:lnTo>
                      <a:lnTo>
                        <a:pt x="136" y="16"/>
                      </a:lnTo>
                      <a:lnTo>
                        <a:pt x="120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75" name="Freeform 245"/>
                <p:cNvSpPr>
                  <a:spLocks noChangeAspect="1"/>
                </p:cNvSpPr>
                <p:nvPr/>
              </p:nvSpPr>
              <p:spPr bwMode="auto">
                <a:xfrm>
                  <a:off x="2935" y="2037"/>
                  <a:ext cx="102" cy="67"/>
                </a:xfrm>
                <a:custGeom>
                  <a:avLst/>
                  <a:gdLst>
                    <a:gd name="T0" fmla="*/ 1 w 144"/>
                    <a:gd name="T1" fmla="*/ 1 h 96"/>
                    <a:gd name="T2" fmla="*/ 1 w 144"/>
                    <a:gd name="T3" fmla="*/ 1 h 96"/>
                    <a:gd name="T4" fmla="*/ 1 w 144"/>
                    <a:gd name="T5" fmla="*/ 1 h 96"/>
                    <a:gd name="T6" fmla="*/ 1 w 144"/>
                    <a:gd name="T7" fmla="*/ 1 h 96"/>
                    <a:gd name="T8" fmla="*/ 1 w 144"/>
                    <a:gd name="T9" fmla="*/ 1 h 96"/>
                    <a:gd name="T10" fmla="*/ 1 w 144"/>
                    <a:gd name="T11" fmla="*/ 1 h 96"/>
                    <a:gd name="T12" fmla="*/ 1 w 144"/>
                    <a:gd name="T13" fmla="*/ 1 h 96"/>
                    <a:gd name="T14" fmla="*/ 0 w 144"/>
                    <a:gd name="T15" fmla="*/ 1 h 96"/>
                    <a:gd name="T16" fmla="*/ 1 w 144"/>
                    <a:gd name="T17" fmla="*/ 1 h 96"/>
                    <a:gd name="T18" fmla="*/ 1 w 144"/>
                    <a:gd name="T19" fmla="*/ 1 h 96"/>
                    <a:gd name="T20" fmla="*/ 1 w 144"/>
                    <a:gd name="T21" fmla="*/ 0 h 96"/>
                    <a:gd name="T22" fmla="*/ 1 w 144"/>
                    <a:gd name="T23" fmla="*/ 1 h 96"/>
                    <a:gd name="T24" fmla="*/ 1 w 144"/>
                    <a:gd name="T25" fmla="*/ 1 h 96"/>
                    <a:gd name="T26" fmla="*/ 1 w 144"/>
                    <a:gd name="T27" fmla="*/ 1 h 96"/>
                    <a:gd name="T28" fmla="*/ 1 w 144"/>
                    <a:gd name="T29" fmla="*/ 1 h 96"/>
                    <a:gd name="T30" fmla="*/ 1 w 144"/>
                    <a:gd name="T31" fmla="*/ 1 h 96"/>
                    <a:gd name="T32" fmla="*/ 1 w 144"/>
                    <a:gd name="T33" fmla="*/ 1 h 96"/>
                    <a:gd name="T34" fmla="*/ 1 w 144"/>
                    <a:gd name="T35" fmla="*/ 1 h 96"/>
                    <a:gd name="T36" fmla="*/ 1 w 144"/>
                    <a:gd name="T37" fmla="*/ 1 h 96"/>
                    <a:gd name="T38" fmla="*/ 1 w 144"/>
                    <a:gd name="T39" fmla="*/ 1 h 96"/>
                    <a:gd name="T40" fmla="*/ 1 w 144"/>
                    <a:gd name="T41" fmla="*/ 1 h 9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44"/>
                    <a:gd name="T64" fmla="*/ 0 h 96"/>
                    <a:gd name="T65" fmla="*/ 144 w 144"/>
                    <a:gd name="T66" fmla="*/ 96 h 96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44" h="96">
                      <a:moveTo>
                        <a:pt x="104" y="96"/>
                      </a:moveTo>
                      <a:lnTo>
                        <a:pt x="96" y="96"/>
                      </a:lnTo>
                      <a:lnTo>
                        <a:pt x="88" y="88"/>
                      </a:lnTo>
                      <a:lnTo>
                        <a:pt x="80" y="80"/>
                      </a:lnTo>
                      <a:lnTo>
                        <a:pt x="64" y="72"/>
                      </a:lnTo>
                      <a:lnTo>
                        <a:pt x="32" y="72"/>
                      </a:lnTo>
                      <a:lnTo>
                        <a:pt x="8" y="56"/>
                      </a:lnTo>
                      <a:lnTo>
                        <a:pt x="0" y="32"/>
                      </a:lnTo>
                      <a:lnTo>
                        <a:pt x="32" y="16"/>
                      </a:lnTo>
                      <a:lnTo>
                        <a:pt x="40" y="8"/>
                      </a:lnTo>
                      <a:lnTo>
                        <a:pt x="64" y="0"/>
                      </a:lnTo>
                      <a:lnTo>
                        <a:pt x="72" y="8"/>
                      </a:lnTo>
                      <a:lnTo>
                        <a:pt x="88" y="24"/>
                      </a:lnTo>
                      <a:lnTo>
                        <a:pt x="96" y="24"/>
                      </a:lnTo>
                      <a:lnTo>
                        <a:pt x="128" y="48"/>
                      </a:lnTo>
                      <a:lnTo>
                        <a:pt x="144" y="48"/>
                      </a:lnTo>
                      <a:lnTo>
                        <a:pt x="136" y="64"/>
                      </a:lnTo>
                      <a:lnTo>
                        <a:pt x="128" y="64"/>
                      </a:lnTo>
                      <a:lnTo>
                        <a:pt x="120" y="72"/>
                      </a:lnTo>
                      <a:lnTo>
                        <a:pt x="104" y="80"/>
                      </a:lnTo>
                      <a:lnTo>
                        <a:pt x="104" y="9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76" name="Freeform 246"/>
                <p:cNvSpPr>
                  <a:spLocks noChangeAspect="1"/>
                </p:cNvSpPr>
                <p:nvPr/>
              </p:nvSpPr>
              <p:spPr bwMode="auto">
                <a:xfrm>
                  <a:off x="2958" y="2132"/>
                  <a:ext cx="39" cy="23"/>
                </a:xfrm>
                <a:custGeom>
                  <a:avLst/>
                  <a:gdLst>
                    <a:gd name="T0" fmla="*/ 1 w 56"/>
                    <a:gd name="T1" fmla="*/ 0 h 32"/>
                    <a:gd name="T2" fmla="*/ 1 w 56"/>
                    <a:gd name="T3" fmla="*/ 1 h 32"/>
                    <a:gd name="T4" fmla="*/ 1 w 56"/>
                    <a:gd name="T5" fmla="*/ 1 h 32"/>
                    <a:gd name="T6" fmla="*/ 1 w 56"/>
                    <a:gd name="T7" fmla="*/ 1 h 32"/>
                    <a:gd name="T8" fmla="*/ 1 w 56"/>
                    <a:gd name="T9" fmla="*/ 1 h 32"/>
                    <a:gd name="T10" fmla="*/ 1 w 56"/>
                    <a:gd name="T11" fmla="*/ 1 h 32"/>
                    <a:gd name="T12" fmla="*/ 0 w 56"/>
                    <a:gd name="T13" fmla="*/ 1 h 32"/>
                    <a:gd name="T14" fmla="*/ 0 w 56"/>
                    <a:gd name="T15" fmla="*/ 1 h 32"/>
                    <a:gd name="T16" fmla="*/ 1 w 56"/>
                    <a:gd name="T17" fmla="*/ 1 h 32"/>
                    <a:gd name="T18" fmla="*/ 1 w 56"/>
                    <a:gd name="T19" fmla="*/ 0 h 32"/>
                    <a:gd name="T20" fmla="*/ 1 w 56"/>
                    <a:gd name="T21" fmla="*/ 0 h 32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56"/>
                    <a:gd name="T34" fmla="*/ 0 h 32"/>
                    <a:gd name="T35" fmla="*/ 56 w 56"/>
                    <a:gd name="T36" fmla="*/ 32 h 32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56" h="32">
                      <a:moveTo>
                        <a:pt x="56" y="0"/>
                      </a:moveTo>
                      <a:lnTo>
                        <a:pt x="48" y="8"/>
                      </a:lnTo>
                      <a:lnTo>
                        <a:pt x="48" y="16"/>
                      </a:lnTo>
                      <a:lnTo>
                        <a:pt x="40" y="32"/>
                      </a:lnTo>
                      <a:lnTo>
                        <a:pt x="8" y="32"/>
                      </a:lnTo>
                      <a:lnTo>
                        <a:pt x="8" y="24"/>
                      </a:lnTo>
                      <a:lnTo>
                        <a:pt x="0" y="16"/>
                      </a:lnTo>
                      <a:lnTo>
                        <a:pt x="0" y="8"/>
                      </a:lnTo>
                      <a:lnTo>
                        <a:pt x="16" y="16"/>
                      </a:lnTo>
                      <a:lnTo>
                        <a:pt x="32" y="0"/>
                      </a:lnTo>
                      <a:lnTo>
                        <a:pt x="56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77" name="Freeform 247"/>
                <p:cNvSpPr>
                  <a:spLocks noChangeAspect="1"/>
                </p:cNvSpPr>
                <p:nvPr/>
              </p:nvSpPr>
              <p:spPr bwMode="auto">
                <a:xfrm>
                  <a:off x="3025" y="2144"/>
                  <a:ext cx="68" cy="84"/>
                </a:xfrm>
                <a:custGeom>
                  <a:avLst/>
                  <a:gdLst>
                    <a:gd name="T0" fmla="*/ 1 w 96"/>
                    <a:gd name="T1" fmla="*/ 0 h 120"/>
                    <a:gd name="T2" fmla="*/ 1 w 96"/>
                    <a:gd name="T3" fmla="*/ 0 h 120"/>
                    <a:gd name="T4" fmla="*/ 1 w 96"/>
                    <a:gd name="T5" fmla="*/ 1 h 120"/>
                    <a:gd name="T6" fmla="*/ 1 w 96"/>
                    <a:gd name="T7" fmla="*/ 1 h 120"/>
                    <a:gd name="T8" fmla="*/ 1 w 96"/>
                    <a:gd name="T9" fmla="*/ 1 h 120"/>
                    <a:gd name="T10" fmla="*/ 1 w 96"/>
                    <a:gd name="T11" fmla="*/ 1 h 120"/>
                    <a:gd name="T12" fmla="*/ 1 w 96"/>
                    <a:gd name="T13" fmla="*/ 1 h 120"/>
                    <a:gd name="T14" fmla="*/ 1 w 96"/>
                    <a:gd name="T15" fmla="*/ 1 h 120"/>
                    <a:gd name="T16" fmla="*/ 0 w 96"/>
                    <a:gd name="T17" fmla="*/ 1 h 120"/>
                    <a:gd name="T18" fmla="*/ 0 w 96"/>
                    <a:gd name="T19" fmla="*/ 1 h 120"/>
                    <a:gd name="T20" fmla="*/ 1 w 96"/>
                    <a:gd name="T21" fmla="*/ 1 h 120"/>
                    <a:gd name="T22" fmla="*/ 1 w 96"/>
                    <a:gd name="T23" fmla="*/ 1 h 120"/>
                    <a:gd name="T24" fmla="*/ 1 w 96"/>
                    <a:gd name="T25" fmla="*/ 1 h 120"/>
                    <a:gd name="T26" fmla="*/ 1 w 96"/>
                    <a:gd name="T27" fmla="*/ 1 h 120"/>
                    <a:gd name="T28" fmla="*/ 1 w 96"/>
                    <a:gd name="T29" fmla="*/ 1 h 120"/>
                    <a:gd name="T30" fmla="*/ 1 w 96"/>
                    <a:gd name="T31" fmla="*/ 1 h 120"/>
                    <a:gd name="T32" fmla="*/ 1 w 96"/>
                    <a:gd name="T33" fmla="*/ 1 h 120"/>
                    <a:gd name="T34" fmla="*/ 1 w 96"/>
                    <a:gd name="T35" fmla="*/ 1 h 120"/>
                    <a:gd name="T36" fmla="*/ 1 w 96"/>
                    <a:gd name="T37" fmla="*/ 1 h 120"/>
                    <a:gd name="T38" fmla="*/ 1 w 96"/>
                    <a:gd name="T39" fmla="*/ 1 h 120"/>
                    <a:gd name="T40" fmla="*/ 1 w 96"/>
                    <a:gd name="T41" fmla="*/ 1 h 120"/>
                    <a:gd name="T42" fmla="*/ 1 w 96"/>
                    <a:gd name="T43" fmla="*/ 1 h 120"/>
                    <a:gd name="T44" fmla="*/ 1 w 96"/>
                    <a:gd name="T45" fmla="*/ 1 h 120"/>
                    <a:gd name="T46" fmla="*/ 1 w 96"/>
                    <a:gd name="T47" fmla="*/ 0 h 120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96"/>
                    <a:gd name="T73" fmla="*/ 0 h 120"/>
                    <a:gd name="T74" fmla="*/ 96 w 96"/>
                    <a:gd name="T75" fmla="*/ 120 h 120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96" h="120">
                      <a:moveTo>
                        <a:pt x="40" y="0"/>
                      </a:moveTo>
                      <a:lnTo>
                        <a:pt x="32" y="0"/>
                      </a:lnTo>
                      <a:lnTo>
                        <a:pt x="16" y="8"/>
                      </a:lnTo>
                      <a:lnTo>
                        <a:pt x="8" y="16"/>
                      </a:lnTo>
                      <a:lnTo>
                        <a:pt x="16" y="32"/>
                      </a:lnTo>
                      <a:lnTo>
                        <a:pt x="16" y="48"/>
                      </a:lnTo>
                      <a:lnTo>
                        <a:pt x="24" y="72"/>
                      </a:lnTo>
                      <a:lnTo>
                        <a:pt x="8" y="96"/>
                      </a:lnTo>
                      <a:lnTo>
                        <a:pt x="0" y="104"/>
                      </a:lnTo>
                      <a:lnTo>
                        <a:pt x="0" y="112"/>
                      </a:lnTo>
                      <a:lnTo>
                        <a:pt x="16" y="120"/>
                      </a:lnTo>
                      <a:lnTo>
                        <a:pt x="24" y="112"/>
                      </a:lnTo>
                      <a:lnTo>
                        <a:pt x="32" y="104"/>
                      </a:lnTo>
                      <a:lnTo>
                        <a:pt x="40" y="104"/>
                      </a:lnTo>
                      <a:lnTo>
                        <a:pt x="48" y="120"/>
                      </a:lnTo>
                      <a:lnTo>
                        <a:pt x="64" y="112"/>
                      </a:lnTo>
                      <a:lnTo>
                        <a:pt x="88" y="104"/>
                      </a:lnTo>
                      <a:lnTo>
                        <a:pt x="96" y="88"/>
                      </a:lnTo>
                      <a:lnTo>
                        <a:pt x="88" y="72"/>
                      </a:lnTo>
                      <a:lnTo>
                        <a:pt x="96" y="56"/>
                      </a:lnTo>
                      <a:lnTo>
                        <a:pt x="80" y="48"/>
                      </a:lnTo>
                      <a:lnTo>
                        <a:pt x="56" y="40"/>
                      </a:lnTo>
                      <a:lnTo>
                        <a:pt x="48" y="16"/>
                      </a:lnTo>
                      <a:lnTo>
                        <a:pt x="40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78" name="Freeform 248"/>
                <p:cNvSpPr>
                  <a:spLocks noChangeAspect="1"/>
                </p:cNvSpPr>
                <p:nvPr/>
              </p:nvSpPr>
              <p:spPr bwMode="auto">
                <a:xfrm>
                  <a:off x="3037" y="2217"/>
                  <a:ext cx="28" cy="56"/>
                </a:xfrm>
                <a:custGeom>
                  <a:avLst/>
                  <a:gdLst>
                    <a:gd name="T0" fmla="*/ 1 w 40"/>
                    <a:gd name="T1" fmla="*/ 1 h 80"/>
                    <a:gd name="T2" fmla="*/ 1 w 40"/>
                    <a:gd name="T3" fmla="*/ 0 h 80"/>
                    <a:gd name="T4" fmla="*/ 1 w 40"/>
                    <a:gd name="T5" fmla="*/ 0 h 80"/>
                    <a:gd name="T6" fmla="*/ 1 w 40"/>
                    <a:gd name="T7" fmla="*/ 1 h 80"/>
                    <a:gd name="T8" fmla="*/ 0 w 40"/>
                    <a:gd name="T9" fmla="*/ 1 h 80"/>
                    <a:gd name="T10" fmla="*/ 1 w 40"/>
                    <a:gd name="T11" fmla="*/ 1 h 80"/>
                    <a:gd name="T12" fmla="*/ 1 w 40"/>
                    <a:gd name="T13" fmla="*/ 1 h 80"/>
                    <a:gd name="T14" fmla="*/ 1 w 40"/>
                    <a:gd name="T15" fmla="*/ 1 h 80"/>
                    <a:gd name="T16" fmla="*/ 1 w 40"/>
                    <a:gd name="T17" fmla="*/ 1 h 80"/>
                    <a:gd name="T18" fmla="*/ 1 w 40"/>
                    <a:gd name="T19" fmla="*/ 1 h 80"/>
                    <a:gd name="T20" fmla="*/ 1 w 40"/>
                    <a:gd name="T21" fmla="*/ 1 h 80"/>
                    <a:gd name="T22" fmla="*/ 1 w 40"/>
                    <a:gd name="T23" fmla="*/ 1 h 80"/>
                    <a:gd name="T24" fmla="*/ 1 w 40"/>
                    <a:gd name="T25" fmla="*/ 1 h 80"/>
                    <a:gd name="T26" fmla="*/ 1 w 40"/>
                    <a:gd name="T27" fmla="*/ 1 h 80"/>
                    <a:gd name="T28" fmla="*/ 1 w 40"/>
                    <a:gd name="T29" fmla="*/ 1 h 80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40"/>
                    <a:gd name="T46" fmla="*/ 0 h 80"/>
                    <a:gd name="T47" fmla="*/ 40 w 40"/>
                    <a:gd name="T48" fmla="*/ 80 h 80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40" h="80">
                      <a:moveTo>
                        <a:pt x="32" y="16"/>
                      </a:moveTo>
                      <a:lnTo>
                        <a:pt x="24" y="0"/>
                      </a:lnTo>
                      <a:lnTo>
                        <a:pt x="16" y="0"/>
                      </a:lnTo>
                      <a:lnTo>
                        <a:pt x="8" y="8"/>
                      </a:lnTo>
                      <a:lnTo>
                        <a:pt x="0" y="16"/>
                      </a:lnTo>
                      <a:lnTo>
                        <a:pt x="8" y="24"/>
                      </a:lnTo>
                      <a:lnTo>
                        <a:pt x="8" y="32"/>
                      </a:lnTo>
                      <a:lnTo>
                        <a:pt x="8" y="48"/>
                      </a:lnTo>
                      <a:lnTo>
                        <a:pt x="8" y="64"/>
                      </a:lnTo>
                      <a:lnTo>
                        <a:pt x="24" y="80"/>
                      </a:lnTo>
                      <a:lnTo>
                        <a:pt x="32" y="72"/>
                      </a:lnTo>
                      <a:lnTo>
                        <a:pt x="40" y="56"/>
                      </a:lnTo>
                      <a:lnTo>
                        <a:pt x="40" y="48"/>
                      </a:lnTo>
                      <a:lnTo>
                        <a:pt x="32" y="32"/>
                      </a:lnTo>
                      <a:lnTo>
                        <a:pt x="32" y="1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79" name="Freeform 249"/>
                <p:cNvSpPr>
                  <a:spLocks noChangeAspect="1"/>
                </p:cNvSpPr>
                <p:nvPr/>
              </p:nvSpPr>
              <p:spPr bwMode="auto">
                <a:xfrm>
                  <a:off x="3059" y="2217"/>
                  <a:ext cx="34" cy="34"/>
                </a:xfrm>
                <a:custGeom>
                  <a:avLst/>
                  <a:gdLst>
                    <a:gd name="T0" fmla="*/ 0 w 48"/>
                    <a:gd name="T1" fmla="*/ 1 h 48"/>
                    <a:gd name="T2" fmla="*/ 0 w 48"/>
                    <a:gd name="T3" fmla="*/ 1 h 48"/>
                    <a:gd name="T4" fmla="*/ 1 w 48"/>
                    <a:gd name="T5" fmla="*/ 1 h 48"/>
                    <a:gd name="T6" fmla="*/ 1 w 48"/>
                    <a:gd name="T7" fmla="*/ 1 h 48"/>
                    <a:gd name="T8" fmla="*/ 1 w 48"/>
                    <a:gd name="T9" fmla="*/ 1 h 48"/>
                    <a:gd name="T10" fmla="*/ 1 w 48"/>
                    <a:gd name="T11" fmla="*/ 1 h 48"/>
                    <a:gd name="T12" fmla="*/ 1 w 48"/>
                    <a:gd name="T13" fmla="*/ 1 h 48"/>
                    <a:gd name="T14" fmla="*/ 1 w 48"/>
                    <a:gd name="T15" fmla="*/ 0 h 48"/>
                    <a:gd name="T16" fmla="*/ 1 w 48"/>
                    <a:gd name="T17" fmla="*/ 1 h 48"/>
                    <a:gd name="T18" fmla="*/ 0 w 48"/>
                    <a:gd name="T19" fmla="*/ 1 h 4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48"/>
                    <a:gd name="T31" fmla="*/ 0 h 48"/>
                    <a:gd name="T32" fmla="*/ 48 w 48"/>
                    <a:gd name="T33" fmla="*/ 48 h 48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48" h="48">
                      <a:moveTo>
                        <a:pt x="0" y="16"/>
                      </a:moveTo>
                      <a:lnTo>
                        <a:pt x="0" y="32"/>
                      </a:lnTo>
                      <a:lnTo>
                        <a:pt x="8" y="48"/>
                      </a:lnTo>
                      <a:lnTo>
                        <a:pt x="32" y="48"/>
                      </a:lnTo>
                      <a:lnTo>
                        <a:pt x="40" y="32"/>
                      </a:lnTo>
                      <a:lnTo>
                        <a:pt x="48" y="32"/>
                      </a:lnTo>
                      <a:lnTo>
                        <a:pt x="48" y="16"/>
                      </a:lnTo>
                      <a:lnTo>
                        <a:pt x="40" y="0"/>
                      </a:lnTo>
                      <a:lnTo>
                        <a:pt x="16" y="8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80" name="Freeform 250"/>
                <p:cNvSpPr>
                  <a:spLocks noChangeAspect="1"/>
                </p:cNvSpPr>
                <p:nvPr/>
              </p:nvSpPr>
              <p:spPr bwMode="auto">
                <a:xfrm>
                  <a:off x="3087" y="2183"/>
                  <a:ext cx="79" cy="56"/>
                </a:xfrm>
                <a:custGeom>
                  <a:avLst/>
                  <a:gdLst>
                    <a:gd name="T0" fmla="*/ 1 w 112"/>
                    <a:gd name="T1" fmla="*/ 1 h 80"/>
                    <a:gd name="T2" fmla="*/ 1 w 112"/>
                    <a:gd name="T3" fmla="*/ 1 h 80"/>
                    <a:gd name="T4" fmla="*/ 1 w 112"/>
                    <a:gd name="T5" fmla="*/ 1 h 80"/>
                    <a:gd name="T6" fmla="*/ 1 w 112"/>
                    <a:gd name="T7" fmla="*/ 1 h 80"/>
                    <a:gd name="T8" fmla="*/ 1 w 112"/>
                    <a:gd name="T9" fmla="*/ 1 h 80"/>
                    <a:gd name="T10" fmla="*/ 1 w 112"/>
                    <a:gd name="T11" fmla="*/ 1 h 80"/>
                    <a:gd name="T12" fmla="*/ 1 w 112"/>
                    <a:gd name="T13" fmla="*/ 1 h 80"/>
                    <a:gd name="T14" fmla="*/ 1 w 112"/>
                    <a:gd name="T15" fmla="*/ 1 h 80"/>
                    <a:gd name="T16" fmla="*/ 1 w 112"/>
                    <a:gd name="T17" fmla="*/ 1 h 80"/>
                    <a:gd name="T18" fmla="*/ 1 w 112"/>
                    <a:gd name="T19" fmla="*/ 1 h 80"/>
                    <a:gd name="T20" fmla="*/ 1 w 112"/>
                    <a:gd name="T21" fmla="*/ 1 h 80"/>
                    <a:gd name="T22" fmla="*/ 1 w 112"/>
                    <a:gd name="T23" fmla="*/ 1 h 80"/>
                    <a:gd name="T24" fmla="*/ 1 w 112"/>
                    <a:gd name="T25" fmla="*/ 1 h 80"/>
                    <a:gd name="T26" fmla="*/ 1 w 112"/>
                    <a:gd name="T27" fmla="*/ 0 h 80"/>
                    <a:gd name="T28" fmla="*/ 1 w 112"/>
                    <a:gd name="T29" fmla="*/ 0 h 80"/>
                    <a:gd name="T30" fmla="*/ 1 w 112"/>
                    <a:gd name="T31" fmla="*/ 1 h 80"/>
                    <a:gd name="T32" fmla="*/ 1 w 112"/>
                    <a:gd name="T33" fmla="*/ 1 h 80"/>
                    <a:gd name="T34" fmla="*/ 1 w 112"/>
                    <a:gd name="T35" fmla="*/ 1 h 80"/>
                    <a:gd name="T36" fmla="*/ 1 w 112"/>
                    <a:gd name="T37" fmla="*/ 0 h 80"/>
                    <a:gd name="T38" fmla="*/ 0 w 112"/>
                    <a:gd name="T39" fmla="*/ 1 h 80"/>
                    <a:gd name="T40" fmla="*/ 1 w 112"/>
                    <a:gd name="T41" fmla="*/ 1 h 80"/>
                    <a:gd name="T42" fmla="*/ 0 w 112"/>
                    <a:gd name="T43" fmla="*/ 1 h 80"/>
                    <a:gd name="T44" fmla="*/ 1 w 112"/>
                    <a:gd name="T45" fmla="*/ 1 h 80"/>
                    <a:gd name="T46" fmla="*/ 1 w 112"/>
                    <a:gd name="T47" fmla="*/ 1 h 80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12"/>
                    <a:gd name="T73" fmla="*/ 0 h 80"/>
                    <a:gd name="T74" fmla="*/ 112 w 112"/>
                    <a:gd name="T75" fmla="*/ 80 h 80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12" h="80">
                      <a:moveTo>
                        <a:pt x="8" y="80"/>
                      </a:moveTo>
                      <a:lnTo>
                        <a:pt x="24" y="80"/>
                      </a:lnTo>
                      <a:lnTo>
                        <a:pt x="32" y="72"/>
                      </a:lnTo>
                      <a:lnTo>
                        <a:pt x="48" y="80"/>
                      </a:lnTo>
                      <a:lnTo>
                        <a:pt x="56" y="80"/>
                      </a:lnTo>
                      <a:lnTo>
                        <a:pt x="64" y="80"/>
                      </a:lnTo>
                      <a:lnTo>
                        <a:pt x="72" y="64"/>
                      </a:lnTo>
                      <a:lnTo>
                        <a:pt x="88" y="64"/>
                      </a:lnTo>
                      <a:lnTo>
                        <a:pt x="96" y="64"/>
                      </a:lnTo>
                      <a:lnTo>
                        <a:pt x="104" y="56"/>
                      </a:lnTo>
                      <a:lnTo>
                        <a:pt x="104" y="32"/>
                      </a:lnTo>
                      <a:lnTo>
                        <a:pt x="112" y="24"/>
                      </a:lnTo>
                      <a:lnTo>
                        <a:pt x="112" y="16"/>
                      </a:lnTo>
                      <a:lnTo>
                        <a:pt x="88" y="0"/>
                      </a:lnTo>
                      <a:lnTo>
                        <a:pt x="80" y="0"/>
                      </a:lnTo>
                      <a:lnTo>
                        <a:pt x="64" y="16"/>
                      </a:lnTo>
                      <a:lnTo>
                        <a:pt x="40" y="16"/>
                      </a:lnTo>
                      <a:lnTo>
                        <a:pt x="16" y="8"/>
                      </a:lnTo>
                      <a:lnTo>
                        <a:pt x="8" y="0"/>
                      </a:lnTo>
                      <a:lnTo>
                        <a:pt x="0" y="16"/>
                      </a:lnTo>
                      <a:lnTo>
                        <a:pt x="8" y="32"/>
                      </a:lnTo>
                      <a:lnTo>
                        <a:pt x="0" y="48"/>
                      </a:lnTo>
                      <a:lnTo>
                        <a:pt x="8" y="64"/>
                      </a:lnTo>
                      <a:lnTo>
                        <a:pt x="8" y="8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81" name="Freeform 251"/>
                <p:cNvSpPr>
                  <a:spLocks noChangeAspect="1"/>
                </p:cNvSpPr>
                <p:nvPr/>
              </p:nvSpPr>
              <p:spPr bwMode="auto">
                <a:xfrm>
                  <a:off x="3053" y="2104"/>
                  <a:ext cx="130" cy="90"/>
                </a:xfrm>
                <a:custGeom>
                  <a:avLst/>
                  <a:gdLst>
                    <a:gd name="T0" fmla="*/ 1 w 184"/>
                    <a:gd name="T1" fmla="*/ 1 h 128"/>
                    <a:gd name="T2" fmla="*/ 1 w 184"/>
                    <a:gd name="T3" fmla="*/ 1 h 128"/>
                    <a:gd name="T4" fmla="*/ 1 w 184"/>
                    <a:gd name="T5" fmla="*/ 1 h 128"/>
                    <a:gd name="T6" fmla="*/ 1 w 184"/>
                    <a:gd name="T7" fmla="*/ 1 h 128"/>
                    <a:gd name="T8" fmla="*/ 1 w 184"/>
                    <a:gd name="T9" fmla="*/ 1 h 128"/>
                    <a:gd name="T10" fmla="*/ 1 w 184"/>
                    <a:gd name="T11" fmla="*/ 1 h 128"/>
                    <a:gd name="T12" fmla="*/ 1 w 184"/>
                    <a:gd name="T13" fmla="*/ 1 h 128"/>
                    <a:gd name="T14" fmla="*/ 1 w 184"/>
                    <a:gd name="T15" fmla="*/ 1 h 128"/>
                    <a:gd name="T16" fmla="*/ 1 w 184"/>
                    <a:gd name="T17" fmla="*/ 1 h 128"/>
                    <a:gd name="T18" fmla="*/ 1 w 184"/>
                    <a:gd name="T19" fmla="*/ 1 h 128"/>
                    <a:gd name="T20" fmla="*/ 1 w 184"/>
                    <a:gd name="T21" fmla="*/ 1 h 128"/>
                    <a:gd name="T22" fmla="*/ 1 w 184"/>
                    <a:gd name="T23" fmla="*/ 1 h 128"/>
                    <a:gd name="T24" fmla="*/ 1 w 184"/>
                    <a:gd name="T25" fmla="*/ 1 h 128"/>
                    <a:gd name="T26" fmla="*/ 1 w 184"/>
                    <a:gd name="T27" fmla="*/ 1 h 128"/>
                    <a:gd name="T28" fmla="*/ 1 w 184"/>
                    <a:gd name="T29" fmla="*/ 1 h 128"/>
                    <a:gd name="T30" fmla="*/ 1 w 184"/>
                    <a:gd name="T31" fmla="*/ 0 h 128"/>
                    <a:gd name="T32" fmla="*/ 1 w 184"/>
                    <a:gd name="T33" fmla="*/ 0 h 128"/>
                    <a:gd name="T34" fmla="*/ 1 w 184"/>
                    <a:gd name="T35" fmla="*/ 1 h 128"/>
                    <a:gd name="T36" fmla="*/ 1 w 184"/>
                    <a:gd name="T37" fmla="*/ 1 h 128"/>
                    <a:gd name="T38" fmla="*/ 1 w 184"/>
                    <a:gd name="T39" fmla="*/ 0 h 128"/>
                    <a:gd name="T40" fmla="*/ 1 w 184"/>
                    <a:gd name="T41" fmla="*/ 0 h 128"/>
                    <a:gd name="T42" fmla="*/ 1 w 184"/>
                    <a:gd name="T43" fmla="*/ 1 h 128"/>
                    <a:gd name="T44" fmla="*/ 1 w 184"/>
                    <a:gd name="T45" fmla="*/ 1 h 128"/>
                    <a:gd name="T46" fmla="*/ 1 w 184"/>
                    <a:gd name="T47" fmla="*/ 1 h 128"/>
                    <a:gd name="T48" fmla="*/ 0 w 184"/>
                    <a:gd name="T49" fmla="*/ 1 h 128"/>
                    <a:gd name="T50" fmla="*/ 1 w 184"/>
                    <a:gd name="T51" fmla="*/ 1 h 128"/>
                    <a:gd name="T52" fmla="*/ 1 w 184"/>
                    <a:gd name="T53" fmla="*/ 1 h 128"/>
                    <a:gd name="T54" fmla="*/ 1 w 184"/>
                    <a:gd name="T55" fmla="*/ 1 h 128"/>
                    <a:gd name="T56" fmla="*/ 1 w 184"/>
                    <a:gd name="T57" fmla="*/ 1 h 128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84"/>
                    <a:gd name="T88" fmla="*/ 0 h 128"/>
                    <a:gd name="T89" fmla="*/ 184 w 184"/>
                    <a:gd name="T90" fmla="*/ 128 h 128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84" h="128">
                      <a:moveTo>
                        <a:pt x="56" y="112"/>
                      </a:moveTo>
                      <a:lnTo>
                        <a:pt x="64" y="120"/>
                      </a:lnTo>
                      <a:lnTo>
                        <a:pt x="88" y="128"/>
                      </a:lnTo>
                      <a:lnTo>
                        <a:pt x="112" y="128"/>
                      </a:lnTo>
                      <a:lnTo>
                        <a:pt x="128" y="112"/>
                      </a:lnTo>
                      <a:lnTo>
                        <a:pt x="136" y="112"/>
                      </a:lnTo>
                      <a:lnTo>
                        <a:pt x="160" y="128"/>
                      </a:lnTo>
                      <a:lnTo>
                        <a:pt x="168" y="104"/>
                      </a:lnTo>
                      <a:lnTo>
                        <a:pt x="184" y="88"/>
                      </a:lnTo>
                      <a:lnTo>
                        <a:pt x="184" y="80"/>
                      </a:lnTo>
                      <a:lnTo>
                        <a:pt x="176" y="80"/>
                      </a:lnTo>
                      <a:lnTo>
                        <a:pt x="160" y="72"/>
                      </a:lnTo>
                      <a:lnTo>
                        <a:pt x="160" y="64"/>
                      </a:lnTo>
                      <a:lnTo>
                        <a:pt x="160" y="56"/>
                      </a:lnTo>
                      <a:lnTo>
                        <a:pt x="144" y="24"/>
                      </a:lnTo>
                      <a:lnTo>
                        <a:pt x="136" y="0"/>
                      </a:lnTo>
                      <a:lnTo>
                        <a:pt x="120" y="0"/>
                      </a:lnTo>
                      <a:lnTo>
                        <a:pt x="112" y="8"/>
                      </a:lnTo>
                      <a:lnTo>
                        <a:pt x="88" y="8"/>
                      </a:lnTo>
                      <a:lnTo>
                        <a:pt x="72" y="0"/>
                      </a:lnTo>
                      <a:lnTo>
                        <a:pt x="56" y="0"/>
                      </a:lnTo>
                      <a:lnTo>
                        <a:pt x="40" y="8"/>
                      </a:lnTo>
                      <a:lnTo>
                        <a:pt x="24" y="32"/>
                      </a:lnTo>
                      <a:lnTo>
                        <a:pt x="16" y="56"/>
                      </a:lnTo>
                      <a:lnTo>
                        <a:pt x="0" y="56"/>
                      </a:lnTo>
                      <a:lnTo>
                        <a:pt x="8" y="72"/>
                      </a:lnTo>
                      <a:lnTo>
                        <a:pt x="16" y="96"/>
                      </a:lnTo>
                      <a:lnTo>
                        <a:pt x="40" y="104"/>
                      </a:lnTo>
                      <a:lnTo>
                        <a:pt x="56" y="112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82" name="Freeform 252"/>
                <p:cNvSpPr>
                  <a:spLocks noChangeAspect="1"/>
                </p:cNvSpPr>
                <p:nvPr/>
              </p:nvSpPr>
              <p:spPr bwMode="auto">
                <a:xfrm>
                  <a:off x="3138" y="2099"/>
                  <a:ext cx="51" cy="61"/>
                </a:xfrm>
                <a:custGeom>
                  <a:avLst/>
                  <a:gdLst>
                    <a:gd name="T0" fmla="*/ 0 w 72"/>
                    <a:gd name="T1" fmla="*/ 1 h 88"/>
                    <a:gd name="T2" fmla="*/ 1 w 72"/>
                    <a:gd name="T3" fmla="*/ 1 h 88"/>
                    <a:gd name="T4" fmla="*/ 1 w 72"/>
                    <a:gd name="T5" fmla="*/ 1 h 88"/>
                    <a:gd name="T6" fmla="*/ 1 w 72"/>
                    <a:gd name="T7" fmla="*/ 1 h 88"/>
                    <a:gd name="T8" fmla="*/ 1 w 72"/>
                    <a:gd name="T9" fmla="*/ 1 h 88"/>
                    <a:gd name="T10" fmla="*/ 1 w 72"/>
                    <a:gd name="T11" fmla="*/ 1 h 88"/>
                    <a:gd name="T12" fmla="*/ 1 w 72"/>
                    <a:gd name="T13" fmla="*/ 1 h 88"/>
                    <a:gd name="T14" fmla="*/ 1 w 72"/>
                    <a:gd name="T15" fmla="*/ 1 h 88"/>
                    <a:gd name="T16" fmla="*/ 1 w 72"/>
                    <a:gd name="T17" fmla="*/ 1 h 88"/>
                    <a:gd name="T18" fmla="*/ 1 w 72"/>
                    <a:gd name="T19" fmla="*/ 1 h 88"/>
                    <a:gd name="T20" fmla="*/ 1 w 72"/>
                    <a:gd name="T21" fmla="*/ 1 h 88"/>
                    <a:gd name="T22" fmla="*/ 1 w 72"/>
                    <a:gd name="T23" fmla="*/ 1 h 88"/>
                    <a:gd name="T24" fmla="*/ 1 w 72"/>
                    <a:gd name="T25" fmla="*/ 1 h 88"/>
                    <a:gd name="T26" fmla="*/ 1 w 72"/>
                    <a:gd name="T27" fmla="*/ 0 h 88"/>
                    <a:gd name="T28" fmla="*/ 1 w 72"/>
                    <a:gd name="T29" fmla="*/ 0 h 88"/>
                    <a:gd name="T30" fmla="*/ 0 w 72"/>
                    <a:gd name="T31" fmla="*/ 1 h 88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72"/>
                    <a:gd name="T49" fmla="*/ 0 h 88"/>
                    <a:gd name="T50" fmla="*/ 72 w 72"/>
                    <a:gd name="T51" fmla="*/ 88 h 88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72" h="88">
                      <a:moveTo>
                        <a:pt x="0" y="8"/>
                      </a:moveTo>
                      <a:lnTo>
                        <a:pt x="16" y="8"/>
                      </a:lnTo>
                      <a:lnTo>
                        <a:pt x="24" y="32"/>
                      </a:lnTo>
                      <a:lnTo>
                        <a:pt x="40" y="64"/>
                      </a:lnTo>
                      <a:lnTo>
                        <a:pt x="40" y="72"/>
                      </a:lnTo>
                      <a:lnTo>
                        <a:pt x="40" y="80"/>
                      </a:lnTo>
                      <a:lnTo>
                        <a:pt x="56" y="88"/>
                      </a:lnTo>
                      <a:lnTo>
                        <a:pt x="56" y="72"/>
                      </a:lnTo>
                      <a:lnTo>
                        <a:pt x="64" y="56"/>
                      </a:lnTo>
                      <a:lnTo>
                        <a:pt x="72" y="56"/>
                      </a:lnTo>
                      <a:lnTo>
                        <a:pt x="72" y="48"/>
                      </a:lnTo>
                      <a:lnTo>
                        <a:pt x="64" y="40"/>
                      </a:lnTo>
                      <a:lnTo>
                        <a:pt x="56" y="16"/>
                      </a:lnTo>
                      <a:lnTo>
                        <a:pt x="48" y="0"/>
                      </a:lnTo>
                      <a:lnTo>
                        <a:pt x="16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83" name="Freeform 253"/>
                <p:cNvSpPr>
                  <a:spLocks noChangeAspect="1"/>
                </p:cNvSpPr>
                <p:nvPr/>
              </p:nvSpPr>
              <p:spPr bwMode="auto">
                <a:xfrm>
                  <a:off x="3082" y="2009"/>
                  <a:ext cx="247" cy="168"/>
                </a:xfrm>
                <a:custGeom>
                  <a:avLst/>
                  <a:gdLst>
                    <a:gd name="T0" fmla="*/ 0 w 352"/>
                    <a:gd name="T1" fmla="*/ 1 h 240"/>
                    <a:gd name="T2" fmla="*/ 1 w 352"/>
                    <a:gd name="T3" fmla="*/ 1 h 240"/>
                    <a:gd name="T4" fmla="*/ 1 w 352"/>
                    <a:gd name="T5" fmla="*/ 1 h 240"/>
                    <a:gd name="T6" fmla="*/ 1 w 352"/>
                    <a:gd name="T7" fmla="*/ 1 h 240"/>
                    <a:gd name="T8" fmla="*/ 1 w 352"/>
                    <a:gd name="T9" fmla="*/ 1 h 240"/>
                    <a:gd name="T10" fmla="*/ 1 w 352"/>
                    <a:gd name="T11" fmla="*/ 1 h 240"/>
                    <a:gd name="T12" fmla="*/ 1 w 352"/>
                    <a:gd name="T13" fmla="*/ 1 h 240"/>
                    <a:gd name="T14" fmla="*/ 1 w 352"/>
                    <a:gd name="T15" fmla="*/ 1 h 240"/>
                    <a:gd name="T16" fmla="*/ 1 w 352"/>
                    <a:gd name="T17" fmla="*/ 0 h 240"/>
                    <a:gd name="T18" fmla="*/ 1 w 352"/>
                    <a:gd name="T19" fmla="*/ 1 h 240"/>
                    <a:gd name="T20" fmla="*/ 1 w 352"/>
                    <a:gd name="T21" fmla="*/ 1 h 240"/>
                    <a:gd name="T22" fmla="*/ 1 w 352"/>
                    <a:gd name="T23" fmla="*/ 1 h 240"/>
                    <a:gd name="T24" fmla="*/ 1 w 352"/>
                    <a:gd name="T25" fmla="*/ 1 h 240"/>
                    <a:gd name="T26" fmla="*/ 1 w 352"/>
                    <a:gd name="T27" fmla="*/ 1 h 240"/>
                    <a:gd name="T28" fmla="*/ 1 w 352"/>
                    <a:gd name="T29" fmla="*/ 1 h 240"/>
                    <a:gd name="T30" fmla="*/ 1 w 352"/>
                    <a:gd name="T31" fmla="*/ 1 h 240"/>
                    <a:gd name="T32" fmla="*/ 1 w 352"/>
                    <a:gd name="T33" fmla="*/ 1 h 240"/>
                    <a:gd name="T34" fmla="*/ 1 w 352"/>
                    <a:gd name="T35" fmla="*/ 1 h 240"/>
                    <a:gd name="T36" fmla="*/ 1 w 352"/>
                    <a:gd name="T37" fmla="*/ 1 h 240"/>
                    <a:gd name="T38" fmla="*/ 1 w 352"/>
                    <a:gd name="T39" fmla="*/ 1 h 240"/>
                    <a:gd name="T40" fmla="*/ 1 w 352"/>
                    <a:gd name="T41" fmla="*/ 1 h 240"/>
                    <a:gd name="T42" fmla="*/ 1 w 352"/>
                    <a:gd name="T43" fmla="*/ 1 h 240"/>
                    <a:gd name="T44" fmla="*/ 1 w 352"/>
                    <a:gd name="T45" fmla="*/ 1 h 240"/>
                    <a:gd name="T46" fmla="*/ 1 w 352"/>
                    <a:gd name="T47" fmla="*/ 1 h 240"/>
                    <a:gd name="T48" fmla="*/ 1 w 352"/>
                    <a:gd name="T49" fmla="*/ 1 h 240"/>
                    <a:gd name="T50" fmla="*/ 1 w 352"/>
                    <a:gd name="T51" fmla="*/ 1 h 240"/>
                    <a:gd name="T52" fmla="*/ 1 w 352"/>
                    <a:gd name="T53" fmla="*/ 1 h 240"/>
                    <a:gd name="T54" fmla="*/ 1 w 352"/>
                    <a:gd name="T55" fmla="*/ 1 h 240"/>
                    <a:gd name="T56" fmla="*/ 1 w 352"/>
                    <a:gd name="T57" fmla="*/ 1 h 240"/>
                    <a:gd name="T58" fmla="*/ 1 w 352"/>
                    <a:gd name="T59" fmla="*/ 1 h 240"/>
                    <a:gd name="T60" fmla="*/ 1 w 352"/>
                    <a:gd name="T61" fmla="*/ 1 h 240"/>
                    <a:gd name="T62" fmla="*/ 1 w 352"/>
                    <a:gd name="T63" fmla="*/ 1 h 240"/>
                    <a:gd name="T64" fmla="*/ 1 w 352"/>
                    <a:gd name="T65" fmla="*/ 1 h 240"/>
                    <a:gd name="T66" fmla="*/ 1 w 352"/>
                    <a:gd name="T67" fmla="*/ 1 h 240"/>
                    <a:gd name="T68" fmla="*/ 1 w 352"/>
                    <a:gd name="T69" fmla="*/ 1 h 240"/>
                    <a:gd name="T70" fmla="*/ 1 w 352"/>
                    <a:gd name="T71" fmla="*/ 1 h 240"/>
                    <a:gd name="T72" fmla="*/ 1 w 352"/>
                    <a:gd name="T73" fmla="*/ 1 h 240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352"/>
                    <a:gd name="T112" fmla="*/ 0 h 240"/>
                    <a:gd name="T113" fmla="*/ 352 w 352"/>
                    <a:gd name="T114" fmla="*/ 240 h 240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352" h="240">
                      <a:moveTo>
                        <a:pt x="16" y="136"/>
                      </a:moveTo>
                      <a:lnTo>
                        <a:pt x="0" y="120"/>
                      </a:lnTo>
                      <a:lnTo>
                        <a:pt x="0" y="104"/>
                      </a:lnTo>
                      <a:lnTo>
                        <a:pt x="16" y="96"/>
                      </a:lnTo>
                      <a:lnTo>
                        <a:pt x="8" y="88"/>
                      </a:lnTo>
                      <a:lnTo>
                        <a:pt x="40" y="56"/>
                      </a:lnTo>
                      <a:lnTo>
                        <a:pt x="40" y="32"/>
                      </a:lnTo>
                      <a:lnTo>
                        <a:pt x="56" y="8"/>
                      </a:lnTo>
                      <a:lnTo>
                        <a:pt x="72" y="8"/>
                      </a:lnTo>
                      <a:lnTo>
                        <a:pt x="88" y="16"/>
                      </a:lnTo>
                      <a:lnTo>
                        <a:pt x="96" y="16"/>
                      </a:lnTo>
                      <a:lnTo>
                        <a:pt x="112" y="16"/>
                      </a:lnTo>
                      <a:lnTo>
                        <a:pt x="120" y="16"/>
                      </a:lnTo>
                      <a:lnTo>
                        <a:pt x="152" y="24"/>
                      </a:lnTo>
                      <a:lnTo>
                        <a:pt x="160" y="24"/>
                      </a:lnTo>
                      <a:lnTo>
                        <a:pt x="168" y="8"/>
                      </a:lnTo>
                      <a:lnTo>
                        <a:pt x="184" y="8"/>
                      </a:lnTo>
                      <a:lnTo>
                        <a:pt x="200" y="0"/>
                      </a:lnTo>
                      <a:lnTo>
                        <a:pt x="232" y="0"/>
                      </a:lnTo>
                      <a:lnTo>
                        <a:pt x="240" y="32"/>
                      </a:lnTo>
                      <a:lnTo>
                        <a:pt x="256" y="40"/>
                      </a:lnTo>
                      <a:lnTo>
                        <a:pt x="256" y="48"/>
                      </a:lnTo>
                      <a:lnTo>
                        <a:pt x="264" y="64"/>
                      </a:lnTo>
                      <a:lnTo>
                        <a:pt x="296" y="56"/>
                      </a:lnTo>
                      <a:lnTo>
                        <a:pt x="312" y="72"/>
                      </a:lnTo>
                      <a:lnTo>
                        <a:pt x="328" y="72"/>
                      </a:lnTo>
                      <a:lnTo>
                        <a:pt x="336" y="80"/>
                      </a:lnTo>
                      <a:lnTo>
                        <a:pt x="352" y="96"/>
                      </a:lnTo>
                      <a:lnTo>
                        <a:pt x="344" y="112"/>
                      </a:lnTo>
                      <a:lnTo>
                        <a:pt x="344" y="136"/>
                      </a:lnTo>
                      <a:lnTo>
                        <a:pt x="336" y="136"/>
                      </a:lnTo>
                      <a:lnTo>
                        <a:pt x="320" y="152"/>
                      </a:lnTo>
                      <a:lnTo>
                        <a:pt x="304" y="176"/>
                      </a:lnTo>
                      <a:lnTo>
                        <a:pt x="288" y="176"/>
                      </a:lnTo>
                      <a:lnTo>
                        <a:pt x="280" y="184"/>
                      </a:lnTo>
                      <a:lnTo>
                        <a:pt x="256" y="184"/>
                      </a:lnTo>
                      <a:lnTo>
                        <a:pt x="256" y="192"/>
                      </a:lnTo>
                      <a:lnTo>
                        <a:pt x="232" y="200"/>
                      </a:lnTo>
                      <a:lnTo>
                        <a:pt x="248" y="208"/>
                      </a:lnTo>
                      <a:lnTo>
                        <a:pt x="256" y="216"/>
                      </a:lnTo>
                      <a:lnTo>
                        <a:pt x="272" y="216"/>
                      </a:lnTo>
                      <a:lnTo>
                        <a:pt x="280" y="216"/>
                      </a:lnTo>
                      <a:lnTo>
                        <a:pt x="280" y="224"/>
                      </a:lnTo>
                      <a:lnTo>
                        <a:pt x="264" y="224"/>
                      </a:lnTo>
                      <a:lnTo>
                        <a:pt x="256" y="232"/>
                      </a:lnTo>
                      <a:lnTo>
                        <a:pt x="240" y="240"/>
                      </a:lnTo>
                      <a:lnTo>
                        <a:pt x="224" y="240"/>
                      </a:lnTo>
                      <a:lnTo>
                        <a:pt x="224" y="232"/>
                      </a:lnTo>
                      <a:lnTo>
                        <a:pt x="224" y="224"/>
                      </a:lnTo>
                      <a:lnTo>
                        <a:pt x="208" y="216"/>
                      </a:lnTo>
                      <a:lnTo>
                        <a:pt x="208" y="208"/>
                      </a:lnTo>
                      <a:lnTo>
                        <a:pt x="224" y="200"/>
                      </a:lnTo>
                      <a:lnTo>
                        <a:pt x="216" y="192"/>
                      </a:lnTo>
                      <a:lnTo>
                        <a:pt x="200" y="192"/>
                      </a:lnTo>
                      <a:lnTo>
                        <a:pt x="192" y="192"/>
                      </a:lnTo>
                      <a:lnTo>
                        <a:pt x="184" y="184"/>
                      </a:lnTo>
                      <a:lnTo>
                        <a:pt x="176" y="184"/>
                      </a:lnTo>
                      <a:lnTo>
                        <a:pt x="160" y="192"/>
                      </a:lnTo>
                      <a:lnTo>
                        <a:pt x="160" y="200"/>
                      </a:lnTo>
                      <a:lnTo>
                        <a:pt x="144" y="216"/>
                      </a:lnTo>
                      <a:lnTo>
                        <a:pt x="136" y="216"/>
                      </a:lnTo>
                      <a:lnTo>
                        <a:pt x="136" y="200"/>
                      </a:lnTo>
                      <a:lnTo>
                        <a:pt x="144" y="184"/>
                      </a:lnTo>
                      <a:lnTo>
                        <a:pt x="152" y="184"/>
                      </a:lnTo>
                      <a:lnTo>
                        <a:pt x="152" y="176"/>
                      </a:lnTo>
                      <a:lnTo>
                        <a:pt x="144" y="168"/>
                      </a:lnTo>
                      <a:lnTo>
                        <a:pt x="136" y="144"/>
                      </a:lnTo>
                      <a:lnTo>
                        <a:pt x="128" y="128"/>
                      </a:lnTo>
                      <a:lnTo>
                        <a:pt x="96" y="128"/>
                      </a:lnTo>
                      <a:lnTo>
                        <a:pt x="80" y="136"/>
                      </a:lnTo>
                      <a:lnTo>
                        <a:pt x="72" y="144"/>
                      </a:lnTo>
                      <a:lnTo>
                        <a:pt x="48" y="144"/>
                      </a:lnTo>
                      <a:lnTo>
                        <a:pt x="32" y="136"/>
                      </a:lnTo>
                      <a:lnTo>
                        <a:pt x="16" y="13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</p:grpSp>
          <p:grpSp>
            <p:nvGrpSpPr>
              <p:cNvPr id="21" name="Group 254"/>
              <p:cNvGrpSpPr>
                <a:grpSpLocks noChangeAspect="1"/>
              </p:cNvGrpSpPr>
              <p:nvPr/>
            </p:nvGrpSpPr>
            <p:grpSpPr bwMode="auto">
              <a:xfrm>
                <a:off x="1703" y="1069"/>
                <a:ext cx="3832" cy="1283"/>
                <a:chOff x="1703" y="1069"/>
                <a:chExt cx="3832" cy="1283"/>
              </a:xfrm>
              <a:grpFill/>
            </p:grpSpPr>
            <p:sp>
              <p:nvSpPr>
                <p:cNvPr id="59" name="Freeform 255"/>
                <p:cNvSpPr>
                  <a:spLocks noChangeAspect="1"/>
                </p:cNvSpPr>
                <p:nvPr/>
              </p:nvSpPr>
              <p:spPr bwMode="auto">
                <a:xfrm>
                  <a:off x="2918" y="1924"/>
                  <a:ext cx="23" cy="23"/>
                </a:xfrm>
                <a:custGeom>
                  <a:avLst/>
                  <a:gdLst>
                    <a:gd name="T0" fmla="*/ 1 w 32"/>
                    <a:gd name="T1" fmla="*/ 0 h 32"/>
                    <a:gd name="T2" fmla="*/ 0 w 32"/>
                    <a:gd name="T3" fmla="*/ 1 h 32"/>
                    <a:gd name="T4" fmla="*/ 1 w 32"/>
                    <a:gd name="T5" fmla="*/ 1 h 32"/>
                    <a:gd name="T6" fmla="*/ 1 w 32"/>
                    <a:gd name="T7" fmla="*/ 1 h 32"/>
                    <a:gd name="T8" fmla="*/ 1 w 32"/>
                    <a:gd name="T9" fmla="*/ 1 h 32"/>
                    <a:gd name="T10" fmla="*/ 1 w 32"/>
                    <a:gd name="T11" fmla="*/ 1 h 32"/>
                    <a:gd name="T12" fmla="*/ 1 w 32"/>
                    <a:gd name="T13" fmla="*/ 1 h 32"/>
                    <a:gd name="T14" fmla="*/ 1 w 32"/>
                    <a:gd name="T15" fmla="*/ 1 h 32"/>
                    <a:gd name="T16" fmla="*/ 1 w 32"/>
                    <a:gd name="T17" fmla="*/ 1 h 32"/>
                    <a:gd name="T18" fmla="*/ 1 w 32"/>
                    <a:gd name="T19" fmla="*/ 0 h 32"/>
                    <a:gd name="T20" fmla="*/ 1 w 32"/>
                    <a:gd name="T21" fmla="*/ 0 h 32"/>
                    <a:gd name="T22" fmla="*/ 1 w 32"/>
                    <a:gd name="T23" fmla="*/ 0 h 32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32"/>
                    <a:gd name="T37" fmla="*/ 0 h 32"/>
                    <a:gd name="T38" fmla="*/ 32 w 32"/>
                    <a:gd name="T39" fmla="*/ 32 h 32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32" h="32">
                      <a:moveTo>
                        <a:pt x="8" y="0"/>
                      </a:moveTo>
                      <a:lnTo>
                        <a:pt x="0" y="8"/>
                      </a:lnTo>
                      <a:lnTo>
                        <a:pt x="8" y="16"/>
                      </a:lnTo>
                      <a:lnTo>
                        <a:pt x="8" y="24"/>
                      </a:lnTo>
                      <a:lnTo>
                        <a:pt x="16" y="24"/>
                      </a:lnTo>
                      <a:lnTo>
                        <a:pt x="16" y="32"/>
                      </a:lnTo>
                      <a:lnTo>
                        <a:pt x="24" y="24"/>
                      </a:lnTo>
                      <a:lnTo>
                        <a:pt x="32" y="16"/>
                      </a:lnTo>
                      <a:lnTo>
                        <a:pt x="24" y="8"/>
                      </a:lnTo>
                      <a:lnTo>
                        <a:pt x="32" y="0"/>
                      </a:lnTo>
                      <a:lnTo>
                        <a:pt x="16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60" name="Freeform 256"/>
                <p:cNvSpPr>
                  <a:spLocks noChangeAspect="1"/>
                </p:cNvSpPr>
                <p:nvPr/>
              </p:nvSpPr>
              <p:spPr bwMode="auto">
                <a:xfrm>
                  <a:off x="3014" y="1210"/>
                  <a:ext cx="135" cy="45"/>
                </a:xfrm>
                <a:custGeom>
                  <a:avLst/>
                  <a:gdLst>
                    <a:gd name="T0" fmla="*/ 1 w 192"/>
                    <a:gd name="T1" fmla="*/ 1 h 64"/>
                    <a:gd name="T2" fmla="*/ 1 w 192"/>
                    <a:gd name="T3" fmla="*/ 1 h 64"/>
                    <a:gd name="T4" fmla="*/ 1 w 192"/>
                    <a:gd name="T5" fmla="*/ 1 h 64"/>
                    <a:gd name="T6" fmla="*/ 1 w 192"/>
                    <a:gd name="T7" fmla="*/ 1 h 64"/>
                    <a:gd name="T8" fmla="*/ 1 w 192"/>
                    <a:gd name="T9" fmla="*/ 1 h 64"/>
                    <a:gd name="T10" fmla="*/ 1 w 192"/>
                    <a:gd name="T11" fmla="*/ 1 h 64"/>
                    <a:gd name="T12" fmla="*/ 1 w 192"/>
                    <a:gd name="T13" fmla="*/ 1 h 64"/>
                    <a:gd name="T14" fmla="*/ 1 w 192"/>
                    <a:gd name="T15" fmla="*/ 1 h 64"/>
                    <a:gd name="T16" fmla="*/ 1 w 192"/>
                    <a:gd name="T17" fmla="*/ 1 h 64"/>
                    <a:gd name="T18" fmla="*/ 1 w 192"/>
                    <a:gd name="T19" fmla="*/ 1 h 64"/>
                    <a:gd name="T20" fmla="*/ 1 w 192"/>
                    <a:gd name="T21" fmla="*/ 0 h 64"/>
                    <a:gd name="T22" fmla="*/ 1 w 192"/>
                    <a:gd name="T23" fmla="*/ 1 h 64"/>
                    <a:gd name="T24" fmla="*/ 1 w 192"/>
                    <a:gd name="T25" fmla="*/ 1 h 64"/>
                    <a:gd name="T26" fmla="*/ 1 w 192"/>
                    <a:gd name="T27" fmla="*/ 1 h 64"/>
                    <a:gd name="T28" fmla="*/ 1 w 192"/>
                    <a:gd name="T29" fmla="*/ 1 h 64"/>
                    <a:gd name="T30" fmla="*/ 1 w 192"/>
                    <a:gd name="T31" fmla="*/ 1 h 64"/>
                    <a:gd name="T32" fmla="*/ 1 w 192"/>
                    <a:gd name="T33" fmla="*/ 1 h 64"/>
                    <a:gd name="T34" fmla="*/ 1 w 192"/>
                    <a:gd name="T35" fmla="*/ 1 h 64"/>
                    <a:gd name="T36" fmla="*/ 1 w 192"/>
                    <a:gd name="T37" fmla="*/ 1 h 64"/>
                    <a:gd name="T38" fmla="*/ 1 w 192"/>
                    <a:gd name="T39" fmla="*/ 1 h 64"/>
                    <a:gd name="T40" fmla="*/ 1 w 192"/>
                    <a:gd name="T41" fmla="*/ 1 h 64"/>
                    <a:gd name="T42" fmla="*/ 1 w 192"/>
                    <a:gd name="T43" fmla="*/ 1 h 64"/>
                    <a:gd name="T44" fmla="*/ 1 w 192"/>
                    <a:gd name="T45" fmla="*/ 1 h 64"/>
                    <a:gd name="T46" fmla="*/ 1 w 192"/>
                    <a:gd name="T47" fmla="*/ 1 h 64"/>
                    <a:gd name="T48" fmla="*/ 1 w 192"/>
                    <a:gd name="T49" fmla="*/ 1 h 64"/>
                    <a:gd name="T50" fmla="*/ 1 w 192"/>
                    <a:gd name="T51" fmla="*/ 1 h 64"/>
                    <a:gd name="T52" fmla="*/ 1 w 192"/>
                    <a:gd name="T53" fmla="*/ 1 h 64"/>
                    <a:gd name="T54" fmla="*/ 1 w 192"/>
                    <a:gd name="T55" fmla="*/ 1 h 64"/>
                    <a:gd name="T56" fmla="*/ 1 w 192"/>
                    <a:gd name="T57" fmla="*/ 1 h 64"/>
                    <a:gd name="T58" fmla="*/ 1 w 192"/>
                    <a:gd name="T59" fmla="*/ 1 h 64"/>
                    <a:gd name="T60" fmla="*/ 1 w 192"/>
                    <a:gd name="T61" fmla="*/ 1 h 64"/>
                    <a:gd name="T62" fmla="*/ 1 w 192"/>
                    <a:gd name="T63" fmla="*/ 1 h 64"/>
                    <a:gd name="T64" fmla="*/ 1 w 192"/>
                    <a:gd name="T65" fmla="*/ 1 h 64"/>
                    <a:gd name="T66" fmla="*/ 1 w 192"/>
                    <a:gd name="T67" fmla="*/ 1 h 64"/>
                    <a:gd name="T68" fmla="*/ 1 w 192"/>
                    <a:gd name="T69" fmla="*/ 1 h 64"/>
                    <a:gd name="T70" fmla="*/ 1 w 192"/>
                    <a:gd name="T71" fmla="*/ 1 h 64"/>
                    <a:gd name="T72" fmla="*/ 1 w 192"/>
                    <a:gd name="T73" fmla="*/ 1 h 64"/>
                    <a:gd name="T74" fmla="*/ 1 w 192"/>
                    <a:gd name="T75" fmla="*/ 1 h 64"/>
                    <a:gd name="T76" fmla="*/ 1 w 192"/>
                    <a:gd name="T77" fmla="*/ 1 h 64"/>
                    <a:gd name="T78" fmla="*/ 1 w 192"/>
                    <a:gd name="T79" fmla="*/ 1 h 64"/>
                    <a:gd name="T80" fmla="*/ 1 w 192"/>
                    <a:gd name="T81" fmla="*/ 1 h 64"/>
                    <a:gd name="T82" fmla="*/ 1 w 192"/>
                    <a:gd name="T83" fmla="*/ 1 h 64"/>
                    <a:gd name="T84" fmla="*/ 1 w 192"/>
                    <a:gd name="T85" fmla="*/ 1 h 64"/>
                    <a:gd name="T86" fmla="*/ 1 w 192"/>
                    <a:gd name="T87" fmla="*/ 1 h 64"/>
                    <a:gd name="T88" fmla="*/ 1 w 192"/>
                    <a:gd name="T89" fmla="*/ 1 h 64"/>
                    <a:gd name="T90" fmla="*/ 0 w 192"/>
                    <a:gd name="T91" fmla="*/ 1 h 64"/>
                    <a:gd name="T92" fmla="*/ 1 w 192"/>
                    <a:gd name="T93" fmla="*/ 1 h 64"/>
                    <a:gd name="T94" fmla="*/ 1 w 192"/>
                    <a:gd name="T95" fmla="*/ 1 h 64"/>
                    <a:gd name="T96" fmla="*/ 1 w 192"/>
                    <a:gd name="T97" fmla="*/ 1 h 64"/>
                    <a:gd name="T98" fmla="*/ 1 w 192"/>
                    <a:gd name="T99" fmla="*/ 1 h 64"/>
                    <a:gd name="T100" fmla="*/ 1 w 192"/>
                    <a:gd name="T101" fmla="*/ 1 h 64"/>
                    <a:gd name="T102" fmla="*/ 1 w 192"/>
                    <a:gd name="T103" fmla="*/ 1 h 64"/>
                    <a:gd name="T104" fmla="*/ 1 w 192"/>
                    <a:gd name="T105" fmla="*/ 1 h 64"/>
                    <a:gd name="T106" fmla="*/ 1 w 192"/>
                    <a:gd name="T107" fmla="*/ 1 h 64"/>
                    <a:gd name="T108" fmla="*/ 1 w 192"/>
                    <a:gd name="T109" fmla="*/ 1 h 64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192"/>
                    <a:gd name="T166" fmla="*/ 0 h 64"/>
                    <a:gd name="T167" fmla="*/ 192 w 192"/>
                    <a:gd name="T168" fmla="*/ 64 h 64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192" h="64">
                      <a:moveTo>
                        <a:pt x="48" y="8"/>
                      </a:moveTo>
                      <a:lnTo>
                        <a:pt x="56" y="8"/>
                      </a:lnTo>
                      <a:lnTo>
                        <a:pt x="56" y="16"/>
                      </a:lnTo>
                      <a:lnTo>
                        <a:pt x="80" y="16"/>
                      </a:lnTo>
                      <a:lnTo>
                        <a:pt x="80" y="24"/>
                      </a:lnTo>
                      <a:lnTo>
                        <a:pt x="88" y="24"/>
                      </a:lnTo>
                      <a:lnTo>
                        <a:pt x="88" y="32"/>
                      </a:lnTo>
                      <a:lnTo>
                        <a:pt x="96" y="24"/>
                      </a:lnTo>
                      <a:lnTo>
                        <a:pt x="96" y="16"/>
                      </a:lnTo>
                      <a:lnTo>
                        <a:pt x="88" y="8"/>
                      </a:lnTo>
                      <a:lnTo>
                        <a:pt x="104" y="0"/>
                      </a:lnTo>
                      <a:lnTo>
                        <a:pt x="112" y="8"/>
                      </a:lnTo>
                      <a:lnTo>
                        <a:pt x="104" y="16"/>
                      </a:lnTo>
                      <a:lnTo>
                        <a:pt x="112" y="16"/>
                      </a:lnTo>
                      <a:lnTo>
                        <a:pt x="120" y="24"/>
                      </a:lnTo>
                      <a:lnTo>
                        <a:pt x="128" y="16"/>
                      </a:lnTo>
                      <a:lnTo>
                        <a:pt x="128" y="8"/>
                      </a:lnTo>
                      <a:lnTo>
                        <a:pt x="152" y="16"/>
                      </a:lnTo>
                      <a:lnTo>
                        <a:pt x="168" y="16"/>
                      </a:lnTo>
                      <a:lnTo>
                        <a:pt x="184" y="16"/>
                      </a:lnTo>
                      <a:lnTo>
                        <a:pt x="192" y="24"/>
                      </a:lnTo>
                      <a:lnTo>
                        <a:pt x="184" y="24"/>
                      </a:lnTo>
                      <a:lnTo>
                        <a:pt x="184" y="40"/>
                      </a:lnTo>
                      <a:lnTo>
                        <a:pt x="176" y="40"/>
                      </a:lnTo>
                      <a:lnTo>
                        <a:pt x="168" y="48"/>
                      </a:lnTo>
                      <a:lnTo>
                        <a:pt x="160" y="56"/>
                      </a:lnTo>
                      <a:lnTo>
                        <a:pt x="144" y="64"/>
                      </a:lnTo>
                      <a:lnTo>
                        <a:pt x="128" y="56"/>
                      </a:lnTo>
                      <a:lnTo>
                        <a:pt x="112" y="56"/>
                      </a:lnTo>
                      <a:lnTo>
                        <a:pt x="88" y="56"/>
                      </a:lnTo>
                      <a:lnTo>
                        <a:pt x="56" y="56"/>
                      </a:lnTo>
                      <a:lnTo>
                        <a:pt x="48" y="56"/>
                      </a:lnTo>
                      <a:lnTo>
                        <a:pt x="32" y="48"/>
                      </a:lnTo>
                      <a:lnTo>
                        <a:pt x="40" y="48"/>
                      </a:lnTo>
                      <a:lnTo>
                        <a:pt x="56" y="48"/>
                      </a:lnTo>
                      <a:lnTo>
                        <a:pt x="64" y="48"/>
                      </a:lnTo>
                      <a:lnTo>
                        <a:pt x="64" y="40"/>
                      </a:lnTo>
                      <a:lnTo>
                        <a:pt x="80" y="40"/>
                      </a:lnTo>
                      <a:lnTo>
                        <a:pt x="72" y="32"/>
                      </a:lnTo>
                      <a:lnTo>
                        <a:pt x="48" y="40"/>
                      </a:lnTo>
                      <a:lnTo>
                        <a:pt x="24" y="40"/>
                      </a:lnTo>
                      <a:lnTo>
                        <a:pt x="16" y="40"/>
                      </a:lnTo>
                      <a:lnTo>
                        <a:pt x="8" y="32"/>
                      </a:lnTo>
                      <a:lnTo>
                        <a:pt x="24" y="24"/>
                      </a:lnTo>
                      <a:lnTo>
                        <a:pt x="8" y="24"/>
                      </a:lnTo>
                      <a:lnTo>
                        <a:pt x="0" y="16"/>
                      </a:lnTo>
                      <a:lnTo>
                        <a:pt x="16" y="16"/>
                      </a:lnTo>
                      <a:lnTo>
                        <a:pt x="24" y="16"/>
                      </a:lnTo>
                      <a:lnTo>
                        <a:pt x="32" y="24"/>
                      </a:lnTo>
                      <a:lnTo>
                        <a:pt x="32" y="16"/>
                      </a:lnTo>
                      <a:lnTo>
                        <a:pt x="24" y="16"/>
                      </a:lnTo>
                      <a:lnTo>
                        <a:pt x="24" y="8"/>
                      </a:lnTo>
                      <a:lnTo>
                        <a:pt x="32" y="8"/>
                      </a:lnTo>
                      <a:lnTo>
                        <a:pt x="40" y="16"/>
                      </a:lnTo>
                      <a:lnTo>
                        <a:pt x="48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61" name="Freeform 257"/>
                <p:cNvSpPr>
                  <a:spLocks noChangeAspect="1"/>
                </p:cNvSpPr>
                <p:nvPr/>
              </p:nvSpPr>
              <p:spPr bwMode="auto">
                <a:xfrm>
                  <a:off x="2913" y="1227"/>
                  <a:ext cx="152" cy="106"/>
                </a:xfrm>
                <a:custGeom>
                  <a:avLst/>
                  <a:gdLst>
                    <a:gd name="T0" fmla="*/ 1 w 216"/>
                    <a:gd name="T1" fmla="*/ 1 h 152"/>
                    <a:gd name="T2" fmla="*/ 1 w 216"/>
                    <a:gd name="T3" fmla="*/ 1 h 152"/>
                    <a:gd name="T4" fmla="*/ 1 w 216"/>
                    <a:gd name="T5" fmla="*/ 1 h 152"/>
                    <a:gd name="T6" fmla="*/ 1 w 216"/>
                    <a:gd name="T7" fmla="*/ 1 h 152"/>
                    <a:gd name="T8" fmla="*/ 1 w 216"/>
                    <a:gd name="T9" fmla="*/ 1 h 152"/>
                    <a:gd name="T10" fmla="*/ 1 w 216"/>
                    <a:gd name="T11" fmla="*/ 1 h 152"/>
                    <a:gd name="T12" fmla="*/ 1 w 216"/>
                    <a:gd name="T13" fmla="*/ 1 h 152"/>
                    <a:gd name="T14" fmla="*/ 1 w 216"/>
                    <a:gd name="T15" fmla="*/ 1 h 152"/>
                    <a:gd name="T16" fmla="*/ 1 w 216"/>
                    <a:gd name="T17" fmla="*/ 1 h 152"/>
                    <a:gd name="T18" fmla="*/ 1 w 216"/>
                    <a:gd name="T19" fmla="*/ 1 h 152"/>
                    <a:gd name="T20" fmla="*/ 1 w 216"/>
                    <a:gd name="T21" fmla="*/ 1 h 152"/>
                    <a:gd name="T22" fmla="*/ 1 w 216"/>
                    <a:gd name="T23" fmla="*/ 1 h 152"/>
                    <a:gd name="T24" fmla="*/ 1 w 216"/>
                    <a:gd name="T25" fmla="*/ 1 h 152"/>
                    <a:gd name="T26" fmla="*/ 1 w 216"/>
                    <a:gd name="T27" fmla="*/ 1 h 152"/>
                    <a:gd name="T28" fmla="*/ 1 w 216"/>
                    <a:gd name="T29" fmla="*/ 1 h 152"/>
                    <a:gd name="T30" fmla="*/ 1 w 216"/>
                    <a:gd name="T31" fmla="*/ 1 h 152"/>
                    <a:gd name="T32" fmla="*/ 1 w 216"/>
                    <a:gd name="T33" fmla="*/ 1 h 152"/>
                    <a:gd name="T34" fmla="*/ 1 w 216"/>
                    <a:gd name="T35" fmla="*/ 1 h 152"/>
                    <a:gd name="T36" fmla="*/ 1 w 216"/>
                    <a:gd name="T37" fmla="*/ 1 h 152"/>
                    <a:gd name="T38" fmla="*/ 1 w 216"/>
                    <a:gd name="T39" fmla="*/ 1 h 152"/>
                    <a:gd name="T40" fmla="*/ 1 w 216"/>
                    <a:gd name="T41" fmla="*/ 1 h 152"/>
                    <a:gd name="T42" fmla="*/ 1 w 216"/>
                    <a:gd name="T43" fmla="*/ 1 h 152"/>
                    <a:gd name="T44" fmla="*/ 1 w 216"/>
                    <a:gd name="T45" fmla="*/ 1 h 152"/>
                    <a:gd name="T46" fmla="*/ 1 w 216"/>
                    <a:gd name="T47" fmla="*/ 1 h 152"/>
                    <a:gd name="T48" fmla="*/ 1 w 216"/>
                    <a:gd name="T49" fmla="*/ 1 h 152"/>
                    <a:gd name="T50" fmla="*/ 1 w 216"/>
                    <a:gd name="T51" fmla="*/ 1 h 152"/>
                    <a:gd name="T52" fmla="*/ 1 w 216"/>
                    <a:gd name="T53" fmla="*/ 1 h 152"/>
                    <a:gd name="T54" fmla="*/ 1 w 216"/>
                    <a:gd name="T55" fmla="*/ 1 h 152"/>
                    <a:gd name="T56" fmla="*/ 0 w 216"/>
                    <a:gd name="T57" fmla="*/ 1 h 152"/>
                    <a:gd name="T58" fmla="*/ 1 w 216"/>
                    <a:gd name="T59" fmla="*/ 1 h 152"/>
                    <a:gd name="T60" fmla="*/ 1 w 216"/>
                    <a:gd name="T61" fmla="*/ 1 h 152"/>
                    <a:gd name="T62" fmla="*/ 1 w 216"/>
                    <a:gd name="T63" fmla="*/ 1 h 152"/>
                    <a:gd name="T64" fmla="*/ 1 w 216"/>
                    <a:gd name="T65" fmla="*/ 1 h 152"/>
                    <a:gd name="T66" fmla="*/ 1 w 216"/>
                    <a:gd name="T67" fmla="*/ 1 h 152"/>
                    <a:gd name="T68" fmla="*/ 1 w 216"/>
                    <a:gd name="T69" fmla="*/ 1 h 152"/>
                    <a:gd name="T70" fmla="*/ 1 w 216"/>
                    <a:gd name="T71" fmla="*/ 1 h 152"/>
                    <a:gd name="T72" fmla="*/ 1 w 216"/>
                    <a:gd name="T73" fmla="*/ 1 h 152"/>
                    <a:gd name="T74" fmla="*/ 1 w 216"/>
                    <a:gd name="T75" fmla="*/ 1 h 152"/>
                    <a:gd name="T76" fmla="*/ 1 w 216"/>
                    <a:gd name="T77" fmla="*/ 1 h 152"/>
                    <a:gd name="T78" fmla="*/ 1 w 216"/>
                    <a:gd name="T79" fmla="*/ 1 h 152"/>
                    <a:gd name="T80" fmla="*/ 1 w 216"/>
                    <a:gd name="T81" fmla="*/ 0 h 152"/>
                    <a:gd name="T82" fmla="*/ 1 w 216"/>
                    <a:gd name="T83" fmla="*/ 1 h 152"/>
                    <a:gd name="T84" fmla="*/ 1 w 216"/>
                    <a:gd name="T85" fmla="*/ 1 h 152"/>
                    <a:gd name="T86" fmla="*/ 1 w 216"/>
                    <a:gd name="T87" fmla="*/ 1 h 152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216"/>
                    <a:gd name="T133" fmla="*/ 0 h 152"/>
                    <a:gd name="T134" fmla="*/ 216 w 216"/>
                    <a:gd name="T135" fmla="*/ 152 h 152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216" h="152">
                      <a:moveTo>
                        <a:pt x="168" y="40"/>
                      </a:moveTo>
                      <a:lnTo>
                        <a:pt x="176" y="48"/>
                      </a:lnTo>
                      <a:lnTo>
                        <a:pt x="184" y="48"/>
                      </a:lnTo>
                      <a:lnTo>
                        <a:pt x="192" y="56"/>
                      </a:lnTo>
                      <a:lnTo>
                        <a:pt x="216" y="56"/>
                      </a:lnTo>
                      <a:lnTo>
                        <a:pt x="216" y="64"/>
                      </a:lnTo>
                      <a:lnTo>
                        <a:pt x="200" y="64"/>
                      </a:lnTo>
                      <a:lnTo>
                        <a:pt x="176" y="72"/>
                      </a:lnTo>
                      <a:lnTo>
                        <a:pt x="168" y="80"/>
                      </a:lnTo>
                      <a:lnTo>
                        <a:pt x="168" y="88"/>
                      </a:lnTo>
                      <a:lnTo>
                        <a:pt x="152" y="96"/>
                      </a:lnTo>
                      <a:lnTo>
                        <a:pt x="160" y="104"/>
                      </a:lnTo>
                      <a:lnTo>
                        <a:pt x="152" y="112"/>
                      </a:lnTo>
                      <a:lnTo>
                        <a:pt x="136" y="120"/>
                      </a:lnTo>
                      <a:lnTo>
                        <a:pt x="136" y="136"/>
                      </a:lnTo>
                      <a:lnTo>
                        <a:pt x="128" y="136"/>
                      </a:lnTo>
                      <a:lnTo>
                        <a:pt x="120" y="152"/>
                      </a:lnTo>
                      <a:lnTo>
                        <a:pt x="104" y="144"/>
                      </a:lnTo>
                      <a:lnTo>
                        <a:pt x="112" y="144"/>
                      </a:lnTo>
                      <a:lnTo>
                        <a:pt x="104" y="136"/>
                      </a:lnTo>
                      <a:lnTo>
                        <a:pt x="96" y="136"/>
                      </a:lnTo>
                      <a:lnTo>
                        <a:pt x="96" y="144"/>
                      </a:lnTo>
                      <a:lnTo>
                        <a:pt x="88" y="136"/>
                      </a:lnTo>
                      <a:lnTo>
                        <a:pt x="72" y="128"/>
                      </a:lnTo>
                      <a:lnTo>
                        <a:pt x="72" y="120"/>
                      </a:lnTo>
                      <a:lnTo>
                        <a:pt x="56" y="120"/>
                      </a:lnTo>
                      <a:lnTo>
                        <a:pt x="64" y="112"/>
                      </a:lnTo>
                      <a:lnTo>
                        <a:pt x="72" y="112"/>
                      </a:lnTo>
                      <a:lnTo>
                        <a:pt x="80" y="112"/>
                      </a:lnTo>
                      <a:lnTo>
                        <a:pt x="96" y="120"/>
                      </a:lnTo>
                      <a:lnTo>
                        <a:pt x="96" y="112"/>
                      </a:lnTo>
                      <a:lnTo>
                        <a:pt x="80" y="112"/>
                      </a:lnTo>
                      <a:lnTo>
                        <a:pt x="88" y="112"/>
                      </a:lnTo>
                      <a:lnTo>
                        <a:pt x="96" y="112"/>
                      </a:lnTo>
                      <a:lnTo>
                        <a:pt x="104" y="104"/>
                      </a:lnTo>
                      <a:lnTo>
                        <a:pt x="120" y="104"/>
                      </a:lnTo>
                      <a:lnTo>
                        <a:pt x="112" y="96"/>
                      </a:lnTo>
                      <a:lnTo>
                        <a:pt x="104" y="104"/>
                      </a:lnTo>
                      <a:lnTo>
                        <a:pt x="88" y="104"/>
                      </a:lnTo>
                      <a:lnTo>
                        <a:pt x="80" y="104"/>
                      </a:lnTo>
                      <a:lnTo>
                        <a:pt x="72" y="104"/>
                      </a:lnTo>
                      <a:lnTo>
                        <a:pt x="64" y="112"/>
                      </a:lnTo>
                      <a:lnTo>
                        <a:pt x="56" y="104"/>
                      </a:lnTo>
                      <a:lnTo>
                        <a:pt x="64" y="104"/>
                      </a:lnTo>
                      <a:lnTo>
                        <a:pt x="56" y="96"/>
                      </a:lnTo>
                      <a:lnTo>
                        <a:pt x="72" y="96"/>
                      </a:lnTo>
                      <a:lnTo>
                        <a:pt x="80" y="88"/>
                      </a:lnTo>
                      <a:lnTo>
                        <a:pt x="88" y="88"/>
                      </a:lnTo>
                      <a:lnTo>
                        <a:pt x="88" y="80"/>
                      </a:lnTo>
                      <a:lnTo>
                        <a:pt x="96" y="80"/>
                      </a:lnTo>
                      <a:lnTo>
                        <a:pt x="112" y="80"/>
                      </a:lnTo>
                      <a:lnTo>
                        <a:pt x="128" y="80"/>
                      </a:lnTo>
                      <a:lnTo>
                        <a:pt x="120" y="80"/>
                      </a:lnTo>
                      <a:lnTo>
                        <a:pt x="112" y="80"/>
                      </a:lnTo>
                      <a:lnTo>
                        <a:pt x="104" y="80"/>
                      </a:lnTo>
                      <a:lnTo>
                        <a:pt x="120" y="72"/>
                      </a:lnTo>
                      <a:lnTo>
                        <a:pt x="120" y="64"/>
                      </a:lnTo>
                      <a:lnTo>
                        <a:pt x="112" y="72"/>
                      </a:lnTo>
                      <a:lnTo>
                        <a:pt x="104" y="72"/>
                      </a:lnTo>
                      <a:lnTo>
                        <a:pt x="96" y="72"/>
                      </a:lnTo>
                      <a:lnTo>
                        <a:pt x="96" y="64"/>
                      </a:lnTo>
                      <a:lnTo>
                        <a:pt x="88" y="64"/>
                      </a:lnTo>
                      <a:lnTo>
                        <a:pt x="80" y="64"/>
                      </a:lnTo>
                      <a:lnTo>
                        <a:pt x="72" y="64"/>
                      </a:lnTo>
                      <a:lnTo>
                        <a:pt x="80" y="72"/>
                      </a:lnTo>
                      <a:lnTo>
                        <a:pt x="80" y="80"/>
                      </a:lnTo>
                      <a:lnTo>
                        <a:pt x="72" y="80"/>
                      </a:lnTo>
                      <a:lnTo>
                        <a:pt x="56" y="88"/>
                      </a:lnTo>
                      <a:lnTo>
                        <a:pt x="40" y="88"/>
                      </a:lnTo>
                      <a:lnTo>
                        <a:pt x="40" y="80"/>
                      </a:lnTo>
                      <a:lnTo>
                        <a:pt x="32" y="80"/>
                      </a:lnTo>
                      <a:lnTo>
                        <a:pt x="32" y="72"/>
                      </a:lnTo>
                      <a:lnTo>
                        <a:pt x="48" y="72"/>
                      </a:lnTo>
                      <a:lnTo>
                        <a:pt x="32" y="72"/>
                      </a:lnTo>
                      <a:lnTo>
                        <a:pt x="24" y="72"/>
                      </a:lnTo>
                      <a:lnTo>
                        <a:pt x="16" y="64"/>
                      </a:lnTo>
                      <a:lnTo>
                        <a:pt x="24" y="64"/>
                      </a:lnTo>
                      <a:lnTo>
                        <a:pt x="16" y="56"/>
                      </a:lnTo>
                      <a:lnTo>
                        <a:pt x="24" y="56"/>
                      </a:lnTo>
                      <a:lnTo>
                        <a:pt x="24" y="48"/>
                      </a:lnTo>
                      <a:lnTo>
                        <a:pt x="16" y="40"/>
                      </a:lnTo>
                      <a:lnTo>
                        <a:pt x="24" y="40"/>
                      </a:lnTo>
                      <a:lnTo>
                        <a:pt x="16" y="40"/>
                      </a:lnTo>
                      <a:lnTo>
                        <a:pt x="8" y="48"/>
                      </a:lnTo>
                      <a:lnTo>
                        <a:pt x="0" y="48"/>
                      </a:lnTo>
                      <a:lnTo>
                        <a:pt x="8" y="40"/>
                      </a:lnTo>
                      <a:lnTo>
                        <a:pt x="0" y="40"/>
                      </a:lnTo>
                      <a:lnTo>
                        <a:pt x="0" y="24"/>
                      </a:lnTo>
                      <a:lnTo>
                        <a:pt x="8" y="24"/>
                      </a:lnTo>
                      <a:lnTo>
                        <a:pt x="8" y="16"/>
                      </a:lnTo>
                      <a:lnTo>
                        <a:pt x="0" y="16"/>
                      </a:lnTo>
                      <a:lnTo>
                        <a:pt x="8" y="16"/>
                      </a:lnTo>
                      <a:lnTo>
                        <a:pt x="16" y="16"/>
                      </a:lnTo>
                      <a:lnTo>
                        <a:pt x="24" y="16"/>
                      </a:lnTo>
                      <a:lnTo>
                        <a:pt x="48" y="16"/>
                      </a:lnTo>
                      <a:lnTo>
                        <a:pt x="56" y="16"/>
                      </a:lnTo>
                      <a:lnTo>
                        <a:pt x="64" y="16"/>
                      </a:lnTo>
                      <a:lnTo>
                        <a:pt x="56" y="16"/>
                      </a:lnTo>
                      <a:lnTo>
                        <a:pt x="56" y="24"/>
                      </a:lnTo>
                      <a:lnTo>
                        <a:pt x="32" y="24"/>
                      </a:lnTo>
                      <a:lnTo>
                        <a:pt x="48" y="24"/>
                      </a:lnTo>
                      <a:lnTo>
                        <a:pt x="48" y="32"/>
                      </a:lnTo>
                      <a:lnTo>
                        <a:pt x="56" y="32"/>
                      </a:lnTo>
                      <a:lnTo>
                        <a:pt x="56" y="40"/>
                      </a:lnTo>
                      <a:lnTo>
                        <a:pt x="72" y="40"/>
                      </a:lnTo>
                      <a:lnTo>
                        <a:pt x="64" y="32"/>
                      </a:lnTo>
                      <a:lnTo>
                        <a:pt x="64" y="24"/>
                      </a:lnTo>
                      <a:lnTo>
                        <a:pt x="72" y="16"/>
                      </a:lnTo>
                      <a:lnTo>
                        <a:pt x="80" y="16"/>
                      </a:lnTo>
                      <a:lnTo>
                        <a:pt x="88" y="24"/>
                      </a:lnTo>
                      <a:lnTo>
                        <a:pt x="88" y="32"/>
                      </a:lnTo>
                      <a:lnTo>
                        <a:pt x="96" y="32"/>
                      </a:lnTo>
                      <a:lnTo>
                        <a:pt x="96" y="48"/>
                      </a:lnTo>
                      <a:lnTo>
                        <a:pt x="104" y="48"/>
                      </a:lnTo>
                      <a:lnTo>
                        <a:pt x="104" y="56"/>
                      </a:lnTo>
                      <a:lnTo>
                        <a:pt x="112" y="56"/>
                      </a:lnTo>
                      <a:lnTo>
                        <a:pt x="112" y="48"/>
                      </a:lnTo>
                      <a:lnTo>
                        <a:pt x="104" y="40"/>
                      </a:lnTo>
                      <a:lnTo>
                        <a:pt x="104" y="24"/>
                      </a:lnTo>
                      <a:lnTo>
                        <a:pt x="96" y="8"/>
                      </a:lnTo>
                      <a:lnTo>
                        <a:pt x="104" y="8"/>
                      </a:lnTo>
                      <a:lnTo>
                        <a:pt x="112" y="0"/>
                      </a:lnTo>
                      <a:lnTo>
                        <a:pt x="120" y="0"/>
                      </a:lnTo>
                      <a:lnTo>
                        <a:pt x="120" y="8"/>
                      </a:lnTo>
                      <a:lnTo>
                        <a:pt x="136" y="8"/>
                      </a:lnTo>
                      <a:lnTo>
                        <a:pt x="144" y="16"/>
                      </a:lnTo>
                      <a:lnTo>
                        <a:pt x="136" y="24"/>
                      </a:lnTo>
                      <a:lnTo>
                        <a:pt x="144" y="32"/>
                      </a:lnTo>
                      <a:lnTo>
                        <a:pt x="152" y="24"/>
                      </a:lnTo>
                      <a:lnTo>
                        <a:pt x="160" y="24"/>
                      </a:lnTo>
                      <a:lnTo>
                        <a:pt x="160" y="32"/>
                      </a:lnTo>
                      <a:lnTo>
                        <a:pt x="160" y="40"/>
                      </a:lnTo>
                      <a:lnTo>
                        <a:pt x="168" y="4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62" name="Freeform 258"/>
                <p:cNvSpPr>
                  <a:spLocks noChangeAspect="1"/>
                </p:cNvSpPr>
                <p:nvPr/>
              </p:nvSpPr>
              <p:spPr bwMode="auto">
                <a:xfrm>
                  <a:off x="3053" y="1277"/>
                  <a:ext cx="23" cy="11"/>
                </a:xfrm>
                <a:custGeom>
                  <a:avLst/>
                  <a:gdLst>
                    <a:gd name="T0" fmla="*/ 1 w 32"/>
                    <a:gd name="T1" fmla="*/ 0 h 16"/>
                    <a:gd name="T2" fmla="*/ 1 w 32"/>
                    <a:gd name="T3" fmla="*/ 0 h 16"/>
                    <a:gd name="T4" fmla="*/ 1 w 32"/>
                    <a:gd name="T5" fmla="*/ 0 h 16"/>
                    <a:gd name="T6" fmla="*/ 0 w 32"/>
                    <a:gd name="T7" fmla="*/ 1 h 16"/>
                    <a:gd name="T8" fmla="*/ 1 w 32"/>
                    <a:gd name="T9" fmla="*/ 1 h 16"/>
                    <a:gd name="T10" fmla="*/ 1 w 32"/>
                    <a:gd name="T11" fmla="*/ 1 h 16"/>
                    <a:gd name="T12" fmla="*/ 1 w 32"/>
                    <a:gd name="T13" fmla="*/ 0 h 1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2"/>
                    <a:gd name="T22" fmla="*/ 0 h 16"/>
                    <a:gd name="T23" fmla="*/ 32 w 32"/>
                    <a:gd name="T24" fmla="*/ 16 h 1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2" h="16">
                      <a:moveTo>
                        <a:pt x="32" y="0"/>
                      </a:moveTo>
                      <a:lnTo>
                        <a:pt x="24" y="0"/>
                      </a:lnTo>
                      <a:lnTo>
                        <a:pt x="8" y="0"/>
                      </a:lnTo>
                      <a:lnTo>
                        <a:pt x="0" y="8"/>
                      </a:lnTo>
                      <a:lnTo>
                        <a:pt x="8" y="16"/>
                      </a:lnTo>
                      <a:lnTo>
                        <a:pt x="32" y="8"/>
                      </a:lnTo>
                      <a:lnTo>
                        <a:pt x="32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63" name="Freeform 259"/>
                <p:cNvSpPr>
                  <a:spLocks noChangeAspect="1"/>
                </p:cNvSpPr>
                <p:nvPr/>
              </p:nvSpPr>
              <p:spPr bwMode="auto">
                <a:xfrm>
                  <a:off x="3059" y="1288"/>
                  <a:ext cx="56" cy="29"/>
                </a:xfrm>
                <a:custGeom>
                  <a:avLst/>
                  <a:gdLst>
                    <a:gd name="T0" fmla="*/ 1 w 80"/>
                    <a:gd name="T1" fmla="*/ 0 h 40"/>
                    <a:gd name="T2" fmla="*/ 1 w 80"/>
                    <a:gd name="T3" fmla="*/ 0 h 40"/>
                    <a:gd name="T4" fmla="*/ 1 w 80"/>
                    <a:gd name="T5" fmla="*/ 0 h 40"/>
                    <a:gd name="T6" fmla="*/ 1 w 80"/>
                    <a:gd name="T7" fmla="*/ 0 h 40"/>
                    <a:gd name="T8" fmla="*/ 0 w 80"/>
                    <a:gd name="T9" fmla="*/ 0 h 40"/>
                    <a:gd name="T10" fmla="*/ 0 w 80"/>
                    <a:gd name="T11" fmla="*/ 1 h 40"/>
                    <a:gd name="T12" fmla="*/ 1 w 80"/>
                    <a:gd name="T13" fmla="*/ 1 h 40"/>
                    <a:gd name="T14" fmla="*/ 1 w 80"/>
                    <a:gd name="T15" fmla="*/ 1 h 40"/>
                    <a:gd name="T16" fmla="*/ 1 w 80"/>
                    <a:gd name="T17" fmla="*/ 1 h 40"/>
                    <a:gd name="T18" fmla="*/ 0 w 80"/>
                    <a:gd name="T19" fmla="*/ 1 h 40"/>
                    <a:gd name="T20" fmla="*/ 1 w 80"/>
                    <a:gd name="T21" fmla="*/ 1 h 40"/>
                    <a:gd name="T22" fmla="*/ 1 w 80"/>
                    <a:gd name="T23" fmla="*/ 1 h 40"/>
                    <a:gd name="T24" fmla="*/ 1 w 80"/>
                    <a:gd name="T25" fmla="*/ 1 h 40"/>
                    <a:gd name="T26" fmla="*/ 1 w 80"/>
                    <a:gd name="T27" fmla="*/ 1 h 40"/>
                    <a:gd name="T28" fmla="*/ 1 w 80"/>
                    <a:gd name="T29" fmla="*/ 1 h 40"/>
                    <a:gd name="T30" fmla="*/ 1 w 80"/>
                    <a:gd name="T31" fmla="*/ 1 h 40"/>
                    <a:gd name="T32" fmla="*/ 1 w 80"/>
                    <a:gd name="T33" fmla="*/ 1 h 40"/>
                    <a:gd name="T34" fmla="*/ 1 w 80"/>
                    <a:gd name="T35" fmla="*/ 1 h 40"/>
                    <a:gd name="T36" fmla="*/ 1 w 80"/>
                    <a:gd name="T37" fmla="*/ 1 h 40"/>
                    <a:gd name="T38" fmla="*/ 1 w 80"/>
                    <a:gd name="T39" fmla="*/ 1 h 40"/>
                    <a:gd name="T40" fmla="*/ 1 w 80"/>
                    <a:gd name="T41" fmla="*/ 1 h 40"/>
                    <a:gd name="T42" fmla="*/ 1 w 80"/>
                    <a:gd name="T43" fmla="*/ 1 h 40"/>
                    <a:gd name="T44" fmla="*/ 1 w 80"/>
                    <a:gd name="T45" fmla="*/ 1 h 40"/>
                    <a:gd name="T46" fmla="*/ 1 w 80"/>
                    <a:gd name="T47" fmla="*/ 1 h 40"/>
                    <a:gd name="T48" fmla="*/ 1 w 80"/>
                    <a:gd name="T49" fmla="*/ 0 h 40"/>
                    <a:gd name="T50" fmla="*/ 1 w 80"/>
                    <a:gd name="T51" fmla="*/ 0 h 40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80"/>
                    <a:gd name="T79" fmla="*/ 0 h 40"/>
                    <a:gd name="T80" fmla="*/ 80 w 80"/>
                    <a:gd name="T81" fmla="*/ 40 h 40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80" h="40">
                      <a:moveTo>
                        <a:pt x="40" y="0"/>
                      </a:moveTo>
                      <a:lnTo>
                        <a:pt x="32" y="0"/>
                      </a:lnTo>
                      <a:lnTo>
                        <a:pt x="16" y="0"/>
                      </a:ln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lnTo>
                        <a:pt x="16" y="8"/>
                      </a:lnTo>
                      <a:lnTo>
                        <a:pt x="8" y="16"/>
                      </a:lnTo>
                      <a:lnTo>
                        <a:pt x="8" y="24"/>
                      </a:lnTo>
                      <a:lnTo>
                        <a:pt x="0" y="32"/>
                      </a:lnTo>
                      <a:lnTo>
                        <a:pt x="24" y="32"/>
                      </a:lnTo>
                      <a:lnTo>
                        <a:pt x="40" y="32"/>
                      </a:lnTo>
                      <a:lnTo>
                        <a:pt x="32" y="32"/>
                      </a:lnTo>
                      <a:lnTo>
                        <a:pt x="32" y="40"/>
                      </a:lnTo>
                      <a:lnTo>
                        <a:pt x="48" y="40"/>
                      </a:lnTo>
                      <a:lnTo>
                        <a:pt x="56" y="32"/>
                      </a:lnTo>
                      <a:lnTo>
                        <a:pt x="56" y="24"/>
                      </a:lnTo>
                      <a:lnTo>
                        <a:pt x="64" y="24"/>
                      </a:lnTo>
                      <a:lnTo>
                        <a:pt x="80" y="24"/>
                      </a:lnTo>
                      <a:lnTo>
                        <a:pt x="80" y="16"/>
                      </a:lnTo>
                      <a:lnTo>
                        <a:pt x="64" y="16"/>
                      </a:lnTo>
                      <a:lnTo>
                        <a:pt x="56" y="16"/>
                      </a:lnTo>
                      <a:lnTo>
                        <a:pt x="48" y="8"/>
                      </a:lnTo>
                      <a:lnTo>
                        <a:pt x="40" y="8"/>
                      </a:lnTo>
                      <a:lnTo>
                        <a:pt x="48" y="0"/>
                      </a:lnTo>
                      <a:lnTo>
                        <a:pt x="40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64" name="Freeform 260"/>
                <p:cNvSpPr>
                  <a:spLocks noChangeAspect="1"/>
                </p:cNvSpPr>
                <p:nvPr/>
              </p:nvSpPr>
              <p:spPr bwMode="auto">
                <a:xfrm>
                  <a:off x="2907" y="1266"/>
                  <a:ext cx="28" cy="22"/>
                </a:xfrm>
                <a:custGeom>
                  <a:avLst/>
                  <a:gdLst>
                    <a:gd name="T0" fmla="*/ 1 w 40"/>
                    <a:gd name="T1" fmla="*/ 1 h 32"/>
                    <a:gd name="T2" fmla="*/ 1 w 40"/>
                    <a:gd name="T3" fmla="*/ 1 h 32"/>
                    <a:gd name="T4" fmla="*/ 0 w 40"/>
                    <a:gd name="T5" fmla="*/ 1 h 32"/>
                    <a:gd name="T6" fmla="*/ 1 w 40"/>
                    <a:gd name="T7" fmla="*/ 0 h 32"/>
                    <a:gd name="T8" fmla="*/ 1 w 40"/>
                    <a:gd name="T9" fmla="*/ 1 h 32"/>
                    <a:gd name="T10" fmla="*/ 1 w 40"/>
                    <a:gd name="T11" fmla="*/ 1 h 32"/>
                    <a:gd name="T12" fmla="*/ 1 w 40"/>
                    <a:gd name="T13" fmla="*/ 1 h 32"/>
                    <a:gd name="T14" fmla="*/ 1 w 40"/>
                    <a:gd name="T15" fmla="*/ 1 h 32"/>
                    <a:gd name="T16" fmla="*/ 1 w 40"/>
                    <a:gd name="T17" fmla="*/ 1 h 32"/>
                    <a:gd name="T18" fmla="*/ 1 w 40"/>
                    <a:gd name="T19" fmla="*/ 1 h 32"/>
                    <a:gd name="T20" fmla="*/ 1 w 40"/>
                    <a:gd name="T21" fmla="*/ 1 h 32"/>
                    <a:gd name="T22" fmla="*/ 1 w 40"/>
                    <a:gd name="T23" fmla="*/ 1 h 32"/>
                    <a:gd name="T24" fmla="*/ 1 w 40"/>
                    <a:gd name="T25" fmla="*/ 1 h 3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40"/>
                    <a:gd name="T40" fmla="*/ 0 h 32"/>
                    <a:gd name="T41" fmla="*/ 40 w 40"/>
                    <a:gd name="T42" fmla="*/ 32 h 3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40" h="32">
                      <a:moveTo>
                        <a:pt x="8" y="16"/>
                      </a:moveTo>
                      <a:lnTo>
                        <a:pt x="8" y="8"/>
                      </a:lnTo>
                      <a:lnTo>
                        <a:pt x="0" y="8"/>
                      </a:lnTo>
                      <a:lnTo>
                        <a:pt x="8" y="0"/>
                      </a:lnTo>
                      <a:lnTo>
                        <a:pt x="16" y="8"/>
                      </a:lnTo>
                      <a:lnTo>
                        <a:pt x="16" y="16"/>
                      </a:lnTo>
                      <a:lnTo>
                        <a:pt x="32" y="24"/>
                      </a:lnTo>
                      <a:lnTo>
                        <a:pt x="40" y="24"/>
                      </a:lnTo>
                      <a:lnTo>
                        <a:pt x="32" y="32"/>
                      </a:lnTo>
                      <a:lnTo>
                        <a:pt x="24" y="32"/>
                      </a:lnTo>
                      <a:lnTo>
                        <a:pt x="16" y="24"/>
                      </a:lnTo>
                      <a:lnTo>
                        <a:pt x="8" y="24"/>
                      </a:lnTo>
                      <a:lnTo>
                        <a:pt x="8" y="1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65" name="Freeform 261"/>
                <p:cNvSpPr>
                  <a:spLocks noChangeAspect="1"/>
                </p:cNvSpPr>
                <p:nvPr/>
              </p:nvSpPr>
              <p:spPr bwMode="auto">
                <a:xfrm>
                  <a:off x="3076" y="1851"/>
                  <a:ext cx="17" cy="17"/>
                </a:xfrm>
                <a:custGeom>
                  <a:avLst/>
                  <a:gdLst>
                    <a:gd name="T0" fmla="*/ 1 w 24"/>
                    <a:gd name="T1" fmla="*/ 1 h 24"/>
                    <a:gd name="T2" fmla="*/ 1 w 24"/>
                    <a:gd name="T3" fmla="*/ 0 h 24"/>
                    <a:gd name="T4" fmla="*/ 1 w 24"/>
                    <a:gd name="T5" fmla="*/ 0 h 24"/>
                    <a:gd name="T6" fmla="*/ 0 w 24"/>
                    <a:gd name="T7" fmla="*/ 1 h 24"/>
                    <a:gd name="T8" fmla="*/ 0 w 24"/>
                    <a:gd name="T9" fmla="*/ 1 h 24"/>
                    <a:gd name="T10" fmla="*/ 1 w 24"/>
                    <a:gd name="T11" fmla="*/ 1 h 24"/>
                    <a:gd name="T12" fmla="*/ 1 w 24"/>
                    <a:gd name="T13" fmla="*/ 1 h 24"/>
                    <a:gd name="T14" fmla="*/ 1 w 24"/>
                    <a:gd name="T15" fmla="*/ 1 h 2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4"/>
                    <a:gd name="T25" fmla="*/ 0 h 24"/>
                    <a:gd name="T26" fmla="*/ 24 w 24"/>
                    <a:gd name="T27" fmla="*/ 24 h 2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4" h="24">
                      <a:moveTo>
                        <a:pt x="24" y="8"/>
                      </a:moveTo>
                      <a:lnTo>
                        <a:pt x="24" y="0"/>
                      </a:lnTo>
                      <a:lnTo>
                        <a:pt x="16" y="0"/>
                      </a:lnTo>
                      <a:lnTo>
                        <a:pt x="0" y="8"/>
                      </a:lnTo>
                      <a:lnTo>
                        <a:pt x="0" y="24"/>
                      </a:lnTo>
                      <a:lnTo>
                        <a:pt x="8" y="24"/>
                      </a:lnTo>
                      <a:lnTo>
                        <a:pt x="16" y="16"/>
                      </a:lnTo>
                      <a:lnTo>
                        <a:pt x="24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66" name="Freeform 262"/>
                <p:cNvSpPr>
                  <a:spLocks noChangeAspect="1"/>
                </p:cNvSpPr>
                <p:nvPr/>
              </p:nvSpPr>
              <p:spPr bwMode="auto">
                <a:xfrm>
                  <a:off x="2879" y="1879"/>
                  <a:ext cx="34" cy="28"/>
                </a:xfrm>
                <a:custGeom>
                  <a:avLst/>
                  <a:gdLst>
                    <a:gd name="T0" fmla="*/ 0 w 48"/>
                    <a:gd name="T1" fmla="*/ 1 h 40"/>
                    <a:gd name="T2" fmla="*/ 1 w 48"/>
                    <a:gd name="T3" fmla="*/ 1 h 40"/>
                    <a:gd name="T4" fmla="*/ 1 w 48"/>
                    <a:gd name="T5" fmla="*/ 1 h 40"/>
                    <a:gd name="T6" fmla="*/ 1 w 48"/>
                    <a:gd name="T7" fmla="*/ 1 h 40"/>
                    <a:gd name="T8" fmla="*/ 1 w 48"/>
                    <a:gd name="T9" fmla="*/ 1 h 40"/>
                    <a:gd name="T10" fmla="*/ 1 w 48"/>
                    <a:gd name="T11" fmla="*/ 1 h 40"/>
                    <a:gd name="T12" fmla="*/ 1 w 48"/>
                    <a:gd name="T13" fmla="*/ 0 h 40"/>
                    <a:gd name="T14" fmla="*/ 1 w 48"/>
                    <a:gd name="T15" fmla="*/ 0 h 40"/>
                    <a:gd name="T16" fmla="*/ 1 w 48"/>
                    <a:gd name="T17" fmla="*/ 1 h 40"/>
                    <a:gd name="T18" fmla="*/ 1 w 48"/>
                    <a:gd name="T19" fmla="*/ 1 h 40"/>
                    <a:gd name="T20" fmla="*/ 1 w 48"/>
                    <a:gd name="T21" fmla="*/ 1 h 40"/>
                    <a:gd name="T22" fmla="*/ 0 w 48"/>
                    <a:gd name="T23" fmla="*/ 1 h 40"/>
                    <a:gd name="T24" fmla="*/ 0 w 48"/>
                    <a:gd name="T25" fmla="*/ 1 h 40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48"/>
                    <a:gd name="T40" fmla="*/ 0 h 40"/>
                    <a:gd name="T41" fmla="*/ 48 w 48"/>
                    <a:gd name="T42" fmla="*/ 40 h 40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48" h="40">
                      <a:moveTo>
                        <a:pt x="0" y="40"/>
                      </a:moveTo>
                      <a:lnTo>
                        <a:pt x="8" y="32"/>
                      </a:lnTo>
                      <a:lnTo>
                        <a:pt x="16" y="24"/>
                      </a:lnTo>
                      <a:lnTo>
                        <a:pt x="24" y="24"/>
                      </a:lnTo>
                      <a:lnTo>
                        <a:pt x="40" y="16"/>
                      </a:lnTo>
                      <a:lnTo>
                        <a:pt x="48" y="8"/>
                      </a:lnTo>
                      <a:lnTo>
                        <a:pt x="48" y="0"/>
                      </a:lnTo>
                      <a:lnTo>
                        <a:pt x="32" y="0"/>
                      </a:lnTo>
                      <a:lnTo>
                        <a:pt x="24" y="8"/>
                      </a:lnTo>
                      <a:lnTo>
                        <a:pt x="16" y="16"/>
                      </a:lnTo>
                      <a:lnTo>
                        <a:pt x="8" y="16"/>
                      </a:lnTo>
                      <a:lnTo>
                        <a:pt x="0" y="24"/>
                      </a:lnTo>
                      <a:lnTo>
                        <a:pt x="0" y="4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67" name="Freeform 263"/>
                <p:cNvSpPr>
                  <a:spLocks noChangeAspect="1"/>
                </p:cNvSpPr>
                <p:nvPr/>
              </p:nvSpPr>
              <p:spPr bwMode="auto">
                <a:xfrm>
                  <a:off x="2671" y="1857"/>
                  <a:ext cx="112" cy="208"/>
                </a:xfrm>
                <a:custGeom>
                  <a:avLst/>
                  <a:gdLst>
                    <a:gd name="T0" fmla="*/ 1 w 160"/>
                    <a:gd name="T1" fmla="*/ 0 h 296"/>
                    <a:gd name="T2" fmla="*/ 1 w 160"/>
                    <a:gd name="T3" fmla="*/ 1 h 296"/>
                    <a:gd name="T4" fmla="*/ 1 w 160"/>
                    <a:gd name="T5" fmla="*/ 1 h 296"/>
                    <a:gd name="T6" fmla="*/ 1 w 160"/>
                    <a:gd name="T7" fmla="*/ 1 h 296"/>
                    <a:gd name="T8" fmla="*/ 1 w 160"/>
                    <a:gd name="T9" fmla="*/ 1 h 296"/>
                    <a:gd name="T10" fmla="*/ 1 w 160"/>
                    <a:gd name="T11" fmla="*/ 1 h 296"/>
                    <a:gd name="T12" fmla="*/ 1 w 160"/>
                    <a:gd name="T13" fmla="*/ 1 h 296"/>
                    <a:gd name="T14" fmla="*/ 1 w 160"/>
                    <a:gd name="T15" fmla="*/ 1 h 296"/>
                    <a:gd name="T16" fmla="*/ 1 w 160"/>
                    <a:gd name="T17" fmla="*/ 1 h 296"/>
                    <a:gd name="T18" fmla="*/ 1 w 160"/>
                    <a:gd name="T19" fmla="*/ 1 h 296"/>
                    <a:gd name="T20" fmla="*/ 1 w 160"/>
                    <a:gd name="T21" fmla="*/ 1 h 296"/>
                    <a:gd name="T22" fmla="*/ 1 w 160"/>
                    <a:gd name="T23" fmla="*/ 1 h 296"/>
                    <a:gd name="T24" fmla="*/ 1 w 160"/>
                    <a:gd name="T25" fmla="*/ 1 h 296"/>
                    <a:gd name="T26" fmla="*/ 1 w 160"/>
                    <a:gd name="T27" fmla="*/ 1 h 296"/>
                    <a:gd name="T28" fmla="*/ 1 w 160"/>
                    <a:gd name="T29" fmla="*/ 1 h 296"/>
                    <a:gd name="T30" fmla="*/ 1 w 160"/>
                    <a:gd name="T31" fmla="*/ 1 h 296"/>
                    <a:gd name="T32" fmla="*/ 1 w 160"/>
                    <a:gd name="T33" fmla="*/ 1 h 296"/>
                    <a:gd name="T34" fmla="*/ 1 w 160"/>
                    <a:gd name="T35" fmla="*/ 1 h 296"/>
                    <a:gd name="T36" fmla="*/ 1 w 160"/>
                    <a:gd name="T37" fmla="*/ 1 h 296"/>
                    <a:gd name="T38" fmla="*/ 1 w 160"/>
                    <a:gd name="T39" fmla="*/ 1 h 296"/>
                    <a:gd name="T40" fmla="*/ 1 w 160"/>
                    <a:gd name="T41" fmla="*/ 1 h 296"/>
                    <a:gd name="T42" fmla="*/ 1 w 160"/>
                    <a:gd name="T43" fmla="*/ 1 h 296"/>
                    <a:gd name="T44" fmla="*/ 1 w 160"/>
                    <a:gd name="T45" fmla="*/ 1 h 296"/>
                    <a:gd name="T46" fmla="*/ 1 w 160"/>
                    <a:gd name="T47" fmla="*/ 1 h 296"/>
                    <a:gd name="T48" fmla="*/ 1 w 160"/>
                    <a:gd name="T49" fmla="*/ 1 h 296"/>
                    <a:gd name="T50" fmla="*/ 1 w 160"/>
                    <a:gd name="T51" fmla="*/ 1 h 296"/>
                    <a:gd name="T52" fmla="*/ 1 w 160"/>
                    <a:gd name="T53" fmla="*/ 1 h 296"/>
                    <a:gd name="T54" fmla="*/ 1 w 160"/>
                    <a:gd name="T55" fmla="*/ 1 h 296"/>
                    <a:gd name="T56" fmla="*/ 1 w 160"/>
                    <a:gd name="T57" fmla="*/ 1 h 296"/>
                    <a:gd name="T58" fmla="*/ 1 w 160"/>
                    <a:gd name="T59" fmla="*/ 1 h 296"/>
                    <a:gd name="T60" fmla="*/ 1 w 160"/>
                    <a:gd name="T61" fmla="*/ 1 h 296"/>
                    <a:gd name="T62" fmla="*/ 1 w 160"/>
                    <a:gd name="T63" fmla="*/ 1 h 296"/>
                    <a:gd name="T64" fmla="*/ 1 w 160"/>
                    <a:gd name="T65" fmla="*/ 1 h 296"/>
                    <a:gd name="T66" fmla="*/ 1 w 160"/>
                    <a:gd name="T67" fmla="*/ 1 h 296"/>
                    <a:gd name="T68" fmla="*/ 1 w 160"/>
                    <a:gd name="T69" fmla="*/ 1 h 296"/>
                    <a:gd name="T70" fmla="*/ 1 w 160"/>
                    <a:gd name="T71" fmla="*/ 1 h 296"/>
                    <a:gd name="T72" fmla="*/ 1 w 160"/>
                    <a:gd name="T73" fmla="*/ 1 h 296"/>
                    <a:gd name="T74" fmla="*/ 1 w 160"/>
                    <a:gd name="T75" fmla="*/ 1 h 296"/>
                    <a:gd name="T76" fmla="*/ 1 w 160"/>
                    <a:gd name="T77" fmla="*/ 1 h 296"/>
                    <a:gd name="T78" fmla="*/ 1 w 160"/>
                    <a:gd name="T79" fmla="*/ 1 h 296"/>
                    <a:gd name="T80" fmla="*/ 1 w 160"/>
                    <a:gd name="T81" fmla="*/ 1 h 296"/>
                    <a:gd name="T82" fmla="*/ 1 w 160"/>
                    <a:gd name="T83" fmla="*/ 1 h 296"/>
                    <a:gd name="T84" fmla="*/ 1 w 160"/>
                    <a:gd name="T85" fmla="*/ 1 h 296"/>
                    <a:gd name="T86" fmla="*/ 1 w 160"/>
                    <a:gd name="T87" fmla="*/ 1 h 296"/>
                    <a:gd name="T88" fmla="*/ 1 w 160"/>
                    <a:gd name="T89" fmla="*/ 1 h 296"/>
                    <a:gd name="T90" fmla="*/ 1 w 160"/>
                    <a:gd name="T91" fmla="*/ 1 h 296"/>
                    <a:gd name="T92" fmla="*/ 1 w 160"/>
                    <a:gd name="T93" fmla="*/ 0 h 29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w 160"/>
                    <a:gd name="T142" fmla="*/ 0 h 296"/>
                    <a:gd name="T143" fmla="*/ 160 w 160"/>
                    <a:gd name="T144" fmla="*/ 296 h 29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T141" t="T142" r="T143" b="T144"/>
                  <a:pathLst>
                    <a:path w="160" h="296">
                      <a:moveTo>
                        <a:pt x="72" y="0"/>
                      </a:moveTo>
                      <a:lnTo>
                        <a:pt x="56" y="0"/>
                      </a:lnTo>
                      <a:lnTo>
                        <a:pt x="32" y="0"/>
                      </a:lnTo>
                      <a:lnTo>
                        <a:pt x="24" y="8"/>
                      </a:lnTo>
                      <a:lnTo>
                        <a:pt x="24" y="24"/>
                      </a:lnTo>
                      <a:lnTo>
                        <a:pt x="8" y="32"/>
                      </a:lnTo>
                      <a:lnTo>
                        <a:pt x="8" y="40"/>
                      </a:lnTo>
                      <a:lnTo>
                        <a:pt x="16" y="48"/>
                      </a:lnTo>
                      <a:lnTo>
                        <a:pt x="16" y="56"/>
                      </a:lnTo>
                      <a:lnTo>
                        <a:pt x="8" y="64"/>
                      </a:lnTo>
                      <a:lnTo>
                        <a:pt x="0" y="72"/>
                      </a:lnTo>
                      <a:lnTo>
                        <a:pt x="8" y="88"/>
                      </a:lnTo>
                      <a:lnTo>
                        <a:pt x="8" y="80"/>
                      </a:lnTo>
                      <a:lnTo>
                        <a:pt x="16" y="72"/>
                      </a:lnTo>
                      <a:lnTo>
                        <a:pt x="24" y="72"/>
                      </a:lnTo>
                      <a:lnTo>
                        <a:pt x="24" y="80"/>
                      </a:lnTo>
                      <a:lnTo>
                        <a:pt x="16" y="88"/>
                      </a:lnTo>
                      <a:lnTo>
                        <a:pt x="16" y="96"/>
                      </a:lnTo>
                      <a:lnTo>
                        <a:pt x="16" y="112"/>
                      </a:lnTo>
                      <a:lnTo>
                        <a:pt x="16" y="120"/>
                      </a:lnTo>
                      <a:lnTo>
                        <a:pt x="16" y="112"/>
                      </a:lnTo>
                      <a:lnTo>
                        <a:pt x="24" y="104"/>
                      </a:lnTo>
                      <a:lnTo>
                        <a:pt x="32" y="96"/>
                      </a:lnTo>
                      <a:lnTo>
                        <a:pt x="32" y="104"/>
                      </a:lnTo>
                      <a:lnTo>
                        <a:pt x="32" y="112"/>
                      </a:lnTo>
                      <a:lnTo>
                        <a:pt x="32" y="120"/>
                      </a:lnTo>
                      <a:lnTo>
                        <a:pt x="24" y="128"/>
                      </a:lnTo>
                      <a:lnTo>
                        <a:pt x="24" y="144"/>
                      </a:lnTo>
                      <a:lnTo>
                        <a:pt x="32" y="144"/>
                      </a:lnTo>
                      <a:lnTo>
                        <a:pt x="48" y="144"/>
                      </a:lnTo>
                      <a:lnTo>
                        <a:pt x="64" y="136"/>
                      </a:lnTo>
                      <a:lnTo>
                        <a:pt x="56" y="152"/>
                      </a:lnTo>
                      <a:lnTo>
                        <a:pt x="64" y="160"/>
                      </a:lnTo>
                      <a:lnTo>
                        <a:pt x="64" y="168"/>
                      </a:lnTo>
                      <a:lnTo>
                        <a:pt x="72" y="168"/>
                      </a:lnTo>
                      <a:lnTo>
                        <a:pt x="72" y="184"/>
                      </a:lnTo>
                      <a:lnTo>
                        <a:pt x="64" y="184"/>
                      </a:lnTo>
                      <a:lnTo>
                        <a:pt x="56" y="192"/>
                      </a:lnTo>
                      <a:lnTo>
                        <a:pt x="40" y="192"/>
                      </a:lnTo>
                      <a:lnTo>
                        <a:pt x="40" y="208"/>
                      </a:lnTo>
                      <a:lnTo>
                        <a:pt x="48" y="208"/>
                      </a:lnTo>
                      <a:lnTo>
                        <a:pt x="40" y="232"/>
                      </a:lnTo>
                      <a:lnTo>
                        <a:pt x="32" y="232"/>
                      </a:lnTo>
                      <a:lnTo>
                        <a:pt x="24" y="240"/>
                      </a:lnTo>
                      <a:lnTo>
                        <a:pt x="24" y="248"/>
                      </a:lnTo>
                      <a:lnTo>
                        <a:pt x="48" y="248"/>
                      </a:lnTo>
                      <a:lnTo>
                        <a:pt x="56" y="256"/>
                      </a:lnTo>
                      <a:lnTo>
                        <a:pt x="64" y="256"/>
                      </a:lnTo>
                      <a:lnTo>
                        <a:pt x="64" y="248"/>
                      </a:lnTo>
                      <a:lnTo>
                        <a:pt x="72" y="248"/>
                      </a:lnTo>
                      <a:lnTo>
                        <a:pt x="72" y="256"/>
                      </a:lnTo>
                      <a:lnTo>
                        <a:pt x="64" y="264"/>
                      </a:lnTo>
                      <a:lnTo>
                        <a:pt x="48" y="264"/>
                      </a:lnTo>
                      <a:lnTo>
                        <a:pt x="48" y="272"/>
                      </a:lnTo>
                      <a:lnTo>
                        <a:pt x="40" y="272"/>
                      </a:lnTo>
                      <a:lnTo>
                        <a:pt x="32" y="280"/>
                      </a:lnTo>
                      <a:lnTo>
                        <a:pt x="24" y="296"/>
                      </a:lnTo>
                      <a:lnTo>
                        <a:pt x="32" y="296"/>
                      </a:lnTo>
                      <a:lnTo>
                        <a:pt x="40" y="288"/>
                      </a:lnTo>
                      <a:lnTo>
                        <a:pt x="64" y="288"/>
                      </a:lnTo>
                      <a:lnTo>
                        <a:pt x="64" y="280"/>
                      </a:lnTo>
                      <a:lnTo>
                        <a:pt x="80" y="280"/>
                      </a:lnTo>
                      <a:lnTo>
                        <a:pt x="112" y="272"/>
                      </a:lnTo>
                      <a:lnTo>
                        <a:pt x="120" y="272"/>
                      </a:lnTo>
                      <a:lnTo>
                        <a:pt x="136" y="272"/>
                      </a:lnTo>
                      <a:lnTo>
                        <a:pt x="152" y="264"/>
                      </a:lnTo>
                      <a:lnTo>
                        <a:pt x="152" y="256"/>
                      </a:lnTo>
                      <a:lnTo>
                        <a:pt x="144" y="256"/>
                      </a:lnTo>
                      <a:lnTo>
                        <a:pt x="136" y="256"/>
                      </a:lnTo>
                      <a:lnTo>
                        <a:pt x="136" y="248"/>
                      </a:lnTo>
                      <a:lnTo>
                        <a:pt x="144" y="248"/>
                      </a:lnTo>
                      <a:lnTo>
                        <a:pt x="152" y="240"/>
                      </a:lnTo>
                      <a:lnTo>
                        <a:pt x="160" y="224"/>
                      </a:lnTo>
                      <a:lnTo>
                        <a:pt x="160" y="208"/>
                      </a:lnTo>
                      <a:lnTo>
                        <a:pt x="136" y="208"/>
                      </a:lnTo>
                      <a:lnTo>
                        <a:pt x="128" y="208"/>
                      </a:lnTo>
                      <a:lnTo>
                        <a:pt x="128" y="168"/>
                      </a:lnTo>
                      <a:lnTo>
                        <a:pt x="128" y="160"/>
                      </a:lnTo>
                      <a:lnTo>
                        <a:pt x="112" y="144"/>
                      </a:lnTo>
                      <a:lnTo>
                        <a:pt x="104" y="144"/>
                      </a:lnTo>
                      <a:lnTo>
                        <a:pt x="104" y="120"/>
                      </a:lnTo>
                      <a:lnTo>
                        <a:pt x="88" y="96"/>
                      </a:lnTo>
                      <a:lnTo>
                        <a:pt x="80" y="96"/>
                      </a:lnTo>
                      <a:lnTo>
                        <a:pt x="72" y="96"/>
                      </a:lnTo>
                      <a:lnTo>
                        <a:pt x="64" y="96"/>
                      </a:lnTo>
                      <a:lnTo>
                        <a:pt x="72" y="88"/>
                      </a:lnTo>
                      <a:lnTo>
                        <a:pt x="72" y="72"/>
                      </a:lnTo>
                      <a:lnTo>
                        <a:pt x="88" y="40"/>
                      </a:lnTo>
                      <a:lnTo>
                        <a:pt x="88" y="32"/>
                      </a:lnTo>
                      <a:lnTo>
                        <a:pt x="72" y="32"/>
                      </a:lnTo>
                      <a:lnTo>
                        <a:pt x="48" y="32"/>
                      </a:lnTo>
                      <a:lnTo>
                        <a:pt x="56" y="16"/>
                      </a:lnTo>
                      <a:lnTo>
                        <a:pt x="64" y="8"/>
                      </a:lnTo>
                      <a:lnTo>
                        <a:pt x="72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68" name="Freeform 264"/>
                <p:cNvSpPr>
                  <a:spLocks noChangeAspect="1"/>
                </p:cNvSpPr>
                <p:nvPr/>
              </p:nvSpPr>
              <p:spPr bwMode="auto">
                <a:xfrm>
                  <a:off x="2412" y="1603"/>
                  <a:ext cx="158" cy="107"/>
                </a:xfrm>
                <a:custGeom>
                  <a:avLst/>
                  <a:gdLst>
                    <a:gd name="T0" fmla="*/ 1 w 224"/>
                    <a:gd name="T1" fmla="*/ 0 h 152"/>
                    <a:gd name="T2" fmla="*/ 1 w 224"/>
                    <a:gd name="T3" fmla="*/ 1 h 152"/>
                    <a:gd name="T4" fmla="*/ 1 w 224"/>
                    <a:gd name="T5" fmla="*/ 1 h 152"/>
                    <a:gd name="T6" fmla="*/ 1 w 224"/>
                    <a:gd name="T7" fmla="*/ 1 h 152"/>
                    <a:gd name="T8" fmla="*/ 1 w 224"/>
                    <a:gd name="T9" fmla="*/ 1 h 152"/>
                    <a:gd name="T10" fmla="*/ 1 w 224"/>
                    <a:gd name="T11" fmla="*/ 1 h 152"/>
                    <a:gd name="T12" fmla="*/ 1 w 224"/>
                    <a:gd name="T13" fmla="*/ 1 h 152"/>
                    <a:gd name="T14" fmla="*/ 1 w 224"/>
                    <a:gd name="T15" fmla="*/ 1 h 152"/>
                    <a:gd name="T16" fmla="*/ 1 w 224"/>
                    <a:gd name="T17" fmla="*/ 1 h 152"/>
                    <a:gd name="T18" fmla="*/ 1 w 224"/>
                    <a:gd name="T19" fmla="*/ 1 h 152"/>
                    <a:gd name="T20" fmla="*/ 1 w 224"/>
                    <a:gd name="T21" fmla="*/ 1 h 152"/>
                    <a:gd name="T22" fmla="*/ 1 w 224"/>
                    <a:gd name="T23" fmla="*/ 1 h 152"/>
                    <a:gd name="T24" fmla="*/ 1 w 224"/>
                    <a:gd name="T25" fmla="*/ 1 h 152"/>
                    <a:gd name="T26" fmla="*/ 1 w 224"/>
                    <a:gd name="T27" fmla="*/ 1 h 152"/>
                    <a:gd name="T28" fmla="*/ 1 w 224"/>
                    <a:gd name="T29" fmla="*/ 1 h 152"/>
                    <a:gd name="T30" fmla="*/ 1 w 224"/>
                    <a:gd name="T31" fmla="*/ 1 h 152"/>
                    <a:gd name="T32" fmla="*/ 1 w 224"/>
                    <a:gd name="T33" fmla="*/ 1 h 152"/>
                    <a:gd name="T34" fmla="*/ 1 w 224"/>
                    <a:gd name="T35" fmla="*/ 1 h 152"/>
                    <a:gd name="T36" fmla="*/ 1 w 224"/>
                    <a:gd name="T37" fmla="*/ 1 h 152"/>
                    <a:gd name="T38" fmla="*/ 1 w 224"/>
                    <a:gd name="T39" fmla="*/ 1 h 152"/>
                    <a:gd name="T40" fmla="*/ 0 w 224"/>
                    <a:gd name="T41" fmla="*/ 1 h 152"/>
                    <a:gd name="T42" fmla="*/ 1 w 224"/>
                    <a:gd name="T43" fmla="*/ 1 h 152"/>
                    <a:gd name="T44" fmla="*/ 1 w 224"/>
                    <a:gd name="T45" fmla="*/ 1 h 152"/>
                    <a:gd name="T46" fmla="*/ 1 w 224"/>
                    <a:gd name="T47" fmla="*/ 1 h 152"/>
                    <a:gd name="T48" fmla="*/ 1 w 224"/>
                    <a:gd name="T49" fmla="*/ 1 h 152"/>
                    <a:gd name="T50" fmla="*/ 1 w 224"/>
                    <a:gd name="T51" fmla="*/ 1 h 152"/>
                    <a:gd name="T52" fmla="*/ 1 w 224"/>
                    <a:gd name="T53" fmla="*/ 1 h 152"/>
                    <a:gd name="T54" fmla="*/ 1 w 224"/>
                    <a:gd name="T55" fmla="*/ 1 h 152"/>
                    <a:gd name="T56" fmla="*/ 1 w 224"/>
                    <a:gd name="T57" fmla="*/ 1 h 152"/>
                    <a:gd name="T58" fmla="*/ 1 w 224"/>
                    <a:gd name="T59" fmla="*/ 1 h 152"/>
                    <a:gd name="T60" fmla="*/ 1 w 224"/>
                    <a:gd name="T61" fmla="*/ 1 h 152"/>
                    <a:gd name="T62" fmla="*/ 1 w 224"/>
                    <a:gd name="T63" fmla="*/ 1 h 152"/>
                    <a:gd name="T64" fmla="*/ 1 w 224"/>
                    <a:gd name="T65" fmla="*/ 1 h 152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224"/>
                    <a:gd name="T100" fmla="*/ 0 h 152"/>
                    <a:gd name="T101" fmla="*/ 224 w 224"/>
                    <a:gd name="T102" fmla="*/ 152 h 152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224" h="152">
                      <a:moveTo>
                        <a:pt x="168" y="16"/>
                      </a:moveTo>
                      <a:lnTo>
                        <a:pt x="160" y="0"/>
                      </a:lnTo>
                      <a:lnTo>
                        <a:pt x="184" y="0"/>
                      </a:lnTo>
                      <a:lnTo>
                        <a:pt x="184" y="8"/>
                      </a:lnTo>
                      <a:lnTo>
                        <a:pt x="200" y="8"/>
                      </a:lnTo>
                      <a:lnTo>
                        <a:pt x="208" y="16"/>
                      </a:lnTo>
                      <a:lnTo>
                        <a:pt x="200" y="16"/>
                      </a:lnTo>
                      <a:lnTo>
                        <a:pt x="200" y="24"/>
                      </a:lnTo>
                      <a:lnTo>
                        <a:pt x="200" y="40"/>
                      </a:lnTo>
                      <a:lnTo>
                        <a:pt x="208" y="40"/>
                      </a:lnTo>
                      <a:lnTo>
                        <a:pt x="208" y="48"/>
                      </a:lnTo>
                      <a:lnTo>
                        <a:pt x="216" y="48"/>
                      </a:lnTo>
                      <a:lnTo>
                        <a:pt x="224" y="64"/>
                      </a:lnTo>
                      <a:lnTo>
                        <a:pt x="216" y="88"/>
                      </a:lnTo>
                      <a:lnTo>
                        <a:pt x="200" y="96"/>
                      </a:lnTo>
                      <a:lnTo>
                        <a:pt x="192" y="112"/>
                      </a:lnTo>
                      <a:lnTo>
                        <a:pt x="176" y="112"/>
                      </a:lnTo>
                      <a:lnTo>
                        <a:pt x="160" y="128"/>
                      </a:lnTo>
                      <a:lnTo>
                        <a:pt x="144" y="136"/>
                      </a:lnTo>
                      <a:lnTo>
                        <a:pt x="128" y="152"/>
                      </a:lnTo>
                      <a:lnTo>
                        <a:pt x="88" y="152"/>
                      </a:lnTo>
                      <a:lnTo>
                        <a:pt x="64" y="136"/>
                      </a:lnTo>
                      <a:lnTo>
                        <a:pt x="48" y="136"/>
                      </a:lnTo>
                      <a:lnTo>
                        <a:pt x="32" y="128"/>
                      </a:lnTo>
                      <a:lnTo>
                        <a:pt x="32" y="120"/>
                      </a:lnTo>
                      <a:lnTo>
                        <a:pt x="48" y="120"/>
                      </a:lnTo>
                      <a:lnTo>
                        <a:pt x="48" y="112"/>
                      </a:lnTo>
                      <a:lnTo>
                        <a:pt x="40" y="96"/>
                      </a:lnTo>
                      <a:lnTo>
                        <a:pt x="40" y="88"/>
                      </a:lnTo>
                      <a:lnTo>
                        <a:pt x="32" y="88"/>
                      </a:lnTo>
                      <a:lnTo>
                        <a:pt x="8" y="88"/>
                      </a:lnTo>
                      <a:lnTo>
                        <a:pt x="16" y="80"/>
                      </a:lnTo>
                      <a:lnTo>
                        <a:pt x="24" y="80"/>
                      </a:lnTo>
                      <a:lnTo>
                        <a:pt x="40" y="80"/>
                      </a:lnTo>
                      <a:lnTo>
                        <a:pt x="56" y="80"/>
                      </a:lnTo>
                      <a:lnTo>
                        <a:pt x="56" y="72"/>
                      </a:lnTo>
                      <a:lnTo>
                        <a:pt x="40" y="64"/>
                      </a:lnTo>
                      <a:lnTo>
                        <a:pt x="48" y="56"/>
                      </a:lnTo>
                      <a:lnTo>
                        <a:pt x="40" y="48"/>
                      </a:lnTo>
                      <a:lnTo>
                        <a:pt x="16" y="48"/>
                      </a:lnTo>
                      <a:lnTo>
                        <a:pt x="0" y="56"/>
                      </a:lnTo>
                      <a:lnTo>
                        <a:pt x="0" y="48"/>
                      </a:lnTo>
                      <a:lnTo>
                        <a:pt x="16" y="24"/>
                      </a:lnTo>
                      <a:lnTo>
                        <a:pt x="24" y="24"/>
                      </a:lnTo>
                      <a:lnTo>
                        <a:pt x="24" y="32"/>
                      </a:lnTo>
                      <a:lnTo>
                        <a:pt x="40" y="32"/>
                      </a:lnTo>
                      <a:lnTo>
                        <a:pt x="32" y="16"/>
                      </a:lnTo>
                      <a:lnTo>
                        <a:pt x="24" y="8"/>
                      </a:lnTo>
                      <a:lnTo>
                        <a:pt x="40" y="8"/>
                      </a:lnTo>
                      <a:lnTo>
                        <a:pt x="56" y="24"/>
                      </a:lnTo>
                      <a:lnTo>
                        <a:pt x="56" y="32"/>
                      </a:lnTo>
                      <a:lnTo>
                        <a:pt x="64" y="56"/>
                      </a:lnTo>
                      <a:lnTo>
                        <a:pt x="72" y="56"/>
                      </a:lnTo>
                      <a:lnTo>
                        <a:pt x="72" y="48"/>
                      </a:lnTo>
                      <a:lnTo>
                        <a:pt x="80" y="48"/>
                      </a:lnTo>
                      <a:lnTo>
                        <a:pt x="88" y="40"/>
                      </a:lnTo>
                      <a:lnTo>
                        <a:pt x="80" y="32"/>
                      </a:lnTo>
                      <a:lnTo>
                        <a:pt x="88" y="32"/>
                      </a:lnTo>
                      <a:lnTo>
                        <a:pt x="96" y="40"/>
                      </a:lnTo>
                      <a:lnTo>
                        <a:pt x="96" y="24"/>
                      </a:lnTo>
                      <a:lnTo>
                        <a:pt x="120" y="24"/>
                      </a:lnTo>
                      <a:lnTo>
                        <a:pt x="120" y="32"/>
                      </a:lnTo>
                      <a:lnTo>
                        <a:pt x="128" y="32"/>
                      </a:lnTo>
                      <a:lnTo>
                        <a:pt x="128" y="24"/>
                      </a:lnTo>
                      <a:lnTo>
                        <a:pt x="136" y="16"/>
                      </a:lnTo>
                      <a:lnTo>
                        <a:pt x="144" y="24"/>
                      </a:lnTo>
                      <a:lnTo>
                        <a:pt x="168" y="1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69" name="Freeform 265"/>
                <p:cNvSpPr>
                  <a:spLocks noChangeAspect="1"/>
                </p:cNvSpPr>
                <p:nvPr/>
              </p:nvSpPr>
              <p:spPr bwMode="auto">
                <a:xfrm>
                  <a:off x="2896" y="2121"/>
                  <a:ext cx="6" cy="11"/>
                </a:xfrm>
                <a:custGeom>
                  <a:avLst/>
                  <a:gdLst>
                    <a:gd name="T0" fmla="*/ 2 w 8"/>
                    <a:gd name="T1" fmla="*/ 1 h 16"/>
                    <a:gd name="T2" fmla="*/ 2 w 8"/>
                    <a:gd name="T3" fmla="*/ 0 h 16"/>
                    <a:gd name="T4" fmla="*/ 0 w 8"/>
                    <a:gd name="T5" fmla="*/ 1 h 16"/>
                    <a:gd name="T6" fmla="*/ 2 w 8"/>
                    <a:gd name="T7" fmla="*/ 1 h 16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16"/>
                    <a:gd name="T14" fmla="*/ 8 w 8"/>
                    <a:gd name="T15" fmla="*/ 16 h 1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16">
                      <a:moveTo>
                        <a:pt x="8" y="16"/>
                      </a:moveTo>
                      <a:lnTo>
                        <a:pt x="8" y="0"/>
                      </a:lnTo>
                      <a:lnTo>
                        <a:pt x="0" y="8"/>
                      </a:lnTo>
                      <a:lnTo>
                        <a:pt x="8" y="1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70" name="Rectangle 266"/>
                <p:cNvSpPr>
                  <a:spLocks noChangeAspect="1" noChangeArrowheads="1"/>
                </p:cNvSpPr>
                <p:nvPr/>
              </p:nvSpPr>
              <p:spPr bwMode="auto">
                <a:xfrm>
                  <a:off x="2778" y="2211"/>
                  <a:ext cx="5" cy="6"/>
                </a:xfrm>
                <a:prstGeom prst="rect">
                  <a:avLst/>
                </a:prstGeom>
                <a:grpFill/>
                <a:ln w="1270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>
                    <a:spcBef>
                      <a:spcPct val="50000"/>
                    </a:spcBef>
                    <a:buClr>
                      <a:schemeClr val="tx2"/>
                    </a:buClr>
                    <a:buSzPct val="70000"/>
                    <a:buFont typeface="Wingdings" pitchFamily="2" charset="2"/>
                    <a:buChar char="§"/>
                    <a:defRPr sz="3200">
                      <a:solidFill>
                        <a:srgbClr val="000000"/>
                      </a:solidFill>
                      <a:latin typeface="Arial" charset="0"/>
                    </a:defRPr>
                  </a:lvl1pPr>
                  <a:lvl2pPr marL="742950" indent="-285750">
                    <a:spcBef>
                      <a:spcPct val="50000"/>
                    </a:spcBef>
                    <a:buClr>
                      <a:schemeClr val="tx2"/>
                    </a:buClr>
                    <a:buSzPct val="70000"/>
                    <a:buFont typeface="Wingdings" pitchFamily="2" charset="2"/>
                    <a:buChar char="§"/>
                    <a:defRPr sz="2800">
                      <a:solidFill>
                        <a:srgbClr val="000000"/>
                      </a:solidFill>
                      <a:latin typeface="Arial" charset="0"/>
                    </a:defRPr>
                  </a:lvl2pPr>
                  <a:lvl3pPr marL="1143000" indent="-228600">
                    <a:spcBef>
                      <a:spcPct val="50000"/>
                    </a:spcBef>
                    <a:buClr>
                      <a:schemeClr val="tx2"/>
                    </a:buClr>
                    <a:buSzPct val="70000"/>
                    <a:buFont typeface="Wingdings" pitchFamily="2" charset="2"/>
                    <a:buChar char="§"/>
                    <a:defRPr sz="1600">
                      <a:solidFill>
                        <a:srgbClr val="000000"/>
                      </a:solidFill>
                      <a:latin typeface="Arial" charset="0"/>
                    </a:defRPr>
                  </a:lvl3pPr>
                  <a:lvl4pPr marL="1600200" indent="-228600">
                    <a:spcBef>
                      <a:spcPct val="50000"/>
                    </a:spcBef>
                    <a:buClr>
                      <a:schemeClr val="tx2"/>
                    </a:buClr>
                    <a:buSzPct val="70000"/>
                    <a:buFont typeface="Wingdings" pitchFamily="2" charset="2"/>
                    <a:buChar char="§"/>
                    <a:defRPr sz="1400">
                      <a:solidFill>
                        <a:srgbClr val="000000"/>
                      </a:solidFill>
                      <a:latin typeface="Arial" charset="0"/>
                    </a:defRPr>
                  </a:lvl4pPr>
                  <a:lvl5pPr marL="2057400" indent="-228600">
                    <a:spcBef>
                      <a:spcPct val="50000"/>
                    </a:spcBef>
                    <a:buClr>
                      <a:schemeClr val="tx2"/>
                    </a:buClr>
                    <a:buSzPct val="70000"/>
                    <a:buFont typeface="Wingdings" pitchFamily="2" charset="2"/>
                    <a:buChar char="§"/>
                    <a:defRPr sz="1400">
                      <a:solidFill>
                        <a:srgbClr val="000000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0000"/>
                    <a:buFont typeface="Wingdings" pitchFamily="2" charset="2"/>
                    <a:buChar char="§"/>
                    <a:defRPr sz="1400">
                      <a:solidFill>
                        <a:srgbClr val="000000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0000"/>
                    <a:buFont typeface="Wingdings" pitchFamily="2" charset="2"/>
                    <a:buChar char="§"/>
                    <a:defRPr sz="1400">
                      <a:solidFill>
                        <a:srgbClr val="000000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0000"/>
                    <a:buFont typeface="Wingdings" pitchFamily="2" charset="2"/>
                    <a:buChar char="§"/>
                    <a:defRPr sz="1400">
                      <a:solidFill>
                        <a:srgbClr val="000000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0000"/>
                    <a:buFont typeface="Wingdings" pitchFamily="2" charset="2"/>
                    <a:buChar char="§"/>
                    <a:defRPr sz="1400">
                      <a:solidFill>
                        <a:srgbClr val="000000"/>
                      </a:solidFill>
                      <a:latin typeface="Arial" charset="0"/>
                    </a:defRPr>
                  </a:lvl9pPr>
                </a:lstStyle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</a:pPr>
                  <a:endParaRPr lang="en-US" altLang="en-US" sz="1800">
                    <a:cs typeface="Arial" charset="0"/>
                  </a:endParaRPr>
                </a:p>
              </p:txBody>
            </p:sp>
            <p:sp>
              <p:nvSpPr>
                <p:cNvPr id="71" name="Freeform 267"/>
                <p:cNvSpPr>
                  <a:spLocks noChangeAspect="1"/>
                </p:cNvSpPr>
                <p:nvPr/>
              </p:nvSpPr>
              <p:spPr bwMode="auto">
                <a:xfrm>
                  <a:off x="2648" y="1941"/>
                  <a:ext cx="40" cy="34"/>
                </a:xfrm>
                <a:custGeom>
                  <a:avLst/>
                  <a:gdLst>
                    <a:gd name="T0" fmla="*/ 1 w 56"/>
                    <a:gd name="T1" fmla="*/ 0 h 48"/>
                    <a:gd name="T2" fmla="*/ 1 w 56"/>
                    <a:gd name="T3" fmla="*/ 1 h 48"/>
                    <a:gd name="T4" fmla="*/ 0 w 56"/>
                    <a:gd name="T5" fmla="*/ 1 h 48"/>
                    <a:gd name="T6" fmla="*/ 1 w 56"/>
                    <a:gd name="T7" fmla="*/ 1 h 48"/>
                    <a:gd name="T8" fmla="*/ 1 w 56"/>
                    <a:gd name="T9" fmla="*/ 1 h 48"/>
                    <a:gd name="T10" fmla="*/ 1 w 56"/>
                    <a:gd name="T11" fmla="*/ 1 h 48"/>
                    <a:gd name="T12" fmla="*/ 1 w 56"/>
                    <a:gd name="T13" fmla="*/ 1 h 48"/>
                    <a:gd name="T14" fmla="*/ 1 w 56"/>
                    <a:gd name="T15" fmla="*/ 1 h 48"/>
                    <a:gd name="T16" fmla="*/ 1 w 56"/>
                    <a:gd name="T17" fmla="*/ 1 h 48"/>
                    <a:gd name="T18" fmla="*/ 1 w 56"/>
                    <a:gd name="T19" fmla="*/ 1 h 48"/>
                    <a:gd name="T20" fmla="*/ 1 w 56"/>
                    <a:gd name="T21" fmla="*/ 1 h 48"/>
                    <a:gd name="T22" fmla="*/ 1 w 56"/>
                    <a:gd name="T23" fmla="*/ 1 h 48"/>
                    <a:gd name="T24" fmla="*/ 1 w 56"/>
                    <a:gd name="T25" fmla="*/ 0 h 48"/>
                    <a:gd name="T26" fmla="*/ 1 w 56"/>
                    <a:gd name="T27" fmla="*/ 0 h 48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56"/>
                    <a:gd name="T43" fmla="*/ 0 h 48"/>
                    <a:gd name="T44" fmla="*/ 56 w 56"/>
                    <a:gd name="T45" fmla="*/ 48 h 48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56" h="48">
                      <a:moveTo>
                        <a:pt x="8" y="0"/>
                      </a:moveTo>
                      <a:lnTo>
                        <a:pt x="8" y="16"/>
                      </a:lnTo>
                      <a:lnTo>
                        <a:pt x="0" y="32"/>
                      </a:lnTo>
                      <a:lnTo>
                        <a:pt x="8" y="48"/>
                      </a:lnTo>
                      <a:lnTo>
                        <a:pt x="16" y="40"/>
                      </a:lnTo>
                      <a:lnTo>
                        <a:pt x="24" y="40"/>
                      </a:lnTo>
                      <a:lnTo>
                        <a:pt x="32" y="48"/>
                      </a:lnTo>
                      <a:lnTo>
                        <a:pt x="48" y="40"/>
                      </a:lnTo>
                      <a:lnTo>
                        <a:pt x="56" y="24"/>
                      </a:lnTo>
                      <a:lnTo>
                        <a:pt x="48" y="24"/>
                      </a:lnTo>
                      <a:lnTo>
                        <a:pt x="40" y="8"/>
                      </a:lnTo>
                      <a:lnTo>
                        <a:pt x="24" y="8"/>
                      </a:lnTo>
                      <a:lnTo>
                        <a:pt x="24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72" name="Freeform 268"/>
                <p:cNvSpPr>
                  <a:spLocks noChangeAspect="1"/>
                </p:cNvSpPr>
                <p:nvPr/>
              </p:nvSpPr>
              <p:spPr bwMode="auto">
                <a:xfrm>
                  <a:off x="2615" y="1941"/>
                  <a:ext cx="61" cy="96"/>
                </a:xfrm>
                <a:custGeom>
                  <a:avLst/>
                  <a:gdLst>
                    <a:gd name="T0" fmla="*/ 1 w 88"/>
                    <a:gd name="T1" fmla="*/ 1 h 136"/>
                    <a:gd name="T2" fmla="*/ 1 w 88"/>
                    <a:gd name="T3" fmla="*/ 1 h 136"/>
                    <a:gd name="T4" fmla="*/ 1 w 88"/>
                    <a:gd name="T5" fmla="*/ 1 h 136"/>
                    <a:gd name="T6" fmla="*/ 1 w 88"/>
                    <a:gd name="T7" fmla="*/ 1 h 136"/>
                    <a:gd name="T8" fmla="*/ 1 w 88"/>
                    <a:gd name="T9" fmla="*/ 1 h 136"/>
                    <a:gd name="T10" fmla="*/ 1 w 88"/>
                    <a:gd name="T11" fmla="*/ 1 h 136"/>
                    <a:gd name="T12" fmla="*/ 1 w 88"/>
                    <a:gd name="T13" fmla="*/ 0 h 136"/>
                    <a:gd name="T14" fmla="*/ 1 w 88"/>
                    <a:gd name="T15" fmla="*/ 1 h 136"/>
                    <a:gd name="T16" fmla="*/ 1 w 88"/>
                    <a:gd name="T17" fmla="*/ 1 h 136"/>
                    <a:gd name="T18" fmla="*/ 1 w 88"/>
                    <a:gd name="T19" fmla="*/ 1 h 136"/>
                    <a:gd name="T20" fmla="*/ 1 w 88"/>
                    <a:gd name="T21" fmla="*/ 1 h 136"/>
                    <a:gd name="T22" fmla="*/ 1 w 88"/>
                    <a:gd name="T23" fmla="*/ 1 h 136"/>
                    <a:gd name="T24" fmla="*/ 1 w 88"/>
                    <a:gd name="T25" fmla="*/ 1 h 136"/>
                    <a:gd name="T26" fmla="*/ 1 w 88"/>
                    <a:gd name="T27" fmla="*/ 1 h 136"/>
                    <a:gd name="T28" fmla="*/ 0 w 88"/>
                    <a:gd name="T29" fmla="*/ 1 h 136"/>
                    <a:gd name="T30" fmla="*/ 1 w 88"/>
                    <a:gd name="T31" fmla="*/ 1 h 136"/>
                    <a:gd name="T32" fmla="*/ 1 w 88"/>
                    <a:gd name="T33" fmla="*/ 1 h 136"/>
                    <a:gd name="T34" fmla="*/ 0 w 88"/>
                    <a:gd name="T35" fmla="*/ 1 h 136"/>
                    <a:gd name="T36" fmla="*/ 1 w 88"/>
                    <a:gd name="T37" fmla="*/ 1 h 136"/>
                    <a:gd name="T38" fmla="*/ 1 w 88"/>
                    <a:gd name="T39" fmla="*/ 1 h 136"/>
                    <a:gd name="T40" fmla="*/ 1 w 88"/>
                    <a:gd name="T41" fmla="*/ 1 h 136"/>
                    <a:gd name="T42" fmla="*/ 1 w 88"/>
                    <a:gd name="T43" fmla="*/ 1 h 136"/>
                    <a:gd name="T44" fmla="*/ 1 w 88"/>
                    <a:gd name="T45" fmla="*/ 1 h 136"/>
                    <a:gd name="T46" fmla="*/ 1 w 88"/>
                    <a:gd name="T47" fmla="*/ 1 h 136"/>
                    <a:gd name="T48" fmla="*/ 0 w 88"/>
                    <a:gd name="T49" fmla="*/ 1 h 136"/>
                    <a:gd name="T50" fmla="*/ 0 w 88"/>
                    <a:gd name="T51" fmla="*/ 1 h 136"/>
                    <a:gd name="T52" fmla="*/ 0 w 88"/>
                    <a:gd name="T53" fmla="*/ 1 h 136"/>
                    <a:gd name="T54" fmla="*/ 1 w 88"/>
                    <a:gd name="T55" fmla="*/ 1 h 136"/>
                    <a:gd name="T56" fmla="*/ 1 w 88"/>
                    <a:gd name="T57" fmla="*/ 1 h 136"/>
                    <a:gd name="T58" fmla="*/ 1 w 88"/>
                    <a:gd name="T59" fmla="*/ 1 h 136"/>
                    <a:gd name="T60" fmla="*/ 1 w 88"/>
                    <a:gd name="T61" fmla="*/ 1 h 136"/>
                    <a:gd name="T62" fmla="*/ 1 w 88"/>
                    <a:gd name="T63" fmla="*/ 1 h 136"/>
                    <a:gd name="T64" fmla="*/ 1 w 88"/>
                    <a:gd name="T65" fmla="*/ 1 h 136"/>
                    <a:gd name="T66" fmla="*/ 1 w 88"/>
                    <a:gd name="T67" fmla="*/ 1 h 136"/>
                    <a:gd name="T68" fmla="*/ 1 w 88"/>
                    <a:gd name="T69" fmla="*/ 1 h 136"/>
                    <a:gd name="T70" fmla="*/ 1 w 88"/>
                    <a:gd name="T71" fmla="*/ 1 h 136"/>
                    <a:gd name="T72" fmla="*/ 1 w 88"/>
                    <a:gd name="T73" fmla="*/ 1 h 1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88"/>
                    <a:gd name="T112" fmla="*/ 0 h 136"/>
                    <a:gd name="T113" fmla="*/ 88 w 88"/>
                    <a:gd name="T114" fmla="*/ 136 h 136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88" h="136">
                      <a:moveTo>
                        <a:pt x="80" y="48"/>
                      </a:moveTo>
                      <a:lnTo>
                        <a:pt x="72" y="40"/>
                      </a:lnTo>
                      <a:lnTo>
                        <a:pt x="64" y="40"/>
                      </a:lnTo>
                      <a:lnTo>
                        <a:pt x="56" y="48"/>
                      </a:lnTo>
                      <a:lnTo>
                        <a:pt x="48" y="32"/>
                      </a:lnTo>
                      <a:lnTo>
                        <a:pt x="56" y="16"/>
                      </a:lnTo>
                      <a:lnTo>
                        <a:pt x="56" y="0"/>
                      </a:lnTo>
                      <a:lnTo>
                        <a:pt x="40" y="8"/>
                      </a:lnTo>
                      <a:lnTo>
                        <a:pt x="32" y="8"/>
                      </a:lnTo>
                      <a:lnTo>
                        <a:pt x="32" y="24"/>
                      </a:lnTo>
                      <a:lnTo>
                        <a:pt x="32" y="32"/>
                      </a:lnTo>
                      <a:lnTo>
                        <a:pt x="24" y="40"/>
                      </a:lnTo>
                      <a:lnTo>
                        <a:pt x="16" y="40"/>
                      </a:lnTo>
                      <a:lnTo>
                        <a:pt x="8" y="40"/>
                      </a:lnTo>
                      <a:lnTo>
                        <a:pt x="0" y="48"/>
                      </a:lnTo>
                      <a:lnTo>
                        <a:pt x="8" y="56"/>
                      </a:lnTo>
                      <a:lnTo>
                        <a:pt x="8" y="64"/>
                      </a:lnTo>
                      <a:lnTo>
                        <a:pt x="0" y="72"/>
                      </a:lnTo>
                      <a:lnTo>
                        <a:pt x="8" y="72"/>
                      </a:lnTo>
                      <a:lnTo>
                        <a:pt x="16" y="72"/>
                      </a:lnTo>
                      <a:lnTo>
                        <a:pt x="24" y="72"/>
                      </a:lnTo>
                      <a:lnTo>
                        <a:pt x="16" y="80"/>
                      </a:lnTo>
                      <a:lnTo>
                        <a:pt x="16" y="96"/>
                      </a:lnTo>
                      <a:lnTo>
                        <a:pt x="24" y="96"/>
                      </a:lnTo>
                      <a:lnTo>
                        <a:pt x="0" y="104"/>
                      </a:lnTo>
                      <a:lnTo>
                        <a:pt x="0" y="112"/>
                      </a:lnTo>
                      <a:lnTo>
                        <a:pt x="0" y="120"/>
                      </a:lnTo>
                      <a:lnTo>
                        <a:pt x="8" y="128"/>
                      </a:lnTo>
                      <a:lnTo>
                        <a:pt x="16" y="136"/>
                      </a:lnTo>
                      <a:lnTo>
                        <a:pt x="24" y="128"/>
                      </a:lnTo>
                      <a:lnTo>
                        <a:pt x="40" y="120"/>
                      </a:lnTo>
                      <a:lnTo>
                        <a:pt x="64" y="112"/>
                      </a:lnTo>
                      <a:lnTo>
                        <a:pt x="80" y="112"/>
                      </a:lnTo>
                      <a:lnTo>
                        <a:pt x="80" y="88"/>
                      </a:lnTo>
                      <a:lnTo>
                        <a:pt x="88" y="72"/>
                      </a:lnTo>
                      <a:lnTo>
                        <a:pt x="80" y="64"/>
                      </a:lnTo>
                      <a:lnTo>
                        <a:pt x="80" y="4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73" name="Freeform 269"/>
                <p:cNvSpPr>
                  <a:spLocks noChangeAspect="1"/>
                </p:cNvSpPr>
                <p:nvPr/>
              </p:nvSpPr>
              <p:spPr bwMode="auto">
                <a:xfrm>
                  <a:off x="2828" y="1491"/>
                  <a:ext cx="372" cy="383"/>
                </a:xfrm>
                <a:custGeom>
                  <a:avLst/>
                  <a:gdLst>
                    <a:gd name="T0" fmla="*/ 1 w 528"/>
                    <a:gd name="T1" fmla="*/ 1 h 544"/>
                    <a:gd name="T2" fmla="*/ 1 w 528"/>
                    <a:gd name="T3" fmla="*/ 1 h 544"/>
                    <a:gd name="T4" fmla="*/ 1 w 528"/>
                    <a:gd name="T5" fmla="*/ 1 h 544"/>
                    <a:gd name="T6" fmla="*/ 1 w 528"/>
                    <a:gd name="T7" fmla="*/ 1 h 544"/>
                    <a:gd name="T8" fmla="*/ 1 w 528"/>
                    <a:gd name="T9" fmla="*/ 1 h 544"/>
                    <a:gd name="T10" fmla="*/ 1 w 528"/>
                    <a:gd name="T11" fmla="*/ 1 h 544"/>
                    <a:gd name="T12" fmla="*/ 1 w 528"/>
                    <a:gd name="T13" fmla="*/ 1 h 544"/>
                    <a:gd name="T14" fmla="*/ 1 w 528"/>
                    <a:gd name="T15" fmla="*/ 1 h 544"/>
                    <a:gd name="T16" fmla="*/ 1 w 528"/>
                    <a:gd name="T17" fmla="*/ 1 h 544"/>
                    <a:gd name="T18" fmla="*/ 1 w 528"/>
                    <a:gd name="T19" fmla="*/ 1 h 544"/>
                    <a:gd name="T20" fmla="*/ 1 w 528"/>
                    <a:gd name="T21" fmla="*/ 1 h 544"/>
                    <a:gd name="T22" fmla="*/ 1 w 528"/>
                    <a:gd name="T23" fmla="*/ 1 h 544"/>
                    <a:gd name="T24" fmla="*/ 1 w 528"/>
                    <a:gd name="T25" fmla="*/ 1 h 544"/>
                    <a:gd name="T26" fmla="*/ 1 w 528"/>
                    <a:gd name="T27" fmla="*/ 1 h 544"/>
                    <a:gd name="T28" fmla="*/ 1 w 528"/>
                    <a:gd name="T29" fmla="*/ 1 h 544"/>
                    <a:gd name="T30" fmla="*/ 1 w 528"/>
                    <a:gd name="T31" fmla="*/ 1 h 544"/>
                    <a:gd name="T32" fmla="*/ 1 w 528"/>
                    <a:gd name="T33" fmla="*/ 1 h 544"/>
                    <a:gd name="T34" fmla="*/ 1 w 528"/>
                    <a:gd name="T35" fmla="*/ 1 h 544"/>
                    <a:gd name="T36" fmla="*/ 1 w 528"/>
                    <a:gd name="T37" fmla="*/ 1 h 544"/>
                    <a:gd name="T38" fmla="*/ 1 w 528"/>
                    <a:gd name="T39" fmla="*/ 1 h 544"/>
                    <a:gd name="T40" fmla="*/ 1 w 528"/>
                    <a:gd name="T41" fmla="*/ 1 h 544"/>
                    <a:gd name="T42" fmla="*/ 1 w 528"/>
                    <a:gd name="T43" fmla="*/ 1 h 544"/>
                    <a:gd name="T44" fmla="*/ 1 w 528"/>
                    <a:gd name="T45" fmla="*/ 1 h 544"/>
                    <a:gd name="T46" fmla="*/ 1 w 528"/>
                    <a:gd name="T47" fmla="*/ 1 h 544"/>
                    <a:gd name="T48" fmla="*/ 0 w 528"/>
                    <a:gd name="T49" fmla="*/ 1 h 544"/>
                    <a:gd name="T50" fmla="*/ 1 w 528"/>
                    <a:gd name="T51" fmla="*/ 1 h 544"/>
                    <a:gd name="T52" fmla="*/ 1 w 528"/>
                    <a:gd name="T53" fmla="*/ 1 h 544"/>
                    <a:gd name="T54" fmla="*/ 1 w 528"/>
                    <a:gd name="T55" fmla="*/ 1 h 544"/>
                    <a:gd name="T56" fmla="*/ 1 w 528"/>
                    <a:gd name="T57" fmla="*/ 1 h 544"/>
                    <a:gd name="T58" fmla="*/ 1 w 528"/>
                    <a:gd name="T59" fmla="*/ 1 h 544"/>
                    <a:gd name="T60" fmla="*/ 1 w 528"/>
                    <a:gd name="T61" fmla="*/ 1 h 544"/>
                    <a:gd name="T62" fmla="*/ 1 w 528"/>
                    <a:gd name="T63" fmla="*/ 1 h 544"/>
                    <a:gd name="T64" fmla="*/ 1 w 528"/>
                    <a:gd name="T65" fmla="*/ 1 h 544"/>
                    <a:gd name="T66" fmla="*/ 1 w 528"/>
                    <a:gd name="T67" fmla="*/ 1 h 544"/>
                    <a:gd name="T68" fmla="*/ 1 w 528"/>
                    <a:gd name="T69" fmla="*/ 1 h 544"/>
                    <a:gd name="T70" fmla="*/ 1 w 528"/>
                    <a:gd name="T71" fmla="*/ 1 h 544"/>
                    <a:gd name="T72" fmla="*/ 1 w 528"/>
                    <a:gd name="T73" fmla="*/ 1 h 544"/>
                    <a:gd name="T74" fmla="*/ 1 w 528"/>
                    <a:gd name="T75" fmla="*/ 1 h 544"/>
                    <a:gd name="T76" fmla="*/ 1 w 528"/>
                    <a:gd name="T77" fmla="*/ 1 h 544"/>
                    <a:gd name="T78" fmla="*/ 1 w 528"/>
                    <a:gd name="T79" fmla="*/ 1 h 544"/>
                    <a:gd name="T80" fmla="*/ 1 w 528"/>
                    <a:gd name="T81" fmla="*/ 1 h 544"/>
                    <a:gd name="T82" fmla="*/ 1 w 528"/>
                    <a:gd name="T83" fmla="*/ 1 h 544"/>
                    <a:gd name="T84" fmla="*/ 1 w 528"/>
                    <a:gd name="T85" fmla="*/ 1 h 544"/>
                    <a:gd name="T86" fmla="*/ 1 w 528"/>
                    <a:gd name="T87" fmla="*/ 1 h 544"/>
                    <a:gd name="T88" fmla="*/ 1 w 528"/>
                    <a:gd name="T89" fmla="*/ 1 h 544"/>
                    <a:gd name="T90" fmla="*/ 1 w 528"/>
                    <a:gd name="T91" fmla="*/ 1 h 544"/>
                    <a:gd name="T92" fmla="*/ 1 w 528"/>
                    <a:gd name="T93" fmla="*/ 1 h 544"/>
                    <a:gd name="T94" fmla="*/ 1 w 528"/>
                    <a:gd name="T95" fmla="*/ 1 h 544"/>
                    <a:gd name="T96" fmla="*/ 1 w 528"/>
                    <a:gd name="T97" fmla="*/ 1 h 544"/>
                    <a:gd name="T98" fmla="*/ 1 w 528"/>
                    <a:gd name="T99" fmla="*/ 1 h 544"/>
                    <a:gd name="T100" fmla="*/ 1 w 528"/>
                    <a:gd name="T101" fmla="*/ 1 h 544"/>
                    <a:gd name="T102" fmla="*/ 1 w 528"/>
                    <a:gd name="T103" fmla="*/ 1 h 544"/>
                    <a:gd name="T104" fmla="*/ 1 w 528"/>
                    <a:gd name="T105" fmla="*/ 1 h 544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528"/>
                    <a:gd name="T160" fmla="*/ 0 h 544"/>
                    <a:gd name="T161" fmla="*/ 528 w 528"/>
                    <a:gd name="T162" fmla="*/ 544 h 544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528" h="544">
                      <a:moveTo>
                        <a:pt x="496" y="72"/>
                      </a:moveTo>
                      <a:lnTo>
                        <a:pt x="488" y="48"/>
                      </a:lnTo>
                      <a:lnTo>
                        <a:pt x="472" y="40"/>
                      </a:lnTo>
                      <a:lnTo>
                        <a:pt x="456" y="40"/>
                      </a:lnTo>
                      <a:lnTo>
                        <a:pt x="432" y="48"/>
                      </a:lnTo>
                      <a:lnTo>
                        <a:pt x="432" y="72"/>
                      </a:lnTo>
                      <a:lnTo>
                        <a:pt x="416" y="88"/>
                      </a:lnTo>
                      <a:lnTo>
                        <a:pt x="408" y="80"/>
                      </a:lnTo>
                      <a:lnTo>
                        <a:pt x="392" y="80"/>
                      </a:lnTo>
                      <a:lnTo>
                        <a:pt x="384" y="88"/>
                      </a:lnTo>
                      <a:lnTo>
                        <a:pt x="368" y="88"/>
                      </a:lnTo>
                      <a:lnTo>
                        <a:pt x="344" y="64"/>
                      </a:lnTo>
                      <a:lnTo>
                        <a:pt x="336" y="64"/>
                      </a:lnTo>
                      <a:lnTo>
                        <a:pt x="328" y="72"/>
                      </a:lnTo>
                      <a:lnTo>
                        <a:pt x="312" y="72"/>
                      </a:lnTo>
                      <a:lnTo>
                        <a:pt x="312" y="88"/>
                      </a:lnTo>
                      <a:lnTo>
                        <a:pt x="296" y="96"/>
                      </a:lnTo>
                      <a:lnTo>
                        <a:pt x="288" y="88"/>
                      </a:lnTo>
                      <a:lnTo>
                        <a:pt x="272" y="88"/>
                      </a:lnTo>
                      <a:lnTo>
                        <a:pt x="272" y="104"/>
                      </a:lnTo>
                      <a:lnTo>
                        <a:pt x="256" y="112"/>
                      </a:lnTo>
                      <a:lnTo>
                        <a:pt x="248" y="120"/>
                      </a:lnTo>
                      <a:lnTo>
                        <a:pt x="232" y="128"/>
                      </a:lnTo>
                      <a:lnTo>
                        <a:pt x="240" y="136"/>
                      </a:lnTo>
                      <a:lnTo>
                        <a:pt x="240" y="144"/>
                      </a:lnTo>
                      <a:lnTo>
                        <a:pt x="216" y="168"/>
                      </a:lnTo>
                      <a:lnTo>
                        <a:pt x="200" y="168"/>
                      </a:lnTo>
                      <a:lnTo>
                        <a:pt x="192" y="184"/>
                      </a:lnTo>
                      <a:lnTo>
                        <a:pt x="200" y="192"/>
                      </a:lnTo>
                      <a:lnTo>
                        <a:pt x="200" y="232"/>
                      </a:lnTo>
                      <a:lnTo>
                        <a:pt x="184" y="256"/>
                      </a:lnTo>
                      <a:lnTo>
                        <a:pt x="192" y="272"/>
                      </a:lnTo>
                      <a:lnTo>
                        <a:pt x="184" y="288"/>
                      </a:lnTo>
                      <a:lnTo>
                        <a:pt x="160" y="280"/>
                      </a:lnTo>
                      <a:lnTo>
                        <a:pt x="152" y="296"/>
                      </a:lnTo>
                      <a:lnTo>
                        <a:pt x="152" y="328"/>
                      </a:lnTo>
                      <a:lnTo>
                        <a:pt x="152" y="376"/>
                      </a:lnTo>
                      <a:lnTo>
                        <a:pt x="168" y="392"/>
                      </a:lnTo>
                      <a:lnTo>
                        <a:pt x="168" y="408"/>
                      </a:lnTo>
                      <a:lnTo>
                        <a:pt x="152" y="416"/>
                      </a:lnTo>
                      <a:lnTo>
                        <a:pt x="152" y="424"/>
                      </a:lnTo>
                      <a:lnTo>
                        <a:pt x="160" y="432"/>
                      </a:lnTo>
                      <a:lnTo>
                        <a:pt x="160" y="448"/>
                      </a:lnTo>
                      <a:lnTo>
                        <a:pt x="152" y="456"/>
                      </a:lnTo>
                      <a:lnTo>
                        <a:pt x="144" y="496"/>
                      </a:lnTo>
                      <a:lnTo>
                        <a:pt x="144" y="504"/>
                      </a:lnTo>
                      <a:lnTo>
                        <a:pt x="136" y="520"/>
                      </a:lnTo>
                      <a:lnTo>
                        <a:pt x="136" y="512"/>
                      </a:lnTo>
                      <a:lnTo>
                        <a:pt x="136" y="496"/>
                      </a:lnTo>
                      <a:lnTo>
                        <a:pt x="120" y="488"/>
                      </a:lnTo>
                      <a:lnTo>
                        <a:pt x="128" y="472"/>
                      </a:lnTo>
                      <a:lnTo>
                        <a:pt x="120" y="472"/>
                      </a:lnTo>
                      <a:lnTo>
                        <a:pt x="112" y="480"/>
                      </a:lnTo>
                      <a:lnTo>
                        <a:pt x="112" y="488"/>
                      </a:lnTo>
                      <a:lnTo>
                        <a:pt x="104" y="496"/>
                      </a:lnTo>
                      <a:lnTo>
                        <a:pt x="96" y="496"/>
                      </a:lnTo>
                      <a:lnTo>
                        <a:pt x="88" y="496"/>
                      </a:lnTo>
                      <a:lnTo>
                        <a:pt x="88" y="504"/>
                      </a:lnTo>
                      <a:lnTo>
                        <a:pt x="80" y="528"/>
                      </a:lnTo>
                      <a:lnTo>
                        <a:pt x="64" y="528"/>
                      </a:lnTo>
                      <a:lnTo>
                        <a:pt x="56" y="536"/>
                      </a:lnTo>
                      <a:lnTo>
                        <a:pt x="40" y="544"/>
                      </a:lnTo>
                      <a:lnTo>
                        <a:pt x="32" y="528"/>
                      </a:lnTo>
                      <a:lnTo>
                        <a:pt x="40" y="520"/>
                      </a:lnTo>
                      <a:lnTo>
                        <a:pt x="32" y="528"/>
                      </a:lnTo>
                      <a:lnTo>
                        <a:pt x="24" y="528"/>
                      </a:lnTo>
                      <a:lnTo>
                        <a:pt x="24" y="512"/>
                      </a:lnTo>
                      <a:lnTo>
                        <a:pt x="16" y="512"/>
                      </a:lnTo>
                      <a:lnTo>
                        <a:pt x="8" y="504"/>
                      </a:lnTo>
                      <a:lnTo>
                        <a:pt x="16" y="496"/>
                      </a:lnTo>
                      <a:lnTo>
                        <a:pt x="24" y="496"/>
                      </a:lnTo>
                      <a:lnTo>
                        <a:pt x="24" y="488"/>
                      </a:lnTo>
                      <a:lnTo>
                        <a:pt x="32" y="480"/>
                      </a:lnTo>
                      <a:lnTo>
                        <a:pt x="24" y="480"/>
                      </a:lnTo>
                      <a:lnTo>
                        <a:pt x="16" y="480"/>
                      </a:lnTo>
                      <a:lnTo>
                        <a:pt x="8" y="488"/>
                      </a:lnTo>
                      <a:lnTo>
                        <a:pt x="8" y="472"/>
                      </a:lnTo>
                      <a:lnTo>
                        <a:pt x="16" y="472"/>
                      </a:lnTo>
                      <a:lnTo>
                        <a:pt x="24" y="464"/>
                      </a:lnTo>
                      <a:lnTo>
                        <a:pt x="24" y="456"/>
                      </a:lnTo>
                      <a:lnTo>
                        <a:pt x="32" y="448"/>
                      </a:lnTo>
                      <a:lnTo>
                        <a:pt x="32" y="432"/>
                      </a:lnTo>
                      <a:lnTo>
                        <a:pt x="32" y="440"/>
                      </a:lnTo>
                      <a:lnTo>
                        <a:pt x="24" y="448"/>
                      </a:lnTo>
                      <a:lnTo>
                        <a:pt x="16" y="448"/>
                      </a:lnTo>
                      <a:lnTo>
                        <a:pt x="8" y="440"/>
                      </a:lnTo>
                      <a:lnTo>
                        <a:pt x="16" y="440"/>
                      </a:lnTo>
                      <a:lnTo>
                        <a:pt x="16" y="432"/>
                      </a:lnTo>
                      <a:lnTo>
                        <a:pt x="8" y="432"/>
                      </a:lnTo>
                      <a:lnTo>
                        <a:pt x="8" y="424"/>
                      </a:lnTo>
                      <a:lnTo>
                        <a:pt x="24" y="416"/>
                      </a:lnTo>
                      <a:lnTo>
                        <a:pt x="32" y="416"/>
                      </a:lnTo>
                      <a:lnTo>
                        <a:pt x="40" y="416"/>
                      </a:lnTo>
                      <a:lnTo>
                        <a:pt x="48" y="408"/>
                      </a:lnTo>
                      <a:lnTo>
                        <a:pt x="40" y="408"/>
                      </a:lnTo>
                      <a:lnTo>
                        <a:pt x="16" y="408"/>
                      </a:lnTo>
                      <a:lnTo>
                        <a:pt x="16" y="416"/>
                      </a:lnTo>
                      <a:lnTo>
                        <a:pt x="0" y="408"/>
                      </a:lnTo>
                      <a:lnTo>
                        <a:pt x="8" y="400"/>
                      </a:lnTo>
                      <a:lnTo>
                        <a:pt x="0" y="384"/>
                      </a:lnTo>
                      <a:lnTo>
                        <a:pt x="8" y="384"/>
                      </a:lnTo>
                      <a:lnTo>
                        <a:pt x="8" y="376"/>
                      </a:lnTo>
                      <a:lnTo>
                        <a:pt x="8" y="368"/>
                      </a:lnTo>
                      <a:lnTo>
                        <a:pt x="16" y="368"/>
                      </a:lnTo>
                      <a:lnTo>
                        <a:pt x="24" y="352"/>
                      </a:lnTo>
                      <a:lnTo>
                        <a:pt x="40" y="352"/>
                      </a:lnTo>
                      <a:lnTo>
                        <a:pt x="40" y="344"/>
                      </a:lnTo>
                      <a:lnTo>
                        <a:pt x="48" y="344"/>
                      </a:lnTo>
                      <a:lnTo>
                        <a:pt x="48" y="336"/>
                      </a:lnTo>
                      <a:lnTo>
                        <a:pt x="56" y="328"/>
                      </a:lnTo>
                      <a:lnTo>
                        <a:pt x="64" y="328"/>
                      </a:lnTo>
                      <a:lnTo>
                        <a:pt x="64" y="320"/>
                      </a:lnTo>
                      <a:lnTo>
                        <a:pt x="80" y="312"/>
                      </a:lnTo>
                      <a:lnTo>
                        <a:pt x="88" y="312"/>
                      </a:lnTo>
                      <a:lnTo>
                        <a:pt x="88" y="304"/>
                      </a:lnTo>
                      <a:lnTo>
                        <a:pt x="96" y="304"/>
                      </a:lnTo>
                      <a:lnTo>
                        <a:pt x="96" y="288"/>
                      </a:lnTo>
                      <a:lnTo>
                        <a:pt x="128" y="264"/>
                      </a:lnTo>
                      <a:lnTo>
                        <a:pt x="128" y="256"/>
                      </a:lnTo>
                      <a:lnTo>
                        <a:pt x="144" y="232"/>
                      </a:lnTo>
                      <a:lnTo>
                        <a:pt x="152" y="232"/>
                      </a:lnTo>
                      <a:lnTo>
                        <a:pt x="160" y="224"/>
                      </a:lnTo>
                      <a:lnTo>
                        <a:pt x="152" y="224"/>
                      </a:lnTo>
                      <a:lnTo>
                        <a:pt x="152" y="216"/>
                      </a:lnTo>
                      <a:lnTo>
                        <a:pt x="160" y="208"/>
                      </a:lnTo>
                      <a:lnTo>
                        <a:pt x="160" y="192"/>
                      </a:lnTo>
                      <a:lnTo>
                        <a:pt x="168" y="176"/>
                      </a:lnTo>
                      <a:lnTo>
                        <a:pt x="176" y="176"/>
                      </a:lnTo>
                      <a:lnTo>
                        <a:pt x="184" y="168"/>
                      </a:lnTo>
                      <a:lnTo>
                        <a:pt x="176" y="168"/>
                      </a:lnTo>
                      <a:lnTo>
                        <a:pt x="168" y="168"/>
                      </a:lnTo>
                      <a:lnTo>
                        <a:pt x="168" y="160"/>
                      </a:lnTo>
                      <a:lnTo>
                        <a:pt x="176" y="160"/>
                      </a:lnTo>
                      <a:lnTo>
                        <a:pt x="184" y="144"/>
                      </a:lnTo>
                      <a:lnTo>
                        <a:pt x="200" y="136"/>
                      </a:lnTo>
                      <a:lnTo>
                        <a:pt x="208" y="136"/>
                      </a:lnTo>
                      <a:lnTo>
                        <a:pt x="216" y="136"/>
                      </a:lnTo>
                      <a:lnTo>
                        <a:pt x="200" y="136"/>
                      </a:lnTo>
                      <a:lnTo>
                        <a:pt x="200" y="128"/>
                      </a:lnTo>
                      <a:lnTo>
                        <a:pt x="208" y="128"/>
                      </a:lnTo>
                      <a:lnTo>
                        <a:pt x="224" y="128"/>
                      </a:lnTo>
                      <a:lnTo>
                        <a:pt x="224" y="120"/>
                      </a:lnTo>
                      <a:lnTo>
                        <a:pt x="208" y="120"/>
                      </a:lnTo>
                      <a:lnTo>
                        <a:pt x="224" y="104"/>
                      </a:lnTo>
                      <a:lnTo>
                        <a:pt x="232" y="112"/>
                      </a:lnTo>
                      <a:lnTo>
                        <a:pt x="240" y="112"/>
                      </a:lnTo>
                      <a:lnTo>
                        <a:pt x="240" y="104"/>
                      </a:lnTo>
                      <a:lnTo>
                        <a:pt x="256" y="104"/>
                      </a:lnTo>
                      <a:lnTo>
                        <a:pt x="256" y="96"/>
                      </a:lnTo>
                      <a:lnTo>
                        <a:pt x="248" y="96"/>
                      </a:lnTo>
                      <a:lnTo>
                        <a:pt x="232" y="96"/>
                      </a:lnTo>
                      <a:lnTo>
                        <a:pt x="240" y="88"/>
                      </a:lnTo>
                      <a:lnTo>
                        <a:pt x="256" y="88"/>
                      </a:lnTo>
                      <a:lnTo>
                        <a:pt x="264" y="88"/>
                      </a:lnTo>
                      <a:lnTo>
                        <a:pt x="264" y="80"/>
                      </a:lnTo>
                      <a:lnTo>
                        <a:pt x="264" y="72"/>
                      </a:lnTo>
                      <a:lnTo>
                        <a:pt x="280" y="72"/>
                      </a:lnTo>
                      <a:lnTo>
                        <a:pt x="288" y="72"/>
                      </a:lnTo>
                      <a:lnTo>
                        <a:pt x="288" y="64"/>
                      </a:lnTo>
                      <a:lnTo>
                        <a:pt x="296" y="64"/>
                      </a:lnTo>
                      <a:lnTo>
                        <a:pt x="288" y="56"/>
                      </a:lnTo>
                      <a:lnTo>
                        <a:pt x="296" y="56"/>
                      </a:lnTo>
                      <a:lnTo>
                        <a:pt x="304" y="56"/>
                      </a:lnTo>
                      <a:lnTo>
                        <a:pt x="312" y="48"/>
                      </a:lnTo>
                      <a:lnTo>
                        <a:pt x="320" y="48"/>
                      </a:lnTo>
                      <a:lnTo>
                        <a:pt x="312" y="56"/>
                      </a:lnTo>
                      <a:lnTo>
                        <a:pt x="312" y="64"/>
                      </a:lnTo>
                      <a:lnTo>
                        <a:pt x="320" y="64"/>
                      </a:lnTo>
                      <a:lnTo>
                        <a:pt x="328" y="56"/>
                      </a:lnTo>
                      <a:lnTo>
                        <a:pt x="328" y="48"/>
                      </a:lnTo>
                      <a:lnTo>
                        <a:pt x="344" y="48"/>
                      </a:lnTo>
                      <a:lnTo>
                        <a:pt x="352" y="48"/>
                      </a:lnTo>
                      <a:lnTo>
                        <a:pt x="336" y="40"/>
                      </a:lnTo>
                      <a:lnTo>
                        <a:pt x="336" y="32"/>
                      </a:lnTo>
                      <a:lnTo>
                        <a:pt x="344" y="32"/>
                      </a:lnTo>
                      <a:lnTo>
                        <a:pt x="360" y="32"/>
                      </a:lnTo>
                      <a:lnTo>
                        <a:pt x="368" y="40"/>
                      </a:lnTo>
                      <a:lnTo>
                        <a:pt x="368" y="48"/>
                      </a:lnTo>
                      <a:lnTo>
                        <a:pt x="384" y="40"/>
                      </a:lnTo>
                      <a:lnTo>
                        <a:pt x="384" y="32"/>
                      </a:lnTo>
                      <a:lnTo>
                        <a:pt x="392" y="32"/>
                      </a:lnTo>
                      <a:lnTo>
                        <a:pt x="400" y="24"/>
                      </a:lnTo>
                      <a:lnTo>
                        <a:pt x="408" y="16"/>
                      </a:lnTo>
                      <a:lnTo>
                        <a:pt x="400" y="16"/>
                      </a:lnTo>
                      <a:lnTo>
                        <a:pt x="408" y="8"/>
                      </a:lnTo>
                      <a:lnTo>
                        <a:pt x="416" y="8"/>
                      </a:lnTo>
                      <a:lnTo>
                        <a:pt x="432" y="8"/>
                      </a:lnTo>
                      <a:lnTo>
                        <a:pt x="432" y="16"/>
                      </a:lnTo>
                      <a:lnTo>
                        <a:pt x="424" y="16"/>
                      </a:lnTo>
                      <a:lnTo>
                        <a:pt x="416" y="24"/>
                      </a:lnTo>
                      <a:lnTo>
                        <a:pt x="416" y="40"/>
                      </a:lnTo>
                      <a:lnTo>
                        <a:pt x="432" y="32"/>
                      </a:lnTo>
                      <a:lnTo>
                        <a:pt x="432" y="24"/>
                      </a:lnTo>
                      <a:lnTo>
                        <a:pt x="440" y="8"/>
                      </a:lnTo>
                      <a:lnTo>
                        <a:pt x="448" y="8"/>
                      </a:lnTo>
                      <a:lnTo>
                        <a:pt x="448" y="16"/>
                      </a:lnTo>
                      <a:lnTo>
                        <a:pt x="448" y="24"/>
                      </a:lnTo>
                      <a:lnTo>
                        <a:pt x="456" y="8"/>
                      </a:lnTo>
                      <a:lnTo>
                        <a:pt x="456" y="0"/>
                      </a:lnTo>
                      <a:lnTo>
                        <a:pt x="472" y="8"/>
                      </a:lnTo>
                      <a:lnTo>
                        <a:pt x="480" y="8"/>
                      </a:lnTo>
                      <a:lnTo>
                        <a:pt x="472" y="16"/>
                      </a:lnTo>
                      <a:lnTo>
                        <a:pt x="480" y="24"/>
                      </a:lnTo>
                      <a:lnTo>
                        <a:pt x="488" y="16"/>
                      </a:lnTo>
                      <a:lnTo>
                        <a:pt x="496" y="8"/>
                      </a:lnTo>
                      <a:lnTo>
                        <a:pt x="528" y="32"/>
                      </a:lnTo>
                      <a:lnTo>
                        <a:pt x="512" y="40"/>
                      </a:lnTo>
                      <a:lnTo>
                        <a:pt x="488" y="32"/>
                      </a:lnTo>
                      <a:lnTo>
                        <a:pt x="488" y="40"/>
                      </a:lnTo>
                      <a:lnTo>
                        <a:pt x="504" y="48"/>
                      </a:lnTo>
                      <a:lnTo>
                        <a:pt x="512" y="56"/>
                      </a:lnTo>
                      <a:lnTo>
                        <a:pt x="520" y="48"/>
                      </a:lnTo>
                      <a:lnTo>
                        <a:pt x="528" y="48"/>
                      </a:lnTo>
                      <a:lnTo>
                        <a:pt x="504" y="64"/>
                      </a:lnTo>
                      <a:lnTo>
                        <a:pt x="496" y="72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74" name="Freeform 270"/>
                <p:cNvSpPr>
                  <a:spLocks noChangeAspect="1"/>
                </p:cNvSpPr>
                <p:nvPr/>
              </p:nvSpPr>
              <p:spPr bwMode="auto">
                <a:xfrm>
                  <a:off x="2873" y="1896"/>
                  <a:ext cx="45" cy="56"/>
                </a:xfrm>
                <a:custGeom>
                  <a:avLst/>
                  <a:gdLst>
                    <a:gd name="T0" fmla="*/ 1 w 64"/>
                    <a:gd name="T1" fmla="*/ 1 h 80"/>
                    <a:gd name="T2" fmla="*/ 1 w 64"/>
                    <a:gd name="T3" fmla="*/ 1 h 80"/>
                    <a:gd name="T4" fmla="*/ 1 w 64"/>
                    <a:gd name="T5" fmla="*/ 1 h 80"/>
                    <a:gd name="T6" fmla="*/ 1 w 64"/>
                    <a:gd name="T7" fmla="*/ 1 h 80"/>
                    <a:gd name="T8" fmla="*/ 1 w 64"/>
                    <a:gd name="T9" fmla="*/ 1 h 80"/>
                    <a:gd name="T10" fmla="*/ 0 w 64"/>
                    <a:gd name="T11" fmla="*/ 1 h 80"/>
                    <a:gd name="T12" fmla="*/ 0 w 64"/>
                    <a:gd name="T13" fmla="*/ 1 h 80"/>
                    <a:gd name="T14" fmla="*/ 1 w 64"/>
                    <a:gd name="T15" fmla="*/ 1 h 80"/>
                    <a:gd name="T16" fmla="*/ 1 w 64"/>
                    <a:gd name="T17" fmla="*/ 1 h 80"/>
                    <a:gd name="T18" fmla="*/ 1 w 64"/>
                    <a:gd name="T19" fmla="*/ 0 h 80"/>
                    <a:gd name="T20" fmla="*/ 1 w 64"/>
                    <a:gd name="T21" fmla="*/ 0 h 80"/>
                    <a:gd name="T22" fmla="*/ 1 w 64"/>
                    <a:gd name="T23" fmla="*/ 1 h 80"/>
                    <a:gd name="T24" fmla="*/ 1 w 64"/>
                    <a:gd name="T25" fmla="*/ 1 h 80"/>
                    <a:gd name="T26" fmla="*/ 1 w 64"/>
                    <a:gd name="T27" fmla="*/ 1 h 80"/>
                    <a:gd name="T28" fmla="*/ 1 w 64"/>
                    <a:gd name="T29" fmla="*/ 1 h 80"/>
                    <a:gd name="T30" fmla="*/ 1 w 64"/>
                    <a:gd name="T31" fmla="*/ 1 h 80"/>
                    <a:gd name="T32" fmla="*/ 1 w 64"/>
                    <a:gd name="T33" fmla="*/ 1 h 80"/>
                    <a:gd name="T34" fmla="*/ 1 w 64"/>
                    <a:gd name="T35" fmla="*/ 1 h 80"/>
                    <a:gd name="T36" fmla="*/ 1 w 64"/>
                    <a:gd name="T37" fmla="*/ 1 h 80"/>
                    <a:gd name="T38" fmla="*/ 1 w 64"/>
                    <a:gd name="T39" fmla="*/ 1 h 80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64"/>
                    <a:gd name="T61" fmla="*/ 0 h 80"/>
                    <a:gd name="T62" fmla="*/ 64 w 64"/>
                    <a:gd name="T63" fmla="*/ 80 h 80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64" h="80">
                      <a:moveTo>
                        <a:pt x="40" y="80"/>
                      </a:moveTo>
                      <a:lnTo>
                        <a:pt x="24" y="80"/>
                      </a:lnTo>
                      <a:lnTo>
                        <a:pt x="16" y="80"/>
                      </a:lnTo>
                      <a:lnTo>
                        <a:pt x="16" y="64"/>
                      </a:lnTo>
                      <a:lnTo>
                        <a:pt x="8" y="56"/>
                      </a:lnTo>
                      <a:lnTo>
                        <a:pt x="0" y="40"/>
                      </a:lnTo>
                      <a:lnTo>
                        <a:pt x="0" y="24"/>
                      </a:lnTo>
                      <a:lnTo>
                        <a:pt x="16" y="8"/>
                      </a:lnTo>
                      <a:lnTo>
                        <a:pt x="24" y="16"/>
                      </a:lnTo>
                      <a:lnTo>
                        <a:pt x="32" y="0"/>
                      </a:lnTo>
                      <a:lnTo>
                        <a:pt x="40" y="0"/>
                      </a:lnTo>
                      <a:lnTo>
                        <a:pt x="48" y="16"/>
                      </a:lnTo>
                      <a:lnTo>
                        <a:pt x="64" y="16"/>
                      </a:lnTo>
                      <a:lnTo>
                        <a:pt x="64" y="24"/>
                      </a:lnTo>
                      <a:lnTo>
                        <a:pt x="48" y="32"/>
                      </a:lnTo>
                      <a:lnTo>
                        <a:pt x="48" y="40"/>
                      </a:lnTo>
                      <a:lnTo>
                        <a:pt x="32" y="48"/>
                      </a:lnTo>
                      <a:lnTo>
                        <a:pt x="32" y="64"/>
                      </a:lnTo>
                      <a:lnTo>
                        <a:pt x="32" y="80"/>
                      </a:lnTo>
                      <a:lnTo>
                        <a:pt x="40" y="8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75" name="Freeform 271"/>
                <p:cNvSpPr>
                  <a:spLocks noChangeAspect="1"/>
                </p:cNvSpPr>
                <p:nvPr/>
              </p:nvSpPr>
              <p:spPr bwMode="auto">
                <a:xfrm>
                  <a:off x="2845" y="2059"/>
                  <a:ext cx="12" cy="17"/>
                </a:xfrm>
                <a:custGeom>
                  <a:avLst/>
                  <a:gdLst>
                    <a:gd name="T0" fmla="*/ 2 w 16"/>
                    <a:gd name="T1" fmla="*/ 1 h 24"/>
                    <a:gd name="T2" fmla="*/ 2 w 16"/>
                    <a:gd name="T3" fmla="*/ 1 h 24"/>
                    <a:gd name="T4" fmla="*/ 2 w 16"/>
                    <a:gd name="T5" fmla="*/ 0 h 24"/>
                    <a:gd name="T6" fmla="*/ 0 w 16"/>
                    <a:gd name="T7" fmla="*/ 0 h 24"/>
                    <a:gd name="T8" fmla="*/ 0 w 16"/>
                    <a:gd name="T9" fmla="*/ 1 h 24"/>
                    <a:gd name="T10" fmla="*/ 0 w 16"/>
                    <a:gd name="T11" fmla="*/ 1 h 24"/>
                    <a:gd name="T12" fmla="*/ 2 w 16"/>
                    <a:gd name="T13" fmla="*/ 1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6"/>
                    <a:gd name="T22" fmla="*/ 0 h 24"/>
                    <a:gd name="T23" fmla="*/ 16 w 16"/>
                    <a:gd name="T24" fmla="*/ 24 h 2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6" h="24">
                      <a:moveTo>
                        <a:pt x="16" y="24"/>
                      </a:moveTo>
                      <a:lnTo>
                        <a:pt x="8" y="8"/>
                      </a:ln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lnTo>
                        <a:pt x="0" y="24"/>
                      </a:lnTo>
                      <a:lnTo>
                        <a:pt x="16" y="24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76" name="Freeform 272"/>
                <p:cNvSpPr>
                  <a:spLocks noChangeAspect="1"/>
                </p:cNvSpPr>
                <p:nvPr/>
              </p:nvSpPr>
              <p:spPr bwMode="auto">
                <a:xfrm>
                  <a:off x="2924" y="1542"/>
                  <a:ext cx="180" cy="393"/>
                </a:xfrm>
                <a:custGeom>
                  <a:avLst/>
                  <a:gdLst>
                    <a:gd name="T0" fmla="*/ 1 w 256"/>
                    <a:gd name="T1" fmla="*/ 1 h 560"/>
                    <a:gd name="T2" fmla="*/ 1 w 256"/>
                    <a:gd name="T3" fmla="*/ 1 h 560"/>
                    <a:gd name="T4" fmla="*/ 1 w 256"/>
                    <a:gd name="T5" fmla="*/ 1 h 560"/>
                    <a:gd name="T6" fmla="*/ 1 w 256"/>
                    <a:gd name="T7" fmla="*/ 1 h 560"/>
                    <a:gd name="T8" fmla="*/ 1 w 256"/>
                    <a:gd name="T9" fmla="*/ 0 h 560"/>
                    <a:gd name="T10" fmla="*/ 1 w 256"/>
                    <a:gd name="T11" fmla="*/ 1 h 560"/>
                    <a:gd name="T12" fmla="*/ 1 w 256"/>
                    <a:gd name="T13" fmla="*/ 1 h 560"/>
                    <a:gd name="T14" fmla="*/ 1 w 256"/>
                    <a:gd name="T15" fmla="*/ 1 h 560"/>
                    <a:gd name="T16" fmla="*/ 1 w 256"/>
                    <a:gd name="T17" fmla="*/ 1 h 560"/>
                    <a:gd name="T18" fmla="*/ 1 w 256"/>
                    <a:gd name="T19" fmla="*/ 1 h 560"/>
                    <a:gd name="T20" fmla="*/ 1 w 256"/>
                    <a:gd name="T21" fmla="*/ 1 h 560"/>
                    <a:gd name="T22" fmla="*/ 1 w 256"/>
                    <a:gd name="T23" fmla="*/ 1 h 560"/>
                    <a:gd name="T24" fmla="*/ 1 w 256"/>
                    <a:gd name="T25" fmla="*/ 1 h 560"/>
                    <a:gd name="T26" fmla="*/ 1 w 256"/>
                    <a:gd name="T27" fmla="*/ 1 h 560"/>
                    <a:gd name="T28" fmla="*/ 1 w 256"/>
                    <a:gd name="T29" fmla="*/ 1 h 560"/>
                    <a:gd name="T30" fmla="*/ 1 w 256"/>
                    <a:gd name="T31" fmla="*/ 1 h 560"/>
                    <a:gd name="T32" fmla="*/ 1 w 256"/>
                    <a:gd name="T33" fmla="*/ 1 h 560"/>
                    <a:gd name="T34" fmla="*/ 1 w 256"/>
                    <a:gd name="T35" fmla="*/ 1 h 560"/>
                    <a:gd name="T36" fmla="*/ 1 w 256"/>
                    <a:gd name="T37" fmla="*/ 1 h 560"/>
                    <a:gd name="T38" fmla="*/ 1 w 256"/>
                    <a:gd name="T39" fmla="*/ 1 h 560"/>
                    <a:gd name="T40" fmla="*/ 1 w 256"/>
                    <a:gd name="T41" fmla="*/ 1 h 560"/>
                    <a:gd name="T42" fmla="*/ 1 w 256"/>
                    <a:gd name="T43" fmla="*/ 1 h 560"/>
                    <a:gd name="T44" fmla="*/ 1 w 256"/>
                    <a:gd name="T45" fmla="*/ 1 h 560"/>
                    <a:gd name="T46" fmla="*/ 1 w 256"/>
                    <a:gd name="T47" fmla="*/ 1 h 560"/>
                    <a:gd name="T48" fmla="*/ 1 w 256"/>
                    <a:gd name="T49" fmla="*/ 1 h 560"/>
                    <a:gd name="T50" fmla="*/ 1 w 256"/>
                    <a:gd name="T51" fmla="*/ 1 h 560"/>
                    <a:gd name="T52" fmla="*/ 1 w 256"/>
                    <a:gd name="T53" fmla="*/ 1 h 560"/>
                    <a:gd name="T54" fmla="*/ 1 w 256"/>
                    <a:gd name="T55" fmla="*/ 1 h 560"/>
                    <a:gd name="T56" fmla="*/ 1 w 256"/>
                    <a:gd name="T57" fmla="*/ 1 h 560"/>
                    <a:gd name="T58" fmla="*/ 1 w 256"/>
                    <a:gd name="T59" fmla="*/ 1 h 560"/>
                    <a:gd name="T60" fmla="*/ 1 w 256"/>
                    <a:gd name="T61" fmla="*/ 1 h 560"/>
                    <a:gd name="T62" fmla="*/ 1 w 256"/>
                    <a:gd name="T63" fmla="*/ 1 h 560"/>
                    <a:gd name="T64" fmla="*/ 1 w 256"/>
                    <a:gd name="T65" fmla="*/ 1 h 560"/>
                    <a:gd name="T66" fmla="*/ 1 w 256"/>
                    <a:gd name="T67" fmla="*/ 1 h 560"/>
                    <a:gd name="T68" fmla="*/ 1 w 256"/>
                    <a:gd name="T69" fmla="*/ 1 h 560"/>
                    <a:gd name="T70" fmla="*/ 1 w 256"/>
                    <a:gd name="T71" fmla="*/ 1 h 560"/>
                    <a:gd name="T72" fmla="*/ 1 w 256"/>
                    <a:gd name="T73" fmla="*/ 1 h 560"/>
                    <a:gd name="T74" fmla="*/ 1 w 256"/>
                    <a:gd name="T75" fmla="*/ 1 h 560"/>
                    <a:gd name="T76" fmla="*/ 1 w 256"/>
                    <a:gd name="T77" fmla="*/ 1 h 560"/>
                    <a:gd name="T78" fmla="*/ 1 w 256"/>
                    <a:gd name="T79" fmla="*/ 1 h 560"/>
                    <a:gd name="T80" fmla="*/ 1 w 256"/>
                    <a:gd name="T81" fmla="*/ 1 h 560"/>
                    <a:gd name="T82" fmla="*/ 1 w 256"/>
                    <a:gd name="T83" fmla="*/ 1 h 560"/>
                    <a:gd name="T84" fmla="*/ 1 w 256"/>
                    <a:gd name="T85" fmla="*/ 1 h 560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256"/>
                    <a:gd name="T130" fmla="*/ 0 h 560"/>
                    <a:gd name="T131" fmla="*/ 256 w 256"/>
                    <a:gd name="T132" fmla="*/ 560 h 560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256" h="560">
                      <a:moveTo>
                        <a:pt x="256" y="120"/>
                      </a:moveTo>
                      <a:lnTo>
                        <a:pt x="256" y="104"/>
                      </a:lnTo>
                      <a:lnTo>
                        <a:pt x="256" y="80"/>
                      </a:lnTo>
                      <a:lnTo>
                        <a:pt x="256" y="64"/>
                      </a:lnTo>
                      <a:lnTo>
                        <a:pt x="240" y="56"/>
                      </a:lnTo>
                      <a:lnTo>
                        <a:pt x="248" y="40"/>
                      </a:lnTo>
                      <a:lnTo>
                        <a:pt x="224" y="24"/>
                      </a:lnTo>
                      <a:lnTo>
                        <a:pt x="208" y="24"/>
                      </a:lnTo>
                      <a:lnTo>
                        <a:pt x="192" y="8"/>
                      </a:lnTo>
                      <a:lnTo>
                        <a:pt x="192" y="0"/>
                      </a:lnTo>
                      <a:lnTo>
                        <a:pt x="176" y="0"/>
                      </a:lnTo>
                      <a:lnTo>
                        <a:pt x="176" y="16"/>
                      </a:lnTo>
                      <a:lnTo>
                        <a:pt x="160" y="24"/>
                      </a:lnTo>
                      <a:lnTo>
                        <a:pt x="152" y="16"/>
                      </a:lnTo>
                      <a:lnTo>
                        <a:pt x="136" y="16"/>
                      </a:lnTo>
                      <a:lnTo>
                        <a:pt x="136" y="32"/>
                      </a:lnTo>
                      <a:lnTo>
                        <a:pt x="120" y="40"/>
                      </a:lnTo>
                      <a:lnTo>
                        <a:pt x="112" y="48"/>
                      </a:lnTo>
                      <a:lnTo>
                        <a:pt x="96" y="56"/>
                      </a:lnTo>
                      <a:lnTo>
                        <a:pt x="104" y="64"/>
                      </a:lnTo>
                      <a:lnTo>
                        <a:pt x="104" y="72"/>
                      </a:lnTo>
                      <a:lnTo>
                        <a:pt x="80" y="96"/>
                      </a:lnTo>
                      <a:lnTo>
                        <a:pt x="64" y="96"/>
                      </a:lnTo>
                      <a:lnTo>
                        <a:pt x="56" y="112"/>
                      </a:lnTo>
                      <a:lnTo>
                        <a:pt x="64" y="120"/>
                      </a:lnTo>
                      <a:lnTo>
                        <a:pt x="64" y="160"/>
                      </a:lnTo>
                      <a:lnTo>
                        <a:pt x="48" y="184"/>
                      </a:lnTo>
                      <a:lnTo>
                        <a:pt x="56" y="200"/>
                      </a:lnTo>
                      <a:lnTo>
                        <a:pt x="48" y="216"/>
                      </a:lnTo>
                      <a:lnTo>
                        <a:pt x="24" y="208"/>
                      </a:lnTo>
                      <a:lnTo>
                        <a:pt x="16" y="224"/>
                      </a:lnTo>
                      <a:lnTo>
                        <a:pt x="16" y="256"/>
                      </a:lnTo>
                      <a:lnTo>
                        <a:pt x="16" y="304"/>
                      </a:lnTo>
                      <a:lnTo>
                        <a:pt x="32" y="320"/>
                      </a:lnTo>
                      <a:lnTo>
                        <a:pt x="32" y="336"/>
                      </a:lnTo>
                      <a:lnTo>
                        <a:pt x="16" y="344"/>
                      </a:lnTo>
                      <a:lnTo>
                        <a:pt x="16" y="352"/>
                      </a:lnTo>
                      <a:lnTo>
                        <a:pt x="24" y="360"/>
                      </a:lnTo>
                      <a:lnTo>
                        <a:pt x="24" y="376"/>
                      </a:lnTo>
                      <a:lnTo>
                        <a:pt x="16" y="384"/>
                      </a:lnTo>
                      <a:lnTo>
                        <a:pt x="8" y="424"/>
                      </a:lnTo>
                      <a:lnTo>
                        <a:pt x="8" y="432"/>
                      </a:lnTo>
                      <a:lnTo>
                        <a:pt x="0" y="448"/>
                      </a:lnTo>
                      <a:lnTo>
                        <a:pt x="16" y="456"/>
                      </a:lnTo>
                      <a:lnTo>
                        <a:pt x="8" y="488"/>
                      </a:lnTo>
                      <a:lnTo>
                        <a:pt x="16" y="496"/>
                      </a:lnTo>
                      <a:lnTo>
                        <a:pt x="24" y="504"/>
                      </a:lnTo>
                      <a:lnTo>
                        <a:pt x="32" y="520"/>
                      </a:lnTo>
                      <a:lnTo>
                        <a:pt x="32" y="536"/>
                      </a:lnTo>
                      <a:lnTo>
                        <a:pt x="32" y="552"/>
                      </a:lnTo>
                      <a:lnTo>
                        <a:pt x="48" y="560"/>
                      </a:lnTo>
                      <a:lnTo>
                        <a:pt x="48" y="552"/>
                      </a:lnTo>
                      <a:lnTo>
                        <a:pt x="56" y="552"/>
                      </a:lnTo>
                      <a:lnTo>
                        <a:pt x="72" y="536"/>
                      </a:lnTo>
                      <a:lnTo>
                        <a:pt x="88" y="536"/>
                      </a:lnTo>
                      <a:lnTo>
                        <a:pt x="96" y="528"/>
                      </a:lnTo>
                      <a:lnTo>
                        <a:pt x="104" y="496"/>
                      </a:lnTo>
                      <a:lnTo>
                        <a:pt x="112" y="480"/>
                      </a:lnTo>
                      <a:lnTo>
                        <a:pt x="104" y="448"/>
                      </a:lnTo>
                      <a:lnTo>
                        <a:pt x="112" y="432"/>
                      </a:lnTo>
                      <a:lnTo>
                        <a:pt x="120" y="440"/>
                      </a:lnTo>
                      <a:lnTo>
                        <a:pt x="120" y="424"/>
                      </a:lnTo>
                      <a:lnTo>
                        <a:pt x="128" y="424"/>
                      </a:lnTo>
                      <a:lnTo>
                        <a:pt x="136" y="424"/>
                      </a:lnTo>
                      <a:lnTo>
                        <a:pt x="152" y="408"/>
                      </a:lnTo>
                      <a:lnTo>
                        <a:pt x="152" y="376"/>
                      </a:lnTo>
                      <a:lnTo>
                        <a:pt x="136" y="360"/>
                      </a:lnTo>
                      <a:lnTo>
                        <a:pt x="120" y="344"/>
                      </a:lnTo>
                      <a:lnTo>
                        <a:pt x="120" y="320"/>
                      </a:lnTo>
                      <a:lnTo>
                        <a:pt x="128" y="312"/>
                      </a:lnTo>
                      <a:lnTo>
                        <a:pt x="120" y="304"/>
                      </a:lnTo>
                      <a:lnTo>
                        <a:pt x="120" y="288"/>
                      </a:lnTo>
                      <a:lnTo>
                        <a:pt x="136" y="280"/>
                      </a:lnTo>
                      <a:lnTo>
                        <a:pt x="136" y="256"/>
                      </a:lnTo>
                      <a:lnTo>
                        <a:pt x="152" y="248"/>
                      </a:lnTo>
                      <a:lnTo>
                        <a:pt x="160" y="232"/>
                      </a:lnTo>
                      <a:lnTo>
                        <a:pt x="176" y="224"/>
                      </a:lnTo>
                      <a:lnTo>
                        <a:pt x="192" y="208"/>
                      </a:lnTo>
                      <a:lnTo>
                        <a:pt x="208" y="184"/>
                      </a:lnTo>
                      <a:lnTo>
                        <a:pt x="200" y="176"/>
                      </a:lnTo>
                      <a:lnTo>
                        <a:pt x="200" y="168"/>
                      </a:lnTo>
                      <a:lnTo>
                        <a:pt x="208" y="152"/>
                      </a:lnTo>
                      <a:lnTo>
                        <a:pt x="208" y="144"/>
                      </a:lnTo>
                      <a:lnTo>
                        <a:pt x="224" y="128"/>
                      </a:lnTo>
                      <a:lnTo>
                        <a:pt x="224" y="120"/>
                      </a:lnTo>
                      <a:lnTo>
                        <a:pt x="240" y="120"/>
                      </a:lnTo>
                      <a:lnTo>
                        <a:pt x="256" y="12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77" name="Freeform 273"/>
                <p:cNvSpPr>
                  <a:spLocks noChangeAspect="1"/>
                </p:cNvSpPr>
                <p:nvPr/>
              </p:nvSpPr>
              <p:spPr bwMode="auto">
                <a:xfrm>
                  <a:off x="3059" y="1519"/>
                  <a:ext cx="152" cy="293"/>
                </a:xfrm>
                <a:custGeom>
                  <a:avLst/>
                  <a:gdLst>
                    <a:gd name="T0" fmla="*/ 1 w 216"/>
                    <a:gd name="T1" fmla="*/ 1 h 416"/>
                    <a:gd name="T2" fmla="*/ 1 w 216"/>
                    <a:gd name="T3" fmla="*/ 1 h 416"/>
                    <a:gd name="T4" fmla="*/ 1 w 216"/>
                    <a:gd name="T5" fmla="*/ 1 h 416"/>
                    <a:gd name="T6" fmla="*/ 1 w 216"/>
                    <a:gd name="T7" fmla="*/ 1 h 416"/>
                    <a:gd name="T8" fmla="*/ 1 w 216"/>
                    <a:gd name="T9" fmla="*/ 1 h 416"/>
                    <a:gd name="T10" fmla="*/ 1 w 216"/>
                    <a:gd name="T11" fmla="*/ 1 h 416"/>
                    <a:gd name="T12" fmla="*/ 1 w 216"/>
                    <a:gd name="T13" fmla="*/ 1 h 416"/>
                    <a:gd name="T14" fmla="*/ 1 w 216"/>
                    <a:gd name="T15" fmla="*/ 1 h 416"/>
                    <a:gd name="T16" fmla="*/ 1 w 216"/>
                    <a:gd name="T17" fmla="*/ 1 h 416"/>
                    <a:gd name="T18" fmla="*/ 1 w 216"/>
                    <a:gd name="T19" fmla="*/ 1 h 416"/>
                    <a:gd name="T20" fmla="*/ 1 w 216"/>
                    <a:gd name="T21" fmla="*/ 1 h 416"/>
                    <a:gd name="T22" fmla="*/ 1 w 216"/>
                    <a:gd name="T23" fmla="*/ 0 h 416"/>
                    <a:gd name="T24" fmla="*/ 1 w 216"/>
                    <a:gd name="T25" fmla="*/ 1 h 416"/>
                    <a:gd name="T26" fmla="*/ 1 w 216"/>
                    <a:gd name="T27" fmla="*/ 1 h 416"/>
                    <a:gd name="T28" fmla="*/ 1 w 216"/>
                    <a:gd name="T29" fmla="*/ 1 h 416"/>
                    <a:gd name="T30" fmla="*/ 1 w 216"/>
                    <a:gd name="T31" fmla="*/ 1 h 416"/>
                    <a:gd name="T32" fmla="*/ 0 w 216"/>
                    <a:gd name="T33" fmla="*/ 1 h 416"/>
                    <a:gd name="T34" fmla="*/ 1 w 216"/>
                    <a:gd name="T35" fmla="*/ 1 h 416"/>
                    <a:gd name="T36" fmla="*/ 1 w 216"/>
                    <a:gd name="T37" fmla="*/ 1 h 416"/>
                    <a:gd name="T38" fmla="*/ 1 w 216"/>
                    <a:gd name="T39" fmla="*/ 1 h 416"/>
                    <a:gd name="T40" fmla="*/ 1 w 216"/>
                    <a:gd name="T41" fmla="*/ 1 h 416"/>
                    <a:gd name="T42" fmla="*/ 1 w 216"/>
                    <a:gd name="T43" fmla="*/ 1 h 416"/>
                    <a:gd name="T44" fmla="*/ 1 w 216"/>
                    <a:gd name="T45" fmla="*/ 1 h 416"/>
                    <a:gd name="T46" fmla="*/ 1 w 216"/>
                    <a:gd name="T47" fmla="*/ 1 h 416"/>
                    <a:gd name="T48" fmla="*/ 1 w 216"/>
                    <a:gd name="T49" fmla="*/ 1 h 416"/>
                    <a:gd name="T50" fmla="*/ 1 w 216"/>
                    <a:gd name="T51" fmla="*/ 1 h 416"/>
                    <a:gd name="T52" fmla="*/ 1 w 216"/>
                    <a:gd name="T53" fmla="*/ 1 h 416"/>
                    <a:gd name="T54" fmla="*/ 1 w 216"/>
                    <a:gd name="T55" fmla="*/ 1 h 416"/>
                    <a:gd name="T56" fmla="*/ 1 w 216"/>
                    <a:gd name="T57" fmla="*/ 1 h 416"/>
                    <a:gd name="T58" fmla="*/ 1 w 216"/>
                    <a:gd name="T59" fmla="*/ 1 h 416"/>
                    <a:gd name="T60" fmla="*/ 1 w 216"/>
                    <a:gd name="T61" fmla="*/ 1 h 416"/>
                    <a:gd name="T62" fmla="*/ 1 w 216"/>
                    <a:gd name="T63" fmla="*/ 1 h 416"/>
                    <a:gd name="T64" fmla="*/ 1 w 216"/>
                    <a:gd name="T65" fmla="*/ 1 h 416"/>
                    <a:gd name="T66" fmla="*/ 1 w 216"/>
                    <a:gd name="T67" fmla="*/ 1 h 416"/>
                    <a:gd name="T68" fmla="*/ 1 w 216"/>
                    <a:gd name="T69" fmla="*/ 1 h 416"/>
                    <a:gd name="T70" fmla="*/ 1 w 216"/>
                    <a:gd name="T71" fmla="*/ 1 h 416"/>
                    <a:gd name="T72" fmla="*/ 1 w 216"/>
                    <a:gd name="T73" fmla="*/ 1 h 416"/>
                    <a:gd name="T74" fmla="*/ 1 w 216"/>
                    <a:gd name="T75" fmla="*/ 1 h 41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216"/>
                    <a:gd name="T115" fmla="*/ 0 h 416"/>
                    <a:gd name="T116" fmla="*/ 216 w 216"/>
                    <a:gd name="T117" fmla="*/ 416 h 416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216" h="416">
                      <a:moveTo>
                        <a:pt x="152" y="384"/>
                      </a:moveTo>
                      <a:lnTo>
                        <a:pt x="160" y="368"/>
                      </a:lnTo>
                      <a:lnTo>
                        <a:pt x="184" y="336"/>
                      </a:lnTo>
                      <a:lnTo>
                        <a:pt x="216" y="288"/>
                      </a:lnTo>
                      <a:lnTo>
                        <a:pt x="200" y="272"/>
                      </a:lnTo>
                      <a:lnTo>
                        <a:pt x="184" y="264"/>
                      </a:lnTo>
                      <a:lnTo>
                        <a:pt x="184" y="256"/>
                      </a:lnTo>
                      <a:lnTo>
                        <a:pt x="192" y="240"/>
                      </a:lnTo>
                      <a:lnTo>
                        <a:pt x="192" y="224"/>
                      </a:lnTo>
                      <a:lnTo>
                        <a:pt x="184" y="208"/>
                      </a:lnTo>
                      <a:lnTo>
                        <a:pt x="192" y="200"/>
                      </a:lnTo>
                      <a:lnTo>
                        <a:pt x="176" y="192"/>
                      </a:lnTo>
                      <a:lnTo>
                        <a:pt x="184" y="176"/>
                      </a:lnTo>
                      <a:lnTo>
                        <a:pt x="184" y="160"/>
                      </a:lnTo>
                      <a:lnTo>
                        <a:pt x="184" y="136"/>
                      </a:lnTo>
                      <a:lnTo>
                        <a:pt x="160" y="104"/>
                      </a:lnTo>
                      <a:lnTo>
                        <a:pt x="176" y="88"/>
                      </a:lnTo>
                      <a:lnTo>
                        <a:pt x="168" y="72"/>
                      </a:lnTo>
                      <a:lnTo>
                        <a:pt x="152" y="56"/>
                      </a:lnTo>
                      <a:lnTo>
                        <a:pt x="152" y="48"/>
                      </a:lnTo>
                      <a:lnTo>
                        <a:pt x="168" y="32"/>
                      </a:lnTo>
                      <a:lnTo>
                        <a:pt x="160" y="8"/>
                      </a:lnTo>
                      <a:lnTo>
                        <a:pt x="144" y="0"/>
                      </a:lnTo>
                      <a:lnTo>
                        <a:pt x="128" y="0"/>
                      </a:lnTo>
                      <a:lnTo>
                        <a:pt x="104" y="8"/>
                      </a:lnTo>
                      <a:lnTo>
                        <a:pt x="104" y="32"/>
                      </a:lnTo>
                      <a:lnTo>
                        <a:pt x="88" y="48"/>
                      </a:lnTo>
                      <a:lnTo>
                        <a:pt x="80" y="40"/>
                      </a:lnTo>
                      <a:lnTo>
                        <a:pt x="64" y="40"/>
                      </a:lnTo>
                      <a:lnTo>
                        <a:pt x="56" y="48"/>
                      </a:lnTo>
                      <a:lnTo>
                        <a:pt x="40" y="48"/>
                      </a:lnTo>
                      <a:lnTo>
                        <a:pt x="16" y="24"/>
                      </a:lnTo>
                      <a:lnTo>
                        <a:pt x="8" y="24"/>
                      </a:lnTo>
                      <a:lnTo>
                        <a:pt x="0" y="32"/>
                      </a:lnTo>
                      <a:lnTo>
                        <a:pt x="0" y="40"/>
                      </a:lnTo>
                      <a:lnTo>
                        <a:pt x="16" y="56"/>
                      </a:lnTo>
                      <a:lnTo>
                        <a:pt x="32" y="56"/>
                      </a:lnTo>
                      <a:lnTo>
                        <a:pt x="56" y="72"/>
                      </a:lnTo>
                      <a:lnTo>
                        <a:pt x="48" y="88"/>
                      </a:lnTo>
                      <a:lnTo>
                        <a:pt x="64" y="96"/>
                      </a:lnTo>
                      <a:lnTo>
                        <a:pt x="64" y="112"/>
                      </a:lnTo>
                      <a:lnTo>
                        <a:pt x="64" y="136"/>
                      </a:lnTo>
                      <a:lnTo>
                        <a:pt x="64" y="152"/>
                      </a:lnTo>
                      <a:lnTo>
                        <a:pt x="80" y="152"/>
                      </a:lnTo>
                      <a:lnTo>
                        <a:pt x="96" y="168"/>
                      </a:lnTo>
                      <a:lnTo>
                        <a:pt x="96" y="176"/>
                      </a:lnTo>
                      <a:lnTo>
                        <a:pt x="96" y="184"/>
                      </a:lnTo>
                      <a:lnTo>
                        <a:pt x="88" y="200"/>
                      </a:lnTo>
                      <a:lnTo>
                        <a:pt x="80" y="200"/>
                      </a:lnTo>
                      <a:lnTo>
                        <a:pt x="72" y="224"/>
                      </a:lnTo>
                      <a:lnTo>
                        <a:pt x="64" y="240"/>
                      </a:lnTo>
                      <a:lnTo>
                        <a:pt x="56" y="240"/>
                      </a:lnTo>
                      <a:lnTo>
                        <a:pt x="48" y="256"/>
                      </a:lnTo>
                      <a:lnTo>
                        <a:pt x="40" y="256"/>
                      </a:lnTo>
                      <a:lnTo>
                        <a:pt x="32" y="264"/>
                      </a:lnTo>
                      <a:lnTo>
                        <a:pt x="32" y="272"/>
                      </a:lnTo>
                      <a:lnTo>
                        <a:pt x="16" y="280"/>
                      </a:lnTo>
                      <a:lnTo>
                        <a:pt x="16" y="288"/>
                      </a:lnTo>
                      <a:lnTo>
                        <a:pt x="8" y="296"/>
                      </a:lnTo>
                      <a:lnTo>
                        <a:pt x="8" y="320"/>
                      </a:lnTo>
                      <a:lnTo>
                        <a:pt x="16" y="344"/>
                      </a:lnTo>
                      <a:lnTo>
                        <a:pt x="16" y="360"/>
                      </a:lnTo>
                      <a:lnTo>
                        <a:pt x="16" y="392"/>
                      </a:lnTo>
                      <a:lnTo>
                        <a:pt x="24" y="392"/>
                      </a:lnTo>
                      <a:lnTo>
                        <a:pt x="32" y="400"/>
                      </a:lnTo>
                      <a:lnTo>
                        <a:pt x="40" y="400"/>
                      </a:lnTo>
                      <a:lnTo>
                        <a:pt x="48" y="416"/>
                      </a:lnTo>
                      <a:lnTo>
                        <a:pt x="64" y="416"/>
                      </a:lnTo>
                      <a:lnTo>
                        <a:pt x="64" y="408"/>
                      </a:lnTo>
                      <a:lnTo>
                        <a:pt x="72" y="408"/>
                      </a:lnTo>
                      <a:lnTo>
                        <a:pt x="88" y="408"/>
                      </a:lnTo>
                      <a:lnTo>
                        <a:pt x="104" y="408"/>
                      </a:lnTo>
                      <a:lnTo>
                        <a:pt x="104" y="400"/>
                      </a:lnTo>
                      <a:lnTo>
                        <a:pt x="120" y="392"/>
                      </a:lnTo>
                      <a:lnTo>
                        <a:pt x="128" y="392"/>
                      </a:lnTo>
                      <a:lnTo>
                        <a:pt x="136" y="392"/>
                      </a:lnTo>
                      <a:lnTo>
                        <a:pt x="152" y="384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78" name="Freeform 274"/>
                <p:cNvSpPr>
                  <a:spLocks noChangeAspect="1"/>
                </p:cNvSpPr>
                <p:nvPr/>
              </p:nvSpPr>
              <p:spPr bwMode="auto">
                <a:xfrm>
                  <a:off x="1703" y="1069"/>
                  <a:ext cx="883" cy="748"/>
                </a:xfrm>
                <a:custGeom>
                  <a:avLst/>
                  <a:gdLst>
                    <a:gd name="T0" fmla="*/ 1 w 1256"/>
                    <a:gd name="T1" fmla="*/ 1 h 1064"/>
                    <a:gd name="T2" fmla="*/ 1 w 1256"/>
                    <a:gd name="T3" fmla="*/ 1 h 1064"/>
                    <a:gd name="T4" fmla="*/ 1 w 1256"/>
                    <a:gd name="T5" fmla="*/ 1 h 1064"/>
                    <a:gd name="T6" fmla="*/ 1 w 1256"/>
                    <a:gd name="T7" fmla="*/ 1 h 1064"/>
                    <a:gd name="T8" fmla="*/ 1 w 1256"/>
                    <a:gd name="T9" fmla="*/ 1 h 1064"/>
                    <a:gd name="T10" fmla="*/ 1 w 1256"/>
                    <a:gd name="T11" fmla="*/ 1 h 1064"/>
                    <a:gd name="T12" fmla="*/ 1 w 1256"/>
                    <a:gd name="T13" fmla="*/ 1 h 1064"/>
                    <a:gd name="T14" fmla="*/ 1 w 1256"/>
                    <a:gd name="T15" fmla="*/ 1 h 1064"/>
                    <a:gd name="T16" fmla="*/ 1 w 1256"/>
                    <a:gd name="T17" fmla="*/ 1 h 1064"/>
                    <a:gd name="T18" fmla="*/ 1 w 1256"/>
                    <a:gd name="T19" fmla="*/ 1 h 1064"/>
                    <a:gd name="T20" fmla="*/ 1 w 1256"/>
                    <a:gd name="T21" fmla="*/ 1 h 1064"/>
                    <a:gd name="T22" fmla="*/ 1 w 1256"/>
                    <a:gd name="T23" fmla="*/ 1 h 1064"/>
                    <a:gd name="T24" fmla="*/ 1 w 1256"/>
                    <a:gd name="T25" fmla="*/ 1 h 1064"/>
                    <a:gd name="T26" fmla="*/ 1 w 1256"/>
                    <a:gd name="T27" fmla="*/ 1 h 1064"/>
                    <a:gd name="T28" fmla="*/ 1 w 1256"/>
                    <a:gd name="T29" fmla="*/ 1 h 1064"/>
                    <a:gd name="T30" fmla="*/ 1 w 1256"/>
                    <a:gd name="T31" fmla="*/ 1 h 1064"/>
                    <a:gd name="T32" fmla="*/ 1 w 1256"/>
                    <a:gd name="T33" fmla="*/ 1 h 1064"/>
                    <a:gd name="T34" fmla="*/ 1 w 1256"/>
                    <a:gd name="T35" fmla="*/ 1 h 1064"/>
                    <a:gd name="T36" fmla="*/ 1 w 1256"/>
                    <a:gd name="T37" fmla="*/ 1 h 1064"/>
                    <a:gd name="T38" fmla="*/ 1 w 1256"/>
                    <a:gd name="T39" fmla="*/ 1 h 1064"/>
                    <a:gd name="T40" fmla="*/ 1 w 1256"/>
                    <a:gd name="T41" fmla="*/ 1 h 1064"/>
                    <a:gd name="T42" fmla="*/ 1 w 1256"/>
                    <a:gd name="T43" fmla="*/ 1 h 1064"/>
                    <a:gd name="T44" fmla="*/ 1 w 1256"/>
                    <a:gd name="T45" fmla="*/ 1 h 1064"/>
                    <a:gd name="T46" fmla="*/ 1 w 1256"/>
                    <a:gd name="T47" fmla="*/ 1 h 1064"/>
                    <a:gd name="T48" fmla="*/ 1 w 1256"/>
                    <a:gd name="T49" fmla="*/ 1 h 1064"/>
                    <a:gd name="T50" fmla="*/ 1 w 1256"/>
                    <a:gd name="T51" fmla="*/ 1 h 1064"/>
                    <a:gd name="T52" fmla="*/ 1 w 1256"/>
                    <a:gd name="T53" fmla="*/ 1 h 1064"/>
                    <a:gd name="T54" fmla="*/ 1 w 1256"/>
                    <a:gd name="T55" fmla="*/ 1 h 1064"/>
                    <a:gd name="T56" fmla="*/ 1 w 1256"/>
                    <a:gd name="T57" fmla="*/ 1 h 1064"/>
                    <a:gd name="T58" fmla="*/ 1 w 1256"/>
                    <a:gd name="T59" fmla="*/ 1 h 1064"/>
                    <a:gd name="T60" fmla="*/ 1 w 1256"/>
                    <a:gd name="T61" fmla="*/ 0 h 1064"/>
                    <a:gd name="T62" fmla="*/ 1 w 1256"/>
                    <a:gd name="T63" fmla="*/ 1 h 1064"/>
                    <a:gd name="T64" fmla="*/ 1 w 1256"/>
                    <a:gd name="T65" fmla="*/ 1 h 1064"/>
                    <a:gd name="T66" fmla="*/ 1 w 1256"/>
                    <a:gd name="T67" fmla="*/ 1 h 1064"/>
                    <a:gd name="T68" fmla="*/ 1 w 1256"/>
                    <a:gd name="T69" fmla="*/ 1 h 1064"/>
                    <a:gd name="T70" fmla="*/ 1 w 1256"/>
                    <a:gd name="T71" fmla="*/ 1 h 1064"/>
                    <a:gd name="T72" fmla="*/ 1 w 1256"/>
                    <a:gd name="T73" fmla="*/ 1 h 1064"/>
                    <a:gd name="T74" fmla="*/ 1 w 1256"/>
                    <a:gd name="T75" fmla="*/ 1 h 1064"/>
                    <a:gd name="T76" fmla="*/ 1 w 1256"/>
                    <a:gd name="T77" fmla="*/ 1 h 1064"/>
                    <a:gd name="T78" fmla="*/ 1 w 1256"/>
                    <a:gd name="T79" fmla="*/ 1 h 1064"/>
                    <a:gd name="T80" fmla="*/ 1 w 1256"/>
                    <a:gd name="T81" fmla="*/ 1 h 1064"/>
                    <a:gd name="T82" fmla="*/ 1 w 1256"/>
                    <a:gd name="T83" fmla="*/ 1 h 1064"/>
                    <a:gd name="T84" fmla="*/ 1 w 1256"/>
                    <a:gd name="T85" fmla="*/ 1 h 1064"/>
                    <a:gd name="T86" fmla="*/ 1 w 1256"/>
                    <a:gd name="T87" fmla="*/ 1 h 1064"/>
                    <a:gd name="T88" fmla="*/ 1 w 1256"/>
                    <a:gd name="T89" fmla="*/ 1 h 1064"/>
                    <a:gd name="T90" fmla="*/ 1 w 1256"/>
                    <a:gd name="T91" fmla="*/ 1 h 1064"/>
                    <a:gd name="T92" fmla="*/ 1 w 1256"/>
                    <a:gd name="T93" fmla="*/ 1 h 1064"/>
                    <a:gd name="T94" fmla="*/ 1 w 1256"/>
                    <a:gd name="T95" fmla="*/ 1 h 1064"/>
                    <a:gd name="T96" fmla="*/ 1 w 1256"/>
                    <a:gd name="T97" fmla="*/ 1 h 1064"/>
                    <a:gd name="T98" fmla="*/ 1 w 1256"/>
                    <a:gd name="T99" fmla="*/ 1 h 1064"/>
                    <a:gd name="T100" fmla="*/ 1 w 1256"/>
                    <a:gd name="T101" fmla="*/ 1 h 1064"/>
                    <a:gd name="T102" fmla="*/ 1 w 1256"/>
                    <a:gd name="T103" fmla="*/ 1 h 1064"/>
                    <a:gd name="T104" fmla="*/ 1 w 1256"/>
                    <a:gd name="T105" fmla="*/ 1 h 1064"/>
                    <a:gd name="T106" fmla="*/ 1 w 1256"/>
                    <a:gd name="T107" fmla="*/ 1 h 1064"/>
                    <a:gd name="T108" fmla="*/ 1 w 1256"/>
                    <a:gd name="T109" fmla="*/ 1 h 1064"/>
                    <a:gd name="T110" fmla="*/ 1 w 1256"/>
                    <a:gd name="T111" fmla="*/ 1 h 1064"/>
                    <a:gd name="T112" fmla="*/ 1 w 1256"/>
                    <a:gd name="T113" fmla="*/ 1 h 1064"/>
                    <a:gd name="T114" fmla="*/ 1 w 1256"/>
                    <a:gd name="T115" fmla="*/ 1 h 1064"/>
                    <a:gd name="T116" fmla="*/ 1 w 1256"/>
                    <a:gd name="T117" fmla="*/ 1 h 1064"/>
                    <a:gd name="T118" fmla="*/ 1 w 1256"/>
                    <a:gd name="T119" fmla="*/ 1 h 1064"/>
                    <a:gd name="T120" fmla="*/ 1 w 1256"/>
                    <a:gd name="T121" fmla="*/ 1 h 1064"/>
                    <a:gd name="T122" fmla="*/ 1 w 1256"/>
                    <a:gd name="T123" fmla="*/ 1 h 1064"/>
                    <a:gd name="T124" fmla="*/ 1 w 1256"/>
                    <a:gd name="T125" fmla="*/ 1 h 1064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1256"/>
                    <a:gd name="T190" fmla="*/ 0 h 1064"/>
                    <a:gd name="T191" fmla="*/ 1256 w 1256"/>
                    <a:gd name="T192" fmla="*/ 1064 h 1064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1256" h="1064">
                      <a:moveTo>
                        <a:pt x="608" y="1064"/>
                      </a:moveTo>
                      <a:lnTo>
                        <a:pt x="600" y="1056"/>
                      </a:lnTo>
                      <a:lnTo>
                        <a:pt x="584" y="1064"/>
                      </a:lnTo>
                      <a:lnTo>
                        <a:pt x="584" y="1056"/>
                      </a:lnTo>
                      <a:lnTo>
                        <a:pt x="584" y="1040"/>
                      </a:lnTo>
                      <a:lnTo>
                        <a:pt x="560" y="1032"/>
                      </a:lnTo>
                      <a:lnTo>
                        <a:pt x="552" y="1016"/>
                      </a:lnTo>
                      <a:lnTo>
                        <a:pt x="528" y="1024"/>
                      </a:lnTo>
                      <a:lnTo>
                        <a:pt x="520" y="1032"/>
                      </a:lnTo>
                      <a:lnTo>
                        <a:pt x="512" y="1032"/>
                      </a:lnTo>
                      <a:lnTo>
                        <a:pt x="512" y="1016"/>
                      </a:lnTo>
                      <a:lnTo>
                        <a:pt x="504" y="1008"/>
                      </a:lnTo>
                      <a:lnTo>
                        <a:pt x="496" y="1000"/>
                      </a:lnTo>
                      <a:lnTo>
                        <a:pt x="488" y="992"/>
                      </a:lnTo>
                      <a:lnTo>
                        <a:pt x="480" y="976"/>
                      </a:lnTo>
                      <a:lnTo>
                        <a:pt x="480" y="968"/>
                      </a:lnTo>
                      <a:lnTo>
                        <a:pt x="464" y="960"/>
                      </a:lnTo>
                      <a:lnTo>
                        <a:pt x="464" y="952"/>
                      </a:lnTo>
                      <a:lnTo>
                        <a:pt x="472" y="944"/>
                      </a:lnTo>
                      <a:lnTo>
                        <a:pt x="464" y="936"/>
                      </a:lnTo>
                      <a:lnTo>
                        <a:pt x="464" y="928"/>
                      </a:lnTo>
                      <a:lnTo>
                        <a:pt x="456" y="920"/>
                      </a:lnTo>
                      <a:lnTo>
                        <a:pt x="456" y="912"/>
                      </a:lnTo>
                      <a:lnTo>
                        <a:pt x="448" y="904"/>
                      </a:lnTo>
                      <a:lnTo>
                        <a:pt x="448" y="888"/>
                      </a:lnTo>
                      <a:lnTo>
                        <a:pt x="464" y="888"/>
                      </a:lnTo>
                      <a:lnTo>
                        <a:pt x="464" y="872"/>
                      </a:lnTo>
                      <a:lnTo>
                        <a:pt x="464" y="864"/>
                      </a:lnTo>
                      <a:lnTo>
                        <a:pt x="472" y="872"/>
                      </a:lnTo>
                      <a:lnTo>
                        <a:pt x="480" y="856"/>
                      </a:lnTo>
                      <a:lnTo>
                        <a:pt x="456" y="848"/>
                      </a:lnTo>
                      <a:lnTo>
                        <a:pt x="448" y="856"/>
                      </a:lnTo>
                      <a:lnTo>
                        <a:pt x="440" y="872"/>
                      </a:lnTo>
                      <a:lnTo>
                        <a:pt x="432" y="872"/>
                      </a:lnTo>
                      <a:lnTo>
                        <a:pt x="432" y="856"/>
                      </a:lnTo>
                      <a:lnTo>
                        <a:pt x="432" y="832"/>
                      </a:lnTo>
                      <a:lnTo>
                        <a:pt x="432" y="824"/>
                      </a:lnTo>
                      <a:lnTo>
                        <a:pt x="416" y="808"/>
                      </a:lnTo>
                      <a:lnTo>
                        <a:pt x="424" y="808"/>
                      </a:lnTo>
                      <a:lnTo>
                        <a:pt x="424" y="792"/>
                      </a:lnTo>
                      <a:lnTo>
                        <a:pt x="408" y="792"/>
                      </a:lnTo>
                      <a:lnTo>
                        <a:pt x="400" y="776"/>
                      </a:lnTo>
                      <a:lnTo>
                        <a:pt x="408" y="768"/>
                      </a:lnTo>
                      <a:lnTo>
                        <a:pt x="416" y="768"/>
                      </a:lnTo>
                      <a:lnTo>
                        <a:pt x="424" y="752"/>
                      </a:lnTo>
                      <a:lnTo>
                        <a:pt x="408" y="752"/>
                      </a:lnTo>
                      <a:lnTo>
                        <a:pt x="400" y="752"/>
                      </a:lnTo>
                      <a:lnTo>
                        <a:pt x="400" y="736"/>
                      </a:lnTo>
                      <a:lnTo>
                        <a:pt x="432" y="728"/>
                      </a:lnTo>
                      <a:lnTo>
                        <a:pt x="440" y="728"/>
                      </a:lnTo>
                      <a:lnTo>
                        <a:pt x="456" y="736"/>
                      </a:lnTo>
                      <a:lnTo>
                        <a:pt x="464" y="728"/>
                      </a:lnTo>
                      <a:lnTo>
                        <a:pt x="456" y="720"/>
                      </a:lnTo>
                      <a:lnTo>
                        <a:pt x="432" y="720"/>
                      </a:lnTo>
                      <a:lnTo>
                        <a:pt x="424" y="720"/>
                      </a:lnTo>
                      <a:lnTo>
                        <a:pt x="408" y="728"/>
                      </a:lnTo>
                      <a:lnTo>
                        <a:pt x="400" y="728"/>
                      </a:lnTo>
                      <a:lnTo>
                        <a:pt x="400" y="720"/>
                      </a:lnTo>
                      <a:lnTo>
                        <a:pt x="416" y="712"/>
                      </a:lnTo>
                      <a:lnTo>
                        <a:pt x="440" y="712"/>
                      </a:lnTo>
                      <a:lnTo>
                        <a:pt x="464" y="720"/>
                      </a:lnTo>
                      <a:lnTo>
                        <a:pt x="464" y="712"/>
                      </a:lnTo>
                      <a:lnTo>
                        <a:pt x="456" y="712"/>
                      </a:lnTo>
                      <a:lnTo>
                        <a:pt x="448" y="704"/>
                      </a:lnTo>
                      <a:lnTo>
                        <a:pt x="432" y="712"/>
                      </a:lnTo>
                      <a:lnTo>
                        <a:pt x="424" y="704"/>
                      </a:lnTo>
                      <a:lnTo>
                        <a:pt x="440" y="696"/>
                      </a:lnTo>
                      <a:lnTo>
                        <a:pt x="456" y="696"/>
                      </a:lnTo>
                      <a:lnTo>
                        <a:pt x="456" y="688"/>
                      </a:lnTo>
                      <a:lnTo>
                        <a:pt x="448" y="688"/>
                      </a:lnTo>
                      <a:lnTo>
                        <a:pt x="456" y="672"/>
                      </a:lnTo>
                      <a:lnTo>
                        <a:pt x="472" y="664"/>
                      </a:lnTo>
                      <a:lnTo>
                        <a:pt x="464" y="656"/>
                      </a:lnTo>
                      <a:lnTo>
                        <a:pt x="472" y="656"/>
                      </a:lnTo>
                      <a:lnTo>
                        <a:pt x="464" y="648"/>
                      </a:lnTo>
                      <a:lnTo>
                        <a:pt x="448" y="648"/>
                      </a:lnTo>
                      <a:lnTo>
                        <a:pt x="424" y="648"/>
                      </a:lnTo>
                      <a:lnTo>
                        <a:pt x="408" y="632"/>
                      </a:lnTo>
                      <a:lnTo>
                        <a:pt x="392" y="632"/>
                      </a:lnTo>
                      <a:lnTo>
                        <a:pt x="384" y="624"/>
                      </a:lnTo>
                      <a:lnTo>
                        <a:pt x="384" y="616"/>
                      </a:lnTo>
                      <a:lnTo>
                        <a:pt x="408" y="624"/>
                      </a:lnTo>
                      <a:lnTo>
                        <a:pt x="424" y="624"/>
                      </a:lnTo>
                      <a:lnTo>
                        <a:pt x="432" y="624"/>
                      </a:lnTo>
                      <a:lnTo>
                        <a:pt x="456" y="640"/>
                      </a:lnTo>
                      <a:lnTo>
                        <a:pt x="464" y="632"/>
                      </a:lnTo>
                      <a:lnTo>
                        <a:pt x="448" y="624"/>
                      </a:lnTo>
                      <a:lnTo>
                        <a:pt x="440" y="616"/>
                      </a:lnTo>
                      <a:lnTo>
                        <a:pt x="448" y="608"/>
                      </a:lnTo>
                      <a:lnTo>
                        <a:pt x="440" y="600"/>
                      </a:lnTo>
                      <a:lnTo>
                        <a:pt x="424" y="592"/>
                      </a:lnTo>
                      <a:lnTo>
                        <a:pt x="432" y="592"/>
                      </a:lnTo>
                      <a:lnTo>
                        <a:pt x="408" y="576"/>
                      </a:lnTo>
                      <a:lnTo>
                        <a:pt x="408" y="568"/>
                      </a:lnTo>
                      <a:lnTo>
                        <a:pt x="400" y="568"/>
                      </a:lnTo>
                      <a:lnTo>
                        <a:pt x="400" y="584"/>
                      </a:lnTo>
                      <a:lnTo>
                        <a:pt x="392" y="584"/>
                      </a:lnTo>
                      <a:lnTo>
                        <a:pt x="392" y="592"/>
                      </a:lnTo>
                      <a:lnTo>
                        <a:pt x="368" y="592"/>
                      </a:lnTo>
                      <a:lnTo>
                        <a:pt x="360" y="584"/>
                      </a:lnTo>
                      <a:lnTo>
                        <a:pt x="376" y="576"/>
                      </a:lnTo>
                      <a:lnTo>
                        <a:pt x="368" y="568"/>
                      </a:lnTo>
                      <a:lnTo>
                        <a:pt x="368" y="560"/>
                      </a:lnTo>
                      <a:lnTo>
                        <a:pt x="368" y="552"/>
                      </a:lnTo>
                      <a:lnTo>
                        <a:pt x="384" y="552"/>
                      </a:lnTo>
                      <a:lnTo>
                        <a:pt x="376" y="536"/>
                      </a:lnTo>
                      <a:lnTo>
                        <a:pt x="360" y="528"/>
                      </a:lnTo>
                      <a:lnTo>
                        <a:pt x="368" y="520"/>
                      </a:lnTo>
                      <a:lnTo>
                        <a:pt x="352" y="504"/>
                      </a:lnTo>
                      <a:lnTo>
                        <a:pt x="352" y="496"/>
                      </a:lnTo>
                      <a:lnTo>
                        <a:pt x="344" y="488"/>
                      </a:lnTo>
                      <a:lnTo>
                        <a:pt x="344" y="472"/>
                      </a:lnTo>
                      <a:lnTo>
                        <a:pt x="352" y="464"/>
                      </a:lnTo>
                      <a:lnTo>
                        <a:pt x="336" y="464"/>
                      </a:lnTo>
                      <a:lnTo>
                        <a:pt x="328" y="456"/>
                      </a:lnTo>
                      <a:lnTo>
                        <a:pt x="304" y="432"/>
                      </a:lnTo>
                      <a:lnTo>
                        <a:pt x="296" y="424"/>
                      </a:lnTo>
                      <a:lnTo>
                        <a:pt x="296" y="416"/>
                      </a:lnTo>
                      <a:lnTo>
                        <a:pt x="280" y="408"/>
                      </a:lnTo>
                      <a:lnTo>
                        <a:pt x="272" y="408"/>
                      </a:lnTo>
                      <a:lnTo>
                        <a:pt x="264" y="400"/>
                      </a:lnTo>
                      <a:lnTo>
                        <a:pt x="256" y="408"/>
                      </a:lnTo>
                      <a:lnTo>
                        <a:pt x="240" y="400"/>
                      </a:lnTo>
                      <a:lnTo>
                        <a:pt x="248" y="400"/>
                      </a:lnTo>
                      <a:lnTo>
                        <a:pt x="224" y="392"/>
                      </a:lnTo>
                      <a:lnTo>
                        <a:pt x="216" y="400"/>
                      </a:lnTo>
                      <a:lnTo>
                        <a:pt x="208" y="392"/>
                      </a:lnTo>
                      <a:lnTo>
                        <a:pt x="200" y="392"/>
                      </a:lnTo>
                      <a:lnTo>
                        <a:pt x="200" y="400"/>
                      </a:lnTo>
                      <a:lnTo>
                        <a:pt x="184" y="400"/>
                      </a:lnTo>
                      <a:lnTo>
                        <a:pt x="184" y="392"/>
                      </a:lnTo>
                      <a:lnTo>
                        <a:pt x="176" y="392"/>
                      </a:lnTo>
                      <a:lnTo>
                        <a:pt x="176" y="400"/>
                      </a:lnTo>
                      <a:lnTo>
                        <a:pt x="160" y="400"/>
                      </a:lnTo>
                      <a:lnTo>
                        <a:pt x="152" y="400"/>
                      </a:lnTo>
                      <a:lnTo>
                        <a:pt x="152" y="392"/>
                      </a:lnTo>
                      <a:lnTo>
                        <a:pt x="144" y="392"/>
                      </a:lnTo>
                      <a:lnTo>
                        <a:pt x="136" y="400"/>
                      </a:lnTo>
                      <a:lnTo>
                        <a:pt x="128" y="392"/>
                      </a:lnTo>
                      <a:lnTo>
                        <a:pt x="120" y="392"/>
                      </a:lnTo>
                      <a:lnTo>
                        <a:pt x="120" y="400"/>
                      </a:lnTo>
                      <a:lnTo>
                        <a:pt x="136" y="400"/>
                      </a:lnTo>
                      <a:lnTo>
                        <a:pt x="136" y="408"/>
                      </a:lnTo>
                      <a:lnTo>
                        <a:pt x="120" y="408"/>
                      </a:lnTo>
                      <a:lnTo>
                        <a:pt x="112" y="400"/>
                      </a:lnTo>
                      <a:lnTo>
                        <a:pt x="88" y="400"/>
                      </a:lnTo>
                      <a:lnTo>
                        <a:pt x="72" y="392"/>
                      </a:lnTo>
                      <a:lnTo>
                        <a:pt x="88" y="384"/>
                      </a:lnTo>
                      <a:lnTo>
                        <a:pt x="104" y="384"/>
                      </a:lnTo>
                      <a:lnTo>
                        <a:pt x="104" y="376"/>
                      </a:lnTo>
                      <a:lnTo>
                        <a:pt x="72" y="376"/>
                      </a:lnTo>
                      <a:lnTo>
                        <a:pt x="72" y="368"/>
                      </a:lnTo>
                      <a:lnTo>
                        <a:pt x="64" y="368"/>
                      </a:lnTo>
                      <a:lnTo>
                        <a:pt x="56" y="368"/>
                      </a:lnTo>
                      <a:lnTo>
                        <a:pt x="48" y="376"/>
                      </a:lnTo>
                      <a:lnTo>
                        <a:pt x="32" y="360"/>
                      </a:lnTo>
                      <a:lnTo>
                        <a:pt x="56" y="360"/>
                      </a:lnTo>
                      <a:lnTo>
                        <a:pt x="72" y="360"/>
                      </a:lnTo>
                      <a:lnTo>
                        <a:pt x="88" y="360"/>
                      </a:lnTo>
                      <a:lnTo>
                        <a:pt x="104" y="360"/>
                      </a:lnTo>
                      <a:lnTo>
                        <a:pt x="112" y="360"/>
                      </a:lnTo>
                      <a:lnTo>
                        <a:pt x="128" y="368"/>
                      </a:lnTo>
                      <a:lnTo>
                        <a:pt x="136" y="360"/>
                      </a:lnTo>
                      <a:lnTo>
                        <a:pt x="112" y="352"/>
                      </a:lnTo>
                      <a:lnTo>
                        <a:pt x="88" y="360"/>
                      </a:lnTo>
                      <a:lnTo>
                        <a:pt x="88" y="352"/>
                      </a:lnTo>
                      <a:lnTo>
                        <a:pt x="112" y="352"/>
                      </a:lnTo>
                      <a:lnTo>
                        <a:pt x="120" y="352"/>
                      </a:lnTo>
                      <a:lnTo>
                        <a:pt x="136" y="352"/>
                      </a:lnTo>
                      <a:lnTo>
                        <a:pt x="144" y="344"/>
                      </a:lnTo>
                      <a:lnTo>
                        <a:pt x="136" y="336"/>
                      </a:lnTo>
                      <a:lnTo>
                        <a:pt x="120" y="336"/>
                      </a:lnTo>
                      <a:lnTo>
                        <a:pt x="112" y="344"/>
                      </a:lnTo>
                      <a:lnTo>
                        <a:pt x="104" y="344"/>
                      </a:lnTo>
                      <a:lnTo>
                        <a:pt x="96" y="344"/>
                      </a:lnTo>
                      <a:lnTo>
                        <a:pt x="80" y="344"/>
                      </a:lnTo>
                      <a:lnTo>
                        <a:pt x="64" y="344"/>
                      </a:lnTo>
                      <a:lnTo>
                        <a:pt x="64" y="336"/>
                      </a:lnTo>
                      <a:lnTo>
                        <a:pt x="56" y="336"/>
                      </a:lnTo>
                      <a:lnTo>
                        <a:pt x="48" y="336"/>
                      </a:lnTo>
                      <a:lnTo>
                        <a:pt x="32" y="336"/>
                      </a:lnTo>
                      <a:lnTo>
                        <a:pt x="32" y="328"/>
                      </a:lnTo>
                      <a:lnTo>
                        <a:pt x="16" y="328"/>
                      </a:lnTo>
                      <a:lnTo>
                        <a:pt x="0" y="320"/>
                      </a:lnTo>
                      <a:lnTo>
                        <a:pt x="8" y="312"/>
                      </a:lnTo>
                      <a:lnTo>
                        <a:pt x="0" y="312"/>
                      </a:lnTo>
                      <a:lnTo>
                        <a:pt x="8" y="304"/>
                      </a:lnTo>
                      <a:lnTo>
                        <a:pt x="16" y="304"/>
                      </a:lnTo>
                      <a:lnTo>
                        <a:pt x="24" y="296"/>
                      </a:lnTo>
                      <a:lnTo>
                        <a:pt x="40" y="296"/>
                      </a:lnTo>
                      <a:lnTo>
                        <a:pt x="48" y="296"/>
                      </a:lnTo>
                      <a:lnTo>
                        <a:pt x="64" y="288"/>
                      </a:lnTo>
                      <a:lnTo>
                        <a:pt x="80" y="288"/>
                      </a:lnTo>
                      <a:lnTo>
                        <a:pt x="88" y="288"/>
                      </a:lnTo>
                      <a:lnTo>
                        <a:pt x="80" y="280"/>
                      </a:lnTo>
                      <a:lnTo>
                        <a:pt x="96" y="280"/>
                      </a:lnTo>
                      <a:lnTo>
                        <a:pt x="104" y="272"/>
                      </a:lnTo>
                      <a:lnTo>
                        <a:pt x="136" y="272"/>
                      </a:lnTo>
                      <a:lnTo>
                        <a:pt x="144" y="280"/>
                      </a:lnTo>
                      <a:lnTo>
                        <a:pt x="176" y="256"/>
                      </a:lnTo>
                      <a:lnTo>
                        <a:pt x="160" y="240"/>
                      </a:lnTo>
                      <a:lnTo>
                        <a:pt x="184" y="240"/>
                      </a:lnTo>
                      <a:lnTo>
                        <a:pt x="176" y="232"/>
                      </a:lnTo>
                      <a:lnTo>
                        <a:pt x="184" y="224"/>
                      </a:lnTo>
                      <a:lnTo>
                        <a:pt x="176" y="224"/>
                      </a:lnTo>
                      <a:lnTo>
                        <a:pt x="168" y="224"/>
                      </a:lnTo>
                      <a:lnTo>
                        <a:pt x="160" y="224"/>
                      </a:lnTo>
                      <a:lnTo>
                        <a:pt x="152" y="232"/>
                      </a:lnTo>
                      <a:lnTo>
                        <a:pt x="120" y="232"/>
                      </a:lnTo>
                      <a:lnTo>
                        <a:pt x="120" y="224"/>
                      </a:lnTo>
                      <a:lnTo>
                        <a:pt x="112" y="216"/>
                      </a:lnTo>
                      <a:lnTo>
                        <a:pt x="112" y="208"/>
                      </a:lnTo>
                      <a:lnTo>
                        <a:pt x="136" y="208"/>
                      </a:lnTo>
                      <a:lnTo>
                        <a:pt x="144" y="200"/>
                      </a:lnTo>
                      <a:lnTo>
                        <a:pt x="152" y="200"/>
                      </a:lnTo>
                      <a:lnTo>
                        <a:pt x="152" y="192"/>
                      </a:lnTo>
                      <a:lnTo>
                        <a:pt x="184" y="168"/>
                      </a:lnTo>
                      <a:lnTo>
                        <a:pt x="192" y="168"/>
                      </a:lnTo>
                      <a:lnTo>
                        <a:pt x="200" y="184"/>
                      </a:lnTo>
                      <a:lnTo>
                        <a:pt x="200" y="168"/>
                      </a:lnTo>
                      <a:lnTo>
                        <a:pt x="216" y="168"/>
                      </a:lnTo>
                      <a:lnTo>
                        <a:pt x="224" y="168"/>
                      </a:lnTo>
                      <a:lnTo>
                        <a:pt x="240" y="168"/>
                      </a:lnTo>
                      <a:lnTo>
                        <a:pt x="240" y="160"/>
                      </a:lnTo>
                      <a:lnTo>
                        <a:pt x="240" y="152"/>
                      </a:lnTo>
                      <a:lnTo>
                        <a:pt x="248" y="144"/>
                      </a:lnTo>
                      <a:lnTo>
                        <a:pt x="232" y="144"/>
                      </a:lnTo>
                      <a:lnTo>
                        <a:pt x="232" y="136"/>
                      </a:lnTo>
                      <a:lnTo>
                        <a:pt x="232" y="128"/>
                      </a:lnTo>
                      <a:lnTo>
                        <a:pt x="248" y="128"/>
                      </a:lnTo>
                      <a:lnTo>
                        <a:pt x="272" y="128"/>
                      </a:lnTo>
                      <a:lnTo>
                        <a:pt x="280" y="128"/>
                      </a:lnTo>
                      <a:lnTo>
                        <a:pt x="280" y="136"/>
                      </a:lnTo>
                      <a:lnTo>
                        <a:pt x="312" y="152"/>
                      </a:lnTo>
                      <a:lnTo>
                        <a:pt x="312" y="144"/>
                      </a:lnTo>
                      <a:lnTo>
                        <a:pt x="296" y="128"/>
                      </a:lnTo>
                      <a:lnTo>
                        <a:pt x="288" y="120"/>
                      </a:lnTo>
                      <a:lnTo>
                        <a:pt x="272" y="112"/>
                      </a:lnTo>
                      <a:lnTo>
                        <a:pt x="312" y="104"/>
                      </a:lnTo>
                      <a:lnTo>
                        <a:pt x="328" y="104"/>
                      </a:lnTo>
                      <a:lnTo>
                        <a:pt x="344" y="104"/>
                      </a:lnTo>
                      <a:lnTo>
                        <a:pt x="360" y="104"/>
                      </a:lnTo>
                      <a:lnTo>
                        <a:pt x="352" y="96"/>
                      </a:lnTo>
                      <a:lnTo>
                        <a:pt x="376" y="96"/>
                      </a:lnTo>
                      <a:lnTo>
                        <a:pt x="384" y="96"/>
                      </a:lnTo>
                      <a:lnTo>
                        <a:pt x="392" y="112"/>
                      </a:lnTo>
                      <a:lnTo>
                        <a:pt x="384" y="144"/>
                      </a:lnTo>
                      <a:lnTo>
                        <a:pt x="392" y="144"/>
                      </a:lnTo>
                      <a:lnTo>
                        <a:pt x="400" y="144"/>
                      </a:lnTo>
                      <a:lnTo>
                        <a:pt x="408" y="120"/>
                      </a:lnTo>
                      <a:lnTo>
                        <a:pt x="400" y="120"/>
                      </a:lnTo>
                      <a:lnTo>
                        <a:pt x="408" y="120"/>
                      </a:lnTo>
                      <a:lnTo>
                        <a:pt x="424" y="120"/>
                      </a:lnTo>
                      <a:lnTo>
                        <a:pt x="472" y="144"/>
                      </a:lnTo>
                      <a:lnTo>
                        <a:pt x="480" y="136"/>
                      </a:lnTo>
                      <a:lnTo>
                        <a:pt x="448" y="120"/>
                      </a:lnTo>
                      <a:lnTo>
                        <a:pt x="472" y="120"/>
                      </a:lnTo>
                      <a:lnTo>
                        <a:pt x="464" y="120"/>
                      </a:lnTo>
                      <a:lnTo>
                        <a:pt x="448" y="104"/>
                      </a:lnTo>
                      <a:lnTo>
                        <a:pt x="448" y="88"/>
                      </a:lnTo>
                      <a:lnTo>
                        <a:pt x="440" y="88"/>
                      </a:lnTo>
                      <a:lnTo>
                        <a:pt x="448" y="80"/>
                      </a:lnTo>
                      <a:lnTo>
                        <a:pt x="472" y="80"/>
                      </a:lnTo>
                      <a:lnTo>
                        <a:pt x="488" y="88"/>
                      </a:lnTo>
                      <a:lnTo>
                        <a:pt x="488" y="96"/>
                      </a:lnTo>
                      <a:lnTo>
                        <a:pt x="504" y="96"/>
                      </a:lnTo>
                      <a:lnTo>
                        <a:pt x="512" y="104"/>
                      </a:lnTo>
                      <a:lnTo>
                        <a:pt x="528" y="104"/>
                      </a:lnTo>
                      <a:lnTo>
                        <a:pt x="536" y="112"/>
                      </a:lnTo>
                      <a:lnTo>
                        <a:pt x="568" y="128"/>
                      </a:lnTo>
                      <a:lnTo>
                        <a:pt x="584" y="128"/>
                      </a:lnTo>
                      <a:lnTo>
                        <a:pt x="568" y="120"/>
                      </a:lnTo>
                      <a:lnTo>
                        <a:pt x="568" y="104"/>
                      </a:lnTo>
                      <a:lnTo>
                        <a:pt x="576" y="96"/>
                      </a:lnTo>
                      <a:lnTo>
                        <a:pt x="592" y="104"/>
                      </a:lnTo>
                      <a:lnTo>
                        <a:pt x="608" y="104"/>
                      </a:lnTo>
                      <a:lnTo>
                        <a:pt x="616" y="96"/>
                      </a:lnTo>
                      <a:lnTo>
                        <a:pt x="584" y="96"/>
                      </a:lnTo>
                      <a:lnTo>
                        <a:pt x="592" y="88"/>
                      </a:lnTo>
                      <a:lnTo>
                        <a:pt x="560" y="72"/>
                      </a:lnTo>
                      <a:lnTo>
                        <a:pt x="544" y="64"/>
                      </a:lnTo>
                      <a:lnTo>
                        <a:pt x="560" y="64"/>
                      </a:lnTo>
                      <a:lnTo>
                        <a:pt x="584" y="64"/>
                      </a:lnTo>
                      <a:lnTo>
                        <a:pt x="616" y="64"/>
                      </a:lnTo>
                      <a:lnTo>
                        <a:pt x="624" y="64"/>
                      </a:lnTo>
                      <a:lnTo>
                        <a:pt x="624" y="80"/>
                      </a:lnTo>
                      <a:lnTo>
                        <a:pt x="632" y="80"/>
                      </a:lnTo>
                      <a:lnTo>
                        <a:pt x="632" y="72"/>
                      </a:lnTo>
                      <a:lnTo>
                        <a:pt x="632" y="64"/>
                      </a:lnTo>
                      <a:lnTo>
                        <a:pt x="648" y="72"/>
                      </a:lnTo>
                      <a:lnTo>
                        <a:pt x="656" y="80"/>
                      </a:lnTo>
                      <a:lnTo>
                        <a:pt x="656" y="88"/>
                      </a:lnTo>
                      <a:lnTo>
                        <a:pt x="664" y="88"/>
                      </a:lnTo>
                      <a:lnTo>
                        <a:pt x="656" y="72"/>
                      </a:lnTo>
                      <a:lnTo>
                        <a:pt x="648" y="64"/>
                      </a:lnTo>
                      <a:lnTo>
                        <a:pt x="608" y="56"/>
                      </a:lnTo>
                      <a:lnTo>
                        <a:pt x="568" y="64"/>
                      </a:lnTo>
                      <a:lnTo>
                        <a:pt x="568" y="56"/>
                      </a:lnTo>
                      <a:lnTo>
                        <a:pt x="584" y="56"/>
                      </a:lnTo>
                      <a:lnTo>
                        <a:pt x="584" y="48"/>
                      </a:lnTo>
                      <a:lnTo>
                        <a:pt x="568" y="48"/>
                      </a:lnTo>
                      <a:lnTo>
                        <a:pt x="552" y="40"/>
                      </a:lnTo>
                      <a:lnTo>
                        <a:pt x="560" y="40"/>
                      </a:lnTo>
                      <a:lnTo>
                        <a:pt x="584" y="40"/>
                      </a:lnTo>
                      <a:lnTo>
                        <a:pt x="592" y="40"/>
                      </a:lnTo>
                      <a:lnTo>
                        <a:pt x="608" y="40"/>
                      </a:lnTo>
                      <a:lnTo>
                        <a:pt x="600" y="40"/>
                      </a:lnTo>
                      <a:lnTo>
                        <a:pt x="584" y="32"/>
                      </a:lnTo>
                      <a:lnTo>
                        <a:pt x="608" y="32"/>
                      </a:lnTo>
                      <a:lnTo>
                        <a:pt x="624" y="32"/>
                      </a:lnTo>
                      <a:lnTo>
                        <a:pt x="632" y="40"/>
                      </a:lnTo>
                      <a:lnTo>
                        <a:pt x="640" y="40"/>
                      </a:lnTo>
                      <a:lnTo>
                        <a:pt x="656" y="48"/>
                      </a:lnTo>
                      <a:lnTo>
                        <a:pt x="672" y="48"/>
                      </a:lnTo>
                      <a:lnTo>
                        <a:pt x="680" y="56"/>
                      </a:lnTo>
                      <a:lnTo>
                        <a:pt x="688" y="64"/>
                      </a:lnTo>
                      <a:lnTo>
                        <a:pt x="696" y="64"/>
                      </a:lnTo>
                      <a:lnTo>
                        <a:pt x="696" y="56"/>
                      </a:lnTo>
                      <a:lnTo>
                        <a:pt x="688" y="48"/>
                      </a:lnTo>
                      <a:lnTo>
                        <a:pt x="696" y="48"/>
                      </a:lnTo>
                      <a:lnTo>
                        <a:pt x="712" y="48"/>
                      </a:lnTo>
                      <a:lnTo>
                        <a:pt x="720" y="40"/>
                      </a:lnTo>
                      <a:lnTo>
                        <a:pt x="696" y="40"/>
                      </a:lnTo>
                      <a:lnTo>
                        <a:pt x="704" y="40"/>
                      </a:lnTo>
                      <a:lnTo>
                        <a:pt x="728" y="40"/>
                      </a:lnTo>
                      <a:lnTo>
                        <a:pt x="728" y="32"/>
                      </a:lnTo>
                      <a:lnTo>
                        <a:pt x="696" y="32"/>
                      </a:lnTo>
                      <a:lnTo>
                        <a:pt x="688" y="32"/>
                      </a:lnTo>
                      <a:lnTo>
                        <a:pt x="696" y="24"/>
                      </a:lnTo>
                      <a:lnTo>
                        <a:pt x="688" y="16"/>
                      </a:lnTo>
                      <a:lnTo>
                        <a:pt x="696" y="16"/>
                      </a:lnTo>
                      <a:lnTo>
                        <a:pt x="704" y="16"/>
                      </a:lnTo>
                      <a:lnTo>
                        <a:pt x="704" y="8"/>
                      </a:lnTo>
                      <a:lnTo>
                        <a:pt x="712" y="8"/>
                      </a:lnTo>
                      <a:lnTo>
                        <a:pt x="728" y="16"/>
                      </a:lnTo>
                      <a:lnTo>
                        <a:pt x="736" y="16"/>
                      </a:lnTo>
                      <a:lnTo>
                        <a:pt x="728" y="8"/>
                      </a:lnTo>
                      <a:lnTo>
                        <a:pt x="736" y="0"/>
                      </a:lnTo>
                      <a:lnTo>
                        <a:pt x="744" y="8"/>
                      </a:lnTo>
                      <a:lnTo>
                        <a:pt x="752" y="0"/>
                      </a:lnTo>
                      <a:lnTo>
                        <a:pt x="760" y="0"/>
                      </a:lnTo>
                      <a:lnTo>
                        <a:pt x="776" y="0"/>
                      </a:lnTo>
                      <a:lnTo>
                        <a:pt x="784" y="0"/>
                      </a:lnTo>
                      <a:lnTo>
                        <a:pt x="808" y="0"/>
                      </a:lnTo>
                      <a:lnTo>
                        <a:pt x="816" y="0"/>
                      </a:lnTo>
                      <a:lnTo>
                        <a:pt x="832" y="0"/>
                      </a:lnTo>
                      <a:lnTo>
                        <a:pt x="840" y="0"/>
                      </a:lnTo>
                      <a:lnTo>
                        <a:pt x="864" y="0"/>
                      </a:lnTo>
                      <a:lnTo>
                        <a:pt x="872" y="0"/>
                      </a:lnTo>
                      <a:lnTo>
                        <a:pt x="880" y="8"/>
                      </a:lnTo>
                      <a:lnTo>
                        <a:pt x="896" y="0"/>
                      </a:lnTo>
                      <a:lnTo>
                        <a:pt x="904" y="8"/>
                      </a:lnTo>
                      <a:lnTo>
                        <a:pt x="888" y="8"/>
                      </a:lnTo>
                      <a:lnTo>
                        <a:pt x="896" y="16"/>
                      </a:lnTo>
                      <a:lnTo>
                        <a:pt x="912" y="16"/>
                      </a:lnTo>
                      <a:lnTo>
                        <a:pt x="912" y="8"/>
                      </a:lnTo>
                      <a:lnTo>
                        <a:pt x="960" y="16"/>
                      </a:lnTo>
                      <a:lnTo>
                        <a:pt x="968" y="24"/>
                      </a:lnTo>
                      <a:lnTo>
                        <a:pt x="944" y="32"/>
                      </a:lnTo>
                      <a:lnTo>
                        <a:pt x="912" y="32"/>
                      </a:lnTo>
                      <a:lnTo>
                        <a:pt x="880" y="32"/>
                      </a:lnTo>
                      <a:lnTo>
                        <a:pt x="848" y="40"/>
                      </a:lnTo>
                      <a:lnTo>
                        <a:pt x="824" y="40"/>
                      </a:lnTo>
                      <a:lnTo>
                        <a:pt x="816" y="40"/>
                      </a:lnTo>
                      <a:lnTo>
                        <a:pt x="800" y="40"/>
                      </a:lnTo>
                      <a:lnTo>
                        <a:pt x="808" y="40"/>
                      </a:lnTo>
                      <a:lnTo>
                        <a:pt x="776" y="48"/>
                      </a:lnTo>
                      <a:lnTo>
                        <a:pt x="752" y="56"/>
                      </a:lnTo>
                      <a:lnTo>
                        <a:pt x="760" y="56"/>
                      </a:lnTo>
                      <a:lnTo>
                        <a:pt x="752" y="64"/>
                      </a:lnTo>
                      <a:lnTo>
                        <a:pt x="760" y="64"/>
                      </a:lnTo>
                      <a:lnTo>
                        <a:pt x="776" y="56"/>
                      </a:lnTo>
                      <a:lnTo>
                        <a:pt x="784" y="56"/>
                      </a:lnTo>
                      <a:lnTo>
                        <a:pt x="784" y="64"/>
                      </a:lnTo>
                      <a:lnTo>
                        <a:pt x="792" y="64"/>
                      </a:lnTo>
                      <a:lnTo>
                        <a:pt x="792" y="56"/>
                      </a:lnTo>
                      <a:lnTo>
                        <a:pt x="832" y="48"/>
                      </a:lnTo>
                      <a:lnTo>
                        <a:pt x="864" y="40"/>
                      </a:lnTo>
                      <a:lnTo>
                        <a:pt x="880" y="40"/>
                      </a:lnTo>
                      <a:lnTo>
                        <a:pt x="904" y="40"/>
                      </a:lnTo>
                      <a:lnTo>
                        <a:pt x="944" y="40"/>
                      </a:lnTo>
                      <a:lnTo>
                        <a:pt x="952" y="40"/>
                      </a:lnTo>
                      <a:lnTo>
                        <a:pt x="976" y="32"/>
                      </a:lnTo>
                      <a:lnTo>
                        <a:pt x="984" y="40"/>
                      </a:lnTo>
                      <a:lnTo>
                        <a:pt x="984" y="56"/>
                      </a:lnTo>
                      <a:lnTo>
                        <a:pt x="976" y="56"/>
                      </a:lnTo>
                      <a:lnTo>
                        <a:pt x="976" y="64"/>
                      </a:lnTo>
                      <a:lnTo>
                        <a:pt x="1000" y="56"/>
                      </a:lnTo>
                      <a:lnTo>
                        <a:pt x="1008" y="56"/>
                      </a:lnTo>
                      <a:lnTo>
                        <a:pt x="1008" y="64"/>
                      </a:lnTo>
                      <a:lnTo>
                        <a:pt x="1024" y="56"/>
                      </a:lnTo>
                      <a:lnTo>
                        <a:pt x="1048" y="64"/>
                      </a:lnTo>
                      <a:lnTo>
                        <a:pt x="1064" y="72"/>
                      </a:lnTo>
                      <a:lnTo>
                        <a:pt x="1056" y="80"/>
                      </a:lnTo>
                      <a:lnTo>
                        <a:pt x="1048" y="80"/>
                      </a:lnTo>
                      <a:lnTo>
                        <a:pt x="1048" y="88"/>
                      </a:lnTo>
                      <a:lnTo>
                        <a:pt x="1024" y="96"/>
                      </a:lnTo>
                      <a:lnTo>
                        <a:pt x="1008" y="96"/>
                      </a:lnTo>
                      <a:lnTo>
                        <a:pt x="992" y="104"/>
                      </a:lnTo>
                      <a:lnTo>
                        <a:pt x="944" y="104"/>
                      </a:lnTo>
                      <a:lnTo>
                        <a:pt x="920" y="104"/>
                      </a:lnTo>
                      <a:lnTo>
                        <a:pt x="880" y="104"/>
                      </a:lnTo>
                      <a:lnTo>
                        <a:pt x="864" y="104"/>
                      </a:lnTo>
                      <a:lnTo>
                        <a:pt x="840" y="104"/>
                      </a:lnTo>
                      <a:lnTo>
                        <a:pt x="856" y="112"/>
                      </a:lnTo>
                      <a:lnTo>
                        <a:pt x="816" y="120"/>
                      </a:lnTo>
                      <a:lnTo>
                        <a:pt x="808" y="128"/>
                      </a:lnTo>
                      <a:lnTo>
                        <a:pt x="816" y="136"/>
                      </a:lnTo>
                      <a:lnTo>
                        <a:pt x="832" y="136"/>
                      </a:lnTo>
                      <a:lnTo>
                        <a:pt x="832" y="128"/>
                      </a:lnTo>
                      <a:lnTo>
                        <a:pt x="872" y="120"/>
                      </a:lnTo>
                      <a:lnTo>
                        <a:pt x="880" y="120"/>
                      </a:lnTo>
                      <a:lnTo>
                        <a:pt x="912" y="112"/>
                      </a:lnTo>
                      <a:lnTo>
                        <a:pt x="920" y="112"/>
                      </a:lnTo>
                      <a:lnTo>
                        <a:pt x="968" y="120"/>
                      </a:lnTo>
                      <a:lnTo>
                        <a:pt x="976" y="120"/>
                      </a:lnTo>
                      <a:lnTo>
                        <a:pt x="976" y="128"/>
                      </a:lnTo>
                      <a:lnTo>
                        <a:pt x="952" y="136"/>
                      </a:lnTo>
                      <a:lnTo>
                        <a:pt x="944" y="136"/>
                      </a:lnTo>
                      <a:lnTo>
                        <a:pt x="928" y="144"/>
                      </a:lnTo>
                      <a:lnTo>
                        <a:pt x="936" y="144"/>
                      </a:lnTo>
                      <a:lnTo>
                        <a:pt x="936" y="152"/>
                      </a:lnTo>
                      <a:lnTo>
                        <a:pt x="952" y="144"/>
                      </a:lnTo>
                      <a:lnTo>
                        <a:pt x="968" y="144"/>
                      </a:lnTo>
                      <a:lnTo>
                        <a:pt x="1000" y="136"/>
                      </a:lnTo>
                      <a:lnTo>
                        <a:pt x="1000" y="120"/>
                      </a:lnTo>
                      <a:lnTo>
                        <a:pt x="1008" y="112"/>
                      </a:lnTo>
                      <a:lnTo>
                        <a:pt x="1040" y="112"/>
                      </a:lnTo>
                      <a:lnTo>
                        <a:pt x="1040" y="120"/>
                      </a:lnTo>
                      <a:lnTo>
                        <a:pt x="1048" y="144"/>
                      </a:lnTo>
                      <a:lnTo>
                        <a:pt x="1032" y="160"/>
                      </a:lnTo>
                      <a:lnTo>
                        <a:pt x="1024" y="160"/>
                      </a:lnTo>
                      <a:lnTo>
                        <a:pt x="1024" y="176"/>
                      </a:lnTo>
                      <a:lnTo>
                        <a:pt x="1008" y="184"/>
                      </a:lnTo>
                      <a:lnTo>
                        <a:pt x="1016" y="184"/>
                      </a:lnTo>
                      <a:lnTo>
                        <a:pt x="1008" y="192"/>
                      </a:lnTo>
                      <a:lnTo>
                        <a:pt x="1008" y="200"/>
                      </a:lnTo>
                      <a:lnTo>
                        <a:pt x="1024" y="192"/>
                      </a:lnTo>
                      <a:lnTo>
                        <a:pt x="1024" y="184"/>
                      </a:lnTo>
                      <a:lnTo>
                        <a:pt x="1040" y="176"/>
                      </a:lnTo>
                      <a:lnTo>
                        <a:pt x="1056" y="160"/>
                      </a:lnTo>
                      <a:lnTo>
                        <a:pt x="1080" y="144"/>
                      </a:lnTo>
                      <a:lnTo>
                        <a:pt x="1088" y="136"/>
                      </a:lnTo>
                      <a:lnTo>
                        <a:pt x="1088" y="144"/>
                      </a:lnTo>
                      <a:lnTo>
                        <a:pt x="1104" y="144"/>
                      </a:lnTo>
                      <a:lnTo>
                        <a:pt x="1112" y="144"/>
                      </a:lnTo>
                      <a:lnTo>
                        <a:pt x="1128" y="144"/>
                      </a:lnTo>
                      <a:lnTo>
                        <a:pt x="1136" y="136"/>
                      </a:lnTo>
                      <a:lnTo>
                        <a:pt x="1144" y="128"/>
                      </a:lnTo>
                      <a:lnTo>
                        <a:pt x="1136" y="120"/>
                      </a:lnTo>
                      <a:lnTo>
                        <a:pt x="1144" y="120"/>
                      </a:lnTo>
                      <a:lnTo>
                        <a:pt x="1152" y="128"/>
                      </a:lnTo>
                      <a:lnTo>
                        <a:pt x="1168" y="120"/>
                      </a:lnTo>
                      <a:lnTo>
                        <a:pt x="1208" y="120"/>
                      </a:lnTo>
                      <a:lnTo>
                        <a:pt x="1256" y="144"/>
                      </a:lnTo>
                      <a:lnTo>
                        <a:pt x="1216" y="168"/>
                      </a:lnTo>
                      <a:lnTo>
                        <a:pt x="1200" y="168"/>
                      </a:lnTo>
                      <a:lnTo>
                        <a:pt x="1192" y="168"/>
                      </a:lnTo>
                      <a:lnTo>
                        <a:pt x="1200" y="176"/>
                      </a:lnTo>
                      <a:lnTo>
                        <a:pt x="1200" y="184"/>
                      </a:lnTo>
                      <a:lnTo>
                        <a:pt x="1184" y="184"/>
                      </a:lnTo>
                      <a:lnTo>
                        <a:pt x="1176" y="192"/>
                      </a:lnTo>
                      <a:lnTo>
                        <a:pt x="1168" y="192"/>
                      </a:lnTo>
                      <a:lnTo>
                        <a:pt x="1152" y="192"/>
                      </a:lnTo>
                      <a:lnTo>
                        <a:pt x="1128" y="184"/>
                      </a:lnTo>
                      <a:lnTo>
                        <a:pt x="1128" y="192"/>
                      </a:lnTo>
                      <a:lnTo>
                        <a:pt x="1120" y="192"/>
                      </a:lnTo>
                      <a:lnTo>
                        <a:pt x="1088" y="192"/>
                      </a:lnTo>
                      <a:lnTo>
                        <a:pt x="1080" y="192"/>
                      </a:lnTo>
                      <a:lnTo>
                        <a:pt x="1072" y="192"/>
                      </a:lnTo>
                      <a:lnTo>
                        <a:pt x="1072" y="200"/>
                      </a:lnTo>
                      <a:lnTo>
                        <a:pt x="1088" y="200"/>
                      </a:lnTo>
                      <a:lnTo>
                        <a:pt x="1096" y="192"/>
                      </a:lnTo>
                      <a:lnTo>
                        <a:pt x="1104" y="192"/>
                      </a:lnTo>
                      <a:lnTo>
                        <a:pt x="1128" y="200"/>
                      </a:lnTo>
                      <a:lnTo>
                        <a:pt x="1136" y="200"/>
                      </a:lnTo>
                      <a:lnTo>
                        <a:pt x="1152" y="192"/>
                      </a:lnTo>
                      <a:lnTo>
                        <a:pt x="1176" y="200"/>
                      </a:lnTo>
                      <a:lnTo>
                        <a:pt x="1152" y="216"/>
                      </a:lnTo>
                      <a:lnTo>
                        <a:pt x="1144" y="216"/>
                      </a:lnTo>
                      <a:lnTo>
                        <a:pt x="1128" y="216"/>
                      </a:lnTo>
                      <a:lnTo>
                        <a:pt x="1096" y="216"/>
                      </a:lnTo>
                      <a:lnTo>
                        <a:pt x="1088" y="224"/>
                      </a:lnTo>
                      <a:lnTo>
                        <a:pt x="1088" y="240"/>
                      </a:lnTo>
                      <a:lnTo>
                        <a:pt x="1096" y="240"/>
                      </a:lnTo>
                      <a:lnTo>
                        <a:pt x="1104" y="232"/>
                      </a:lnTo>
                      <a:lnTo>
                        <a:pt x="1104" y="224"/>
                      </a:lnTo>
                      <a:lnTo>
                        <a:pt x="1096" y="224"/>
                      </a:lnTo>
                      <a:lnTo>
                        <a:pt x="1104" y="216"/>
                      </a:lnTo>
                      <a:lnTo>
                        <a:pt x="1120" y="224"/>
                      </a:lnTo>
                      <a:lnTo>
                        <a:pt x="1136" y="224"/>
                      </a:lnTo>
                      <a:lnTo>
                        <a:pt x="1144" y="224"/>
                      </a:lnTo>
                      <a:lnTo>
                        <a:pt x="1136" y="240"/>
                      </a:lnTo>
                      <a:lnTo>
                        <a:pt x="1104" y="240"/>
                      </a:lnTo>
                      <a:lnTo>
                        <a:pt x="1096" y="264"/>
                      </a:lnTo>
                      <a:lnTo>
                        <a:pt x="1112" y="264"/>
                      </a:lnTo>
                      <a:lnTo>
                        <a:pt x="1104" y="272"/>
                      </a:lnTo>
                      <a:lnTo>
                        <a:pt x="1096" y="280"/>
                      </a:lnTo>
                      <a:lnTo>
                        <a:pt x="1080" y="280"/>
                      </a:lnTo>
                      <a:lnTo>
                        <a:pt x="1064" y="296"/>
                      </a:lnTo>
                      <a:lnTo>
                        <a:pt x="1072" y="296"/>
                      </a:lnTo>
                      <a:lnTo>
                        <a:pt x="1056" y="328"/>
                      </a:lnTo>
                      <a:lnTo>
                        <a:pt x="1056" y="336"/>
                      </a:lnTo>
                      <a:lnTo>
                        <a:pt x="1064" y="336"/>
                      </a:lnTo>
                      <a:lnTo>
                        <a:pt x="1072" y="328"/>
                      </a:lnTo>
                      <a:lnTo>
                        <a:pt x="1080" y="320"/>
                      </a:lnTo>
                      <a:lnTo>
                        <a:pt x="1112" y="336"/>
                      </a:lnTo>
                      <a:lnTo>
                        <a:pt x="1112" y="344"/>
                      </a:lnTo>
                      <a:lnTo>
                        <a:pt x="1096" y="336"/>
                      </a:lnTo>
                      <a:lnTo>
                        <a:pt x="1088" y="336"/>
                      </a:lnTo>
                      <a:lnTo>
                        <a:pt x="1080" y="336"/>
                      </a:lnTo>
                      <a:lnTo>
                        <a:pt x="1088" y="344"/>
                      </a:lnTo>
                      <a:lnTo>
                        <a:pt x="1112" y="352"/>
                      </a:lnTo>
                      <a:lnTo>
                        <a:pt x="1128" y="352"/>
                      </a:lnTo>
                      <a:lnTo>
                        <a:pt x="1136" y="360"/>
                      </a:lnTo>
                      <a:lnTo>
                        <a:pt x="1128" y="368"/>
                      </a:lnTo>
                      <a:lnTo>
                        <a:pt x="1112" y="368"/>
                      </a:lnTo>
                      <a:lnTo>
                        <a:pt x="1080" y="368"/>
                      </a:lnTo>
                      <a:lnTo>
                        <a:pt x="1072" y="368"/>
                      </a:lnTo>
                      <a:lnTo>
                        <a:pt x="1056" y="368"/>
                      </a:lnTo>
                      <a:lnTo>
                        <a:pt x="1048" y="376"/>
                      </a:lnTo>
                      <a:lnTo>
                        <a:pt x="1056" y="384"/>
                      </a:lnTo>
                      <a:lnTo>
                        <a:pt x="1056" y="392"/>
                      </a:lnTo>
                      <a:lnTo>
                        <a:pt x="1064" y="392"/>
                      </a:lnTo>
                      <a:lnTo>
                        <a:pt x="1080" y="392"/>
                      </a:lnTo>
                      <a:lnTo>
                        <a:pt x="1096" y="392"/>
                      </a:lnTo>
                      <a:lnTo>
                        <a:pt x="1096" y="400"/>
                      </a:lnTo>
                      <a:lnTo>
                        <a:pt x="1080" y="400"/>
                      </a:lnTo>
                      <a:lnTo>
                        <a:pt x="1056" y="400"/>
                      </a:lnTo>
                      <a:lnTo>
                        <a:pt x="1064" y="400"/>
                      </a:lnTo>
                      <a:lnTo>
                        <a:pt x="1088" y="408"/>
                      </a:lnTo>
                      <a:lnTo>
                        <a:pt x="1112" y="416"/>
                      </a:lnTo>
                      <a:lnTo>
                        <a:pt x="1112" y="424"/>
                      </a:lnTo>
                      <a:lnTo>
                        <a:pt x="1096" y="432"/>
                      </a:lnTo>
                      <a:lnTo>
                        <a:pt x="1088" y="424"/>
                      </a:lnTo>
                      <a:lnTo>
                        <a:pt x="1072" y="424"/>
                      </a:lnTo>
                      <a:lnTo>
                        <a:pt x="1064" y="416"/>
                      </a:lnTo>
                      <a:lnTo>
                        <a:pt x="1056" y="416"/>
                      </a:lnTo>
                      <a:lnTo>
                        <a:pt x="1080" y="432"/>
                      </a:lnTo>
                      <a:lnTo>
                        <a:pt x="1056" y="432"/>
                      </a:lnTo>
                      <a:lnTo>
                        <a:pt x="1048" y="440"/>
                      </a:lnTo>
                      <a:lnTo>
                        <a:pt x="1056" y="440"/>
                      </a:lnTo>
                      <a:lnTo>
                        <a:pt x="1072" y="440"/>
                      </a:lnTo>
                      <a:lnTo>
                        <a:pt x="1080" y="448"/>
                      </a:lnTo>
                      <a:lnTo>
                        <a:pt x="1072" y="456"/>
                      </a:lnTo>
                      <a:lnTo>
                        <a:pt x="1096" y="464"/>
                      </a:lnTo>
                      <a:lnTo>
                        <a:pt x="1104" y="456"/>
                      </a:lnTo>
                      <a:lnTo>
                        <a:pt x="1112" y="464"/>
                      </a:lnTo>
                      <a:lnTo>
                        <a:pt x="1104" y="472"/>
                      </a:lnTo>
                      <a:lnTo>
                        <a:pt x="1096" y="480"/>
                      </a:lnTo>
                      <a:lnTo>
                        <a:pt x="1080" y="464"/>
                      </a:lnTo>
                      <a:lnTo>
                        <a:pt x="1056" y="464"/>
                      </a:lnTo>
                      <a:lnTo>
                        <a:pt x="1048" y="472"/>
                      </a:lnTo>
                      <a:lnTo>
                        <a:pt x="1056" y="488"/>
                      </a:lnTo>
                      <a:lnTo>
                        <a:pt x="1064" y="504"/>
                      </a:lnTo>
                      <a:lnTo>
                        <a:pt x="1064" y="496"/>
                      </a:lnTo>
                      <a:lnTo>
                        <a:pt x="1088" y="496"/>
                      </a:lnTo>
                      <a:lnTo>
                        <a:pt x="1088" y="504"/>
                      </a:lnTo>
                      <a:lnTo>
                        <a:pt x="1064" y="512"/>
                      </a:lnTo>
                      <a:lnTo>
                        <a:pt x="1040" y="520"/>
                      </a:lnTo>
                      <a:lnTo>
                        <a:pt x="1024" y="504"/>
                      </a:lnTo>
                      <a:lnTo>
                        <a:pt x="1016" y="504"/>
                      </a:lnTo>
                      <a:lnTo>
                        <a:pt x="1040" y="504"/>
                      </a:lnTo>
                      <a:lnTo>
                        <a:pt x="1016" y="496"/>
                      </a:lnTo>
                      <a:lnTo>
                        <a:pt x="1000" y="496"/>
                      </a:lnTo>
                      <a:lnTo>
                        <a:pt x="984" y="488"/>
                      </a:lnTo>
                      <a:lnTo>
                        <a:pt x="976" y="488"/>
                      </a:lnTo>
                      <a:lnTo>
                        <a:pt x="992" y="504"/>
                      </a:lnTo>
                      <a:lnTo>
                        <a:pt x="984" y="512"/>
                      </a:lnTo>
                      <a:lnTo>
                        <a:pt x="976" y="520"/>
                      </a:lnTo>
                      <a:lnTo>
                        <a:pt x="952" y="512"/>
                      </a:lnTo>
                      <a:lnTo>
                        <a:pt x="944" y="512"/>
                      </a:lnTo>
                      <a:lnTo>
                        <a:pt x="960" y="520"/>
                      </a:lnTo>
                      <a:lnTo>
                        <a:pt x="936" y="520"/>
                      </a:lnTo>
                      <a:lnTo>
                        <a:pt x="944" y="528"/>
                      </a:lnTo>
                      <a:lnTo>
                        <a:pt x="960" y="528"/>
                      </a:lnTo>
                      <a:lnTo>
                        <a:pt x="976" y="520"/>
                      </a:lnTo>
                      <a:lnTo>
                        <a:pt x="984" y="528"/>
                      </a:lnTo>
                      <a:lnTo>
                        <a:pt x="984" y="536"/>
                      </a:lnTo>
                      <a:lnTo>
                        <a:pt x="960" y="536"/>
                      </a:lnTo>
                      <a:lnTo>
                        <a:pt x="960" y="544"/>
                      </a:lnTo>
                      <a:lnTo>
                        <a:pt x="984" y="536"/>
                      </a:lnTo>
                      <a:lnTo>
                        <a:pt x="992" y="552"/>
                      </a:lnTo>
                      <a:lnTo>
                        <a:pt x="976" y="552"/>
                      </a:lnTo>
                      <a:lnTo>
                        <a:pt x="984" y="560"/>
                      </a:lnTo>
                      <a:lnTo>
                        <a:pt x="1008" y="552"/>
                      </a:lnTo>
                      <a:lnTo>
                        <a:pt x="1024" y="568"/>
                      </a:lnTo>
                      <a:lnTo>
                        <a:pt x="1040" y="568"/>
                      </a:lnTo>
                      <a:lnTo>
                        <a:pt x="1048" y="584"/>
                      </a:lnTo>
                      <a:lnTo>
                        <a:pt x="1056" y="592"/>
                      </a:lnTo>
                      <a:lnTo>
                        <a:pt x="1064" y="592"/>
                      </a:lnTo>
                      <a:lnTo>
                        <a:pt x="1064" y="624"/>
                      </a:lnTo>
                      <a:lnTo>
                        <a:pt x="1056" y="624"/>
                      </a:lnTo>
                      <a:lnTo>
                        <a:pt x="1048" y="616"/>
                      </a:lnTo>
                      <a:lnTo>
                        <a:pt x="1040" y="624"/>
                      </a:lnTo>
                      <a:lnTo>
                        <a:pt x="1040" y="632"/>
                      </a:lnTo>
                      <a:lnTo>
                        <a:pt x="1016" y="624"/>
                      </a:lnTo>
                      <a:lnTo>
                        <a:pt x="1000" y="600"/>
                      </a:lnTo>
                      <a:lnTo>
                        <a:pt x="1000" y="592"/>
                      </a:lnTo>
                      <a:lnTo>
                        <a:pt x="976" y="584"/>
                      </a:lnTo>
                      <a:lnTo>
                        <a:pt x="952" y="584"/>
                      </a:lnTo>
                      <a:lnTo>
                        <a:pt x="936" y="568"/>
                      </a:lnTo>
                      <a:lnTo>
                        <a:pt x="920" y="568"/>
                      </a:lnTo>
                      <a:lnTo>
                        <a:pt x="912" y="568"/>
                      </a:lnTo>
                      <a:lnTo>
                        <a:pt x="928" y="576"/>
                      </a:lnTo>
                      <a:lnTo>
                        <a:pt x="928" y="584"/>
                      </a:lnTo>
                      <a:lnTo>
                        <a:pt x="944" y="592"/>
                      </a:lnTo>
                      <a:lnTo>
                        <a:pt x="976" y="592"/>
                      </a:lnTo>
                      <a:lnTo>
                        <a:pt x="976" y="600"/>
                      </a:lnTo>
                      <a:lnTo>
                        <a:pt x="952" y="608"/>
                      </a:lnTo>
                      <a:lnTo>
                        <a:pt x="920" y="608"/>
                      </a:lnTo>
                      <a:lnTo>
                        <a:pt x="928" y="616"/>
                      </a:lnTo>
                      <a:lnTo>
                        <a:pt x="920" y="624"/>
                      </a:lnTo>
                      <a:lnTo>
                        <a:pt x="904" y="624"/>
                      </a:lnTo>
                      <a:lnTo>
                        <a:pt x="904" y="632"/>
                      </a:lnTo>
                      <a:lnTo>
                        <a:pt x="928" y="632"/>
                      </a:lnTo>
                      <a:lnTo>
                        <a:pt x="944" y="632"/>
                      </a:lnTo>
                      <a:lnTo>
                        <a:pt x="944" y="624"/>
                      </a:lnTo>
                      <a:lnTo>
                        <a:pt x="960" y="624"/>
                      </a:lnTo>
                      <a:lnTo>
                        <a:pt x="960" y="640"/>
                      </a:lnTo>
                      <a:lnTo>
                        <a:pt x="936" y="640"/>
                      </a:lnTo>
                      <a:lnTo>
                        <a:pt x="920" y="640"/>
                      </a:lnTo>
                      <a:lnTo>
                        <a:pt x="928" y="648"/>
                      </a:lnTo>
                      <a:lnTo>
                        <a:pt x="944" y="648"/>
                      </a:lnTo>
                      <a:lnTo>
                        <a:pt x="960" y="640"/>
                      </a:lnTo>
                      <a:lnTo>
                        <a:pt x="968" y="640"/>
                      </a:lnTo>
                      <a:lnTo>
                        <a:pt x="976" y="632"/>
                      </a:lnTo>
                      <a:lnTo>
                        <a:pt x="992" y="632"/>
                      </a:lnTo>
                      <a:lnTo>
                        <a:pt x="992" y="640"/>
                      </a:lnTo>
                      <a:lnTo>
                        <a:pt x="1032" y="640"/>
                      </a:lnTo>
                      <a:lnTo>
                        <a:pt x="1040" y="640"/>
                      </a:lnTo>
                      <a:lnTo>
                        <a:pt x="1048" y="640"/>
                      </a:lnTo>
                      <a:lnTo>
                        <a:pt x="1048" y="648"/>
                      </a:lnTo>
                      <a:lnTo>
                        <a:pt x="1016" y="656"/>
                      </a:lnTo>
                      <a:lnTo>
                        <a:pt x="1008" y="656"/>
                      </a:lnTo>
                      <a:lnTo>
                        <a:pt x="1000" y="672"/>
                      </a:lnTo>
                      <a:lnTo>
                        <a:pt x="992" y="672"/>
                      </a:lnTo>
                      <a:lnTo>
                        <a:pt x="984" y="680"/>
                      </a:lnTo>
                      <a:lnTo>
                        <a:pt x="976" y="680"/>
                      </a:lnTo>
                      <a:lnTo>
                        <a:pt x="968" y="688"/>
                      </a:lnTo>
                      <a:lnTo>
                        <a:pt x="952" y="688"/>
                      </a:lnTo>
                      <a:lnTo>
                        <a:pt x="936" y="696"/>
                      </a:lnTo>
                      <a:lnTo>
                        <a:pt x="928" y="696"/>
                      </a:lnTo>
                      <a:lnTo>
                        <a:pt x="904" y="704"/>
                      </a:lnTo>
                      <a:lnTo>
                        <a:pt x="896" y="704"/>
                      </a:lnTo>
                      <a:lnTo>
                        <a:pt x="888" y="704"/>
                      </a:lnTo>
                      <a:lnTo>
                        <a:pt x="880" y="704"/>
                      </a:lnTo>
                      <a:lnTo>
                        <a:pt x="872" y="704"/>
                      </a:lnTo>
                      <a:lnTo>
                        <a:pt x="864" y="712"/>
                      </a:lnTo>
                      <a:lnTo>
                        <a:pt x="856" y="712"/>
                      </a:lnTo>
                      <a:lnTo>
                        <a:pt x="840" y="696"/>
                      </a:lnTo>
                      <a:lnTo>
                        <a:pt x="832" y="696"/>
                      </a:lnTo>
                      <a:lnTo>
                        <a:pt x="832" y="704"/>
                      </a:lnTo>
                      <a:lnTo>
                        <a:pt x="848" y="712"/>
                      </a:lnTo>
                      <a:lnTo>
                        <a:pt x="840" y="720"/>
                      </a:lnTo>
                      <a:lnTo>
                        <a:pt x="824" y="720"/>
                      </a:lnTo>
                      <a:lnTo>
                        <a:pt x="816" y="736"/>
                      </a:lnTo>
                      <a:lnTo>
                        <a:pt x="808" y="752"/>
                      </a:lnTo>
                      <a:lnTo>
                        <a:pt x="792" y="776"/>
                      </a:lnTo>
                      <a:lnTo>
                        <a:pt x="768" y="768"/>
                      </a:lnTo>
                      <a:lnTo>
                        <a:pt x="768" y="784"/>
                      </a:lnTo>
                      <a:lnTo>
                        <a:pt x="752" y="792"/>
                      </a:lnTo>
                      <a:lnTo>
                        <a:pt x="744" y="792"/>
                      </a:lnTo>
                      <a:lnTo>
                        <a:pt x="736" y="792"/>
                      </a:lnTo>
                      <a:lnTo>
                        <a:pt x="728" y="784"/>
                      </a:lnTo>
                      <a:lnTo>
                        <a:pt x="728" y="768"/>
                      </a:lnTo>
                      <a:lnTo>
                        <a:pt x="720" y="768"/>
                      </a:lnTo>
                      <a:lnTo>
                        <a:pt x="720" y="776"/>
                      </a:lnTo>
                      <a:lnTo>
                        <a:pt x="712" y="808"/>
                      </a:lnTo>
                      <a:lnTo>
                        <a:pt x="672" y="808"/>
                      </a:lnTo>
                      <a:lnTo>
                        <a:pt x="672" y="816"/>
                      </a:lnTo>
                      <a:lnTo>
                        <a:pt x="680" y="824"/>
                      </a:lnTo>
                      <a:lnTo>
                        <a:pt x="680" y="832"/>
                      </a:lnTo>
                      <a:lnTo>
                        <a:pt x="664" y="832"/>
                      </a:lnTo>
                      <a:lnTo>
                        <a:pt x="656" y="848"/>
                      </a:lnTo>
                      <a:lnTo>
                        <a:pt x="664" y="856"/>
                      </a:lnTo>
                      <a:lnTo>
                        <a:pt x="664" y="864"/>
                      </a:lnTo>
                      <a:lnTo>
                        <a:pt x="648" y="864"/>
                      </a:lnTo>
                      <a:lnTo>
                        <a:pt x="648" y="880"/>
                      </a:lnTo>
                      <a:lnTo>
                        <a:pt x="664" y="880"/>
                      </a:lnTo>
                      <a:lnTo>
                        <a:pt x="664" y="904"/>
                      </a:lnTo>
                      <a:lnTo>
                        <a:pt x="648" y="896"/>
                      </a:lnTo>
                      <a:lnTo>
                        <a:pt x="656" y="912"/>
                      </a:lnTo>
                      <a:lnTo>
                        <a:pt x="656" y="920"/>
                      </a:lnTo>
                      <a:lnTo>
                        <a:pt x="648" y="920"/>
                      </a:lnTo>
                      <a:lnTo>
                        <a:pt x="648" y="936"/>
                      </a:lnTo>
                      <a:lnTo>
                        <a:pt x="632" y="936"/>
                      </a:lnTo>
                      <a:lnTo>
                        <a:pt x="632" y="944"/>
                      </a:lnTo>
                      <a:lnTo>
                        <a:pt x="632" y="952"/>
                      </a:lnTo>
                      <a:lnTo>
                        <a:pt x="632" y="968"/>
                      </a:lnTo>
                      <a:lnTo>
                        <a:pt x="640" y="992"/>
                      </a:lnTo>
                      <a:lnTo>
                        <a:pt x="632" y="1000"/>
                      </a:lnTo>
                      <a:lnTo>
                        <a:pt x="624" y="1008"/>
                      </a:lnTo>
                      <a:lnTo>
                        <a:pt x="624" y="1016"/>
                      </a:lnTo>
                      <a:lnTo>
                        <a:pt x="616" y="1024"/>
                      </a:lnTo>
                      <a:lnTo>
                        <a:pt x="616" y="1032"/>
                      </a:lnTo>
                      <a:lnTo>
                        <a:pt x="608" y="1040"/>
                      </a:lnTo>
                      <a:lnTo>
                        <a:pt x="616" y="1048"/>
                      </a:lnTo>
                      <a:lnTo>
                        <a:pt x="608" y="1064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79" name="Freeform 275"/>
                <p:cNvSpPr>
                  <a:spLocks noChangeAspect="1"/>
                </p:cNvSpPr>
                <p:nvPr/>
              </p:nvSpPr>
              <p:spPr bwMode="auto">
                <a:xfrm>
                  <a:off x="1967" y="1513"/>
                  <a:ext cx="40" cy="29"/>
                </a:xfrm>
                <a:custGeom>
                  <a:avLst/>
                  <a:gdLst>
                    <a:gd name="T0" fmla="*/ 1 w 56"/>
                    <a:gd name="T1" fmla="*/ 0 h 40"/>
                    <a:gd name="T2" fmla="*/ 1 w 56"/>
                    <a:gd name="T3" fmla="*/ 1 h 40"/>
                    <a:gd name="T4" fmla="*/ 1 w 56"/>
                    <a:gd name="T5" fmla="*/ 1 h 40"/>
                    <a:gd name="T6" fmla="*/ 1 w 56"/>
                    <a:gd name="T7" fmla="*/ 1 h 40"/>
                    <a:gd name="T8" fmla="*/ 1 w 56"/>
                    <a:gd name="T9" fmla="*/ 1 h 40"/>
                    <a:gd name="T10" fmla="*/ 1 w 56"/>
                    <a:gd name="T11" fmla="*/ 1 h 40"/>
                    <a:gd name="T12" fmla="*/ 1 w 56"/>
                    <a:gd name="T13" fmla="*/ 1 h 40"/>
                    <a:gd name="T14" fmla="*/ 1 w 56"/>
                    <a:gd name="T15" fmla="*/ 1 h 40"/>
                    <a:gd name="T16" fmla="*/ 1 w 56"/>
                    <a:gd name="T17" fmla="*/ 1 h 40"/>
                    <a:gd name="T18" fmla="*/ 0 w 56"/>
                    <a:gd name="T19" fmla="*/ 1 h 40"/>
                    <a:gd name="T20" fmla="*/ 0 w 56"/>
                    <a:gd name="T21" fmla="*/ 1 h 40"/>
                    <a:gd name="T22" fmla="*/ 0 w 56"/>
                    <a:gd name="T23" fmla="*/ 1 h 40"/>
                    <a:gd name="T24" fmla="*/ 1 w 56"/>
                    <a:gd name="T25" fmla="*/ 0 h 40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56"/>
                    <a:gd name="T40" fmla="*/ 0 h 40"/>
                    <a:gd name="T41" fmla="*/ 56 w 56"/>
                    <a:gd name="T42" fmla="*/ 40 h 40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56" h="40">
                      <a:moveTo>
                        <a:pt x="8" y="0"/>
                      </a:moveTo>
                      <a:lnTo>
                        <a:pt x="8" y="8"/>
                      </a:lnTo>
                      <a:lnTo>
                        <a:pt x="24" y="8"/>
                      </a:lnTo>
                      <a:lnTo>
                        <a:pt x="40" y="16"/>
                      </a:lnTo>
                      <a:lnTo>
                        <a:pt x="56" y="24"/>
                      </a:lnTo>
                      <a:lnTo>
                        <a:pt x="56" y="32"/>
                      </a:lnTo>
                      <a:lnTo>
                        <a:pt x="40" y="40"/>
                      </a:lnTo>
                      <a:lnTo>
                        <a:pt x="32" y="40"/>
                      </a:lnTo>
                      <a:lnTo>
                        <a:pt x="16" y="32"/>
                      </a:lnTo>
                      <a:lnTo>
                        <a:pt x="0" y="32"/>
                      </a:lnTo>
                      <a:lnTo>
                        <a:pt x="0" y="24"/>
                      </a:lnTo>
                      <a:lnTo>
                        <a:pt x="0" y="16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80" name="Freeform 276"/>
                <p:cNvSpPr>
                  <a:spLocks noChangeAspect="1"/>
                </p:cNvSpPr>
                <p:nvPr/>
              </p:nvSpPr>
              <p:spPr bwMode="auto">
                <a:xfrm>
                  <a:off x="2063" y="1120"/>
                  <a:ext cx="45" cy="28"/>
                </a:xfrm>
                <a:custGeom>
                  <a:avLst/>
                  <a:gdLst>
                    <a:gd name="T0" fmla="*/ 0 w 64"/>
                    <a:gd name="T1" fmla="*/ 0 h 40"/>
                    <a:gd name="T2" fmla="*/ 1 w 64"/>
                    <a:gd name="T3" fmla="*/ 1 h 40"/>
                    <a:gd name="T4" fmla="*/ 1 w 64"/>
                    <a:gd name="T5" fmla="*/ 1 h 40"/>
                    <a:gd name="T6" fmla="*/ 1 w 64"/>
                    <a:gd name="T7" fmla="*/ 1 h 40"/>
                    <a:gd name="T8" fmla="*/ 1 w 64"/>
                    <a:gd name="T9" fmla="*/ 1 h 40"/>
                    <a:gd name="T10" fmla="*/ 1 w 64"/>
                    <a:gd name="T11" fmla="*/ 1 h 40"/>
                    <a:gd name="T12" fmla="*/ 1 w 64"/>
                    <a:gd name="T13" fmla="*/ 1 h 40"/>
                    <a:gd name="T14" fmla="*/ 1 w 64"/>
                    <a:gd name="T15" fmla="*/ 1 h 40"/>
                    <a:gd name="T16" fmla="*/ 1 w 64"/>
                    <a:gd name="T17" fmla="*/ 0 h 40"/>
                    <a:gd name="T18" fmla="*/ 0 w 64"/>
                    <a:gd name="T19" fmla="*/ 0 h 40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4"/>
                    <a:gd name="T31" fmla="*/ 0 h 40"/>
                    <a:gd name="T32" fmla="*/ 64 w 64"/>
                    <a:gd name="T33" fmla="*/ 40 h 40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4" h="40">
                      <a:moveTo>
                        <a:pt x="0" y="0"/>
                      </a:moveTo>
                      <a:lnTo>
                        <a:pt x="8" y="16"/>
                      </a:lnTo>
                      <a:lnTo>
                        <a:pt x="32" y="32"/>
                      </a:lnTo>
                      <a:lnTo>
                        <a:pt x="40" y="32"/>
                      </a:lnTo>
                      <a:lnTo>
                        <a:pt x="40" y="40"/>
                      </a:lnTo>
                      <a:lnTo>
                        <a:pt x="48" y="40"/>
                      </a:lnTo>
                      <a:lnTo>
                        <a:pt x="48" y="24"/>
                      </a:lnTo>
                      <a:lnTo>
                        <a:pt x="64" y="24"/>
                      </a:lnTo>
                      <a:lnTo>
                        <a:pt x="24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81" name="Freeform 277"/>
                <p:cNvSpPr>
                  <a:spLocks noChangeAspect="1"/>
                </p:cNvSpPr>
                <p:nvPr/>
              </p:nvSpPr>
              <p:spPr bwMode="auto">
                <a:xfrm>
                  <a:off x="2412" y="1446"/>
                  <a:ext cx="34" cy="22"/>
                </a:xfrm>
                <a:custGeom>
                  <a:avLst/>
                  <a:gdLst>
                    <a:gd name="T0" fmla="*/ 0 w 48"/>
                    <a:gd name="T1" fmla="*/ 1 h 32"/>
                    <a:gd name="T2" fmla="*/ 0 w 48"/>
                    <a:gd name="T3" fmla="*/ 0 h 32"/>
                    <a:gd name="T4" fmla="*/ 1 w 48"/>
                    <a:gd name="T5" fmla="*/ 0 h 32"/>
                    <a:gd name="T6" fmla="*/ 1 w 48"/>
                    <a:gd name="T7" fmla="*/ 1 h 32"/>
                    <a:gd name="T8" fmla="*/ 1 w 48"/>
                    <a:gd name="T9" fmla="*/ 1 h 32"/>
                    <a:gd name="T10" fmla="*/ 1 w 48"/>
                    <a:gd name="T11" fmla="*/ 1 h 32"/>
                    <a:gd name="T12" fmla="*/ 1 w 48"/>
                    <a:gd name="T13" fmla="*/ 1 h 32"/>
                    <a:gd name="T14" fmla="*/ 1 w 48"/>
                    <a:gd name="T15" fmla="*/ 1 h 32"/>
                    <a:gd name="T16" fmla="*/ 0 w 48"/>
                    <a:gd name="T17" fmla="*/ 1 h 3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48"/>
                    <a:gd name="T28" fmla="*/ 0 h 32"/>
                    <a:gd name="T29" fmla="*/ 48 w 48"/>
                    <a:gd name="T30" fmla="*/ 32 h 32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48" h="32">
                      <a:moveTo>
                        <a:pt x="0" y="8"/>
                      </a:moveTo>
                      <a:lnTo>
                        <a:pt x="0" y="0"/>
                      </a:lnTo>
                      <a:lnTo>
                        <a:pt x="24" y="0"/>
                      </a:lnTo>
                      <a:lnTo>
                        <a:pt x="40" y="8"/>
                      </a:lnTo>
                      <a:lnTo>
                        <a:pt x="48" y="16"/>
                      </a:lnTo>
                      <a:lnTo>
                        <a:pt x="48" y="24"/>
                      </a:lnTo>
                      <a:lnTo>
                        <a:pt x="40" y="32"/>
                      </a:lnTo>
                      <a:lnTo>
                        <a:pt x="16" y="24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82" name="Freeform 278"/>
                <p:cNvSpPr>
                  <a:spLocks noChangeAspect="1"/>
                </p:cNvSpPr>
                <p:nvPr/>
              </p:nvSpPr>
              <p:spPr bwMode="auto">
                <a:xfrm>
                  <a:off x="2671" y="1857"/>
                  <a:ext cx="112" cy="208"/>
                </a:xfrm>
                <a:custGeom>
                  <a:avLst/>
                  <a:gdLst>
                    <a:gd name="T0" fmla="*/ 1 w 160"/>
                    <a:gd name="T1" fmla="*/ 1 h 296"/>
                    <a:gd name="T2" fmla="*/ 1 w 160"/>
                    <a:gd name="T3" fmla="*/ 1 h 296"/>
                    <a:gd name="T4" fmla="*/ 1 w 160"/>
                    <a:gd name="T5" fmla="*/ 1 h 296"/>
                    <a:gd name="T6" fmla="*/ 1 w 160"/>
                    <a:gd name="T7" fmla="*/ 1 h 296"/>
                    <a:gd name="T8" fmla="*/ 1 w 160"/>
                    <a:gd name="T9" fmla="*/ 1 h 296"/>
                    <a:gd name="T10" fmla="*/ 1 w 160"/>
                    <a:gd name="T11" fmla="*/ 1 h 296"/>
                    <a:gd name="T12" fmla="*/ 1 w 160"/>
                    <a:gd name="T13" fmla="*/ 1 h 296"/>
                    <a:gd name="T14" fmla="*/ 1 w 160"/>
                    <a:gd name="T15" fmla="*/ 1 h 296"/>
                    <a:gd name="T16" fmla="*/ 1 w 160"/>
                    <a:gd name="T17" fmla="*/ 1 h 296"/>
                    <a:gd name="T18" fmla="*/ 1 w 160"/>
                    <a:gd name="T19" fmla="*/ 1 h 296"/>
                    <a:gd name="T20" fmla="*/ 1 w 160"/>
                    <a:gd name="T21" fmla="*/ 1 h 296"/>
                    <a:gd name="T22" fmla="*/ 1 w 160"/>
                    <a:gd name="T23" fmla="*/ 1 h 296"/>
                    <a:gd name="T24" fmla="*/ 1 w 160"/>
                    <a:gd name="T25" fmla="*/ 1 h 296"/>
                    <a:gd name="T26" fmla="*/ 1 w 160"/>
                    <a:gd name="T27" fmla="*/ 1 h 296"/>
                    <a:gd name="T28" fmla="*/ 1 w 160"/>
                    <a:gd name="T29" fmla="*/ 1 h 296"/>
                    <a:gd name="T30" fmla="*/ 1 w 160"/>
                    <a:gd name="T31" fmla="*/ 1 h 296"/>
                    <a:gd name="T32" fmla="*/ 1 w 160"/>
                    <a:gd name="T33" fmla="*/ 1 h 296"/>
                    <a:gd name="T34" fmla="*/ 1 w 160"/>
                    <a:gd name="T35" fmla="*/ 1 h 296"/>
                    <a:gd name="T36" fmla="*/ 1 w 160"/>
                    <a:gd name="T37" fmla="*/ 1 h 296"/>
                    <a:gd name="T38" fmla="*/ 1 w 160"/>
                    <a:gd name="T39" fmla="*/ 1 h 296"/>
                    <a:gd name="T40" fmla="*/ 1 w 160"/>
                    <a:gd name="T41" fmla="*/ 1 h 296"/>
                    <a:gd name="T42" fmla="*/ 1 w 160"/>
                    <a:gd name="T43" fmla="*/ 1 h 296"/>
                    <a:gd name="T44" fmla="*/ 1 w 160"/>
                    <a:gd name="T45" fmla="*/ 1 h 296"/>
                    <a:gd name="T46" fmla="*/ 1 w 160"/>
                    <a:gd name="T47" fmla="*/ 1 h 296"/>
                    <a:gd name="T48" fmla="*/ 1 w 160"/>
                    <a:gd name="T49" fmla="*/ 1 h 296"/>
                    <a:gd name="T50" fmla="*/ 1 w 160"/>
                    <a:gd name="T51" fmla="*/ 1 h 296"/>
                    <a:gd name="T52" fmla="*/ 1 w 160"/>
                    <a:gd name="T53" fmla="*/ 1 h 296"/>
                    <a:gd name="T54" fmla="*/ 1 w 160"/>
                    <a:gd name="T55" fmla="*/ 1 h 296"/>
                    <a:gd name="T56" fmla="*/ 1 w 160"/>
                    <a:gd name="T57" fmla="*/ 1 h 296"/>
                    <a:gd name="T58" fmla="*/ 1 w 160"/>
                    <a:gd name="T59" fmla="*/ 1 h 296"/>
                    <a:gd name="T60" fmla="*/ 1 w 160"/>
                    <a:gd name="T61" fmla="*/ 1 h 296"/>
                    <a:gd name="T62" fmla="*/ 1 w 160"/>
                    <a:gd name="T63" fmla="*/ 1 h 296"/>
                    <a:gd name="T64" fmla="*/ 1 w 160"/>
                    <a:gd name="T65" fmla="*/ 1 h 296"/>
                    <a:gd name="T66" fmla="*/ 1 w 160"/>
                    <a:gd name="T67" fmla="*/ 1 h 296"/>
                    <a:gd name="T68" fmla="*/ 1 w 160"/>
                    <a:gd name="T69" fmla="*/ 1 h 296"/>
                    <a:gd name="T70" fmla="*/ 1 w 160"/>
                    <a:gd name="T71" fmla="*/ 1 h 296"/>
                    <a:gd name="T72" fmla="*/ 1 w 160"/>
                    <a:gd name="T73" fmla="*/ 1 h 296"/>
                    <a:gd name="T74" fmla="*/ 1 w 160"/>
                    <a:gd name="T75" fmla="*/ 1 h 296"/>
                    <a:gd name="T76" fmla="*/ 1 w 160"/>
                    <a:gd name="T77" fmla="*/ 1 h 296"/>
                    <a:gd name="T78" fmla="*/ 1 w 160"/>
                    <a:gd name="T79" fmla="*/ 1 h 296"/>
                    <a:gd name="T80" fmla="*/ 1 w 160"/>
                    <a:gd name="T81" fmla="*/ 1 h 296"/>
                    <a:gd name="T82" fmla="*/ 1 w 160"/>
                    <a:gd name="T83" fmla="*/ 1 h 296"/>
                    <a:gd name="T84" fmla="*/ 1 w 160"/>
                    <a:gd name="T85" fmla="*/ 0 h 296"/>
                    <a:gd name="T86" fmla="*/ 1 w 160"/>
                    <a:gd name="T87" fmla="*/ 0 h 296"/>
                    <a:gd name="T88" fmla="*/ 1 w 160"/>
                    <a:gd name="T89" fmla="*/ 1 h 296"/>
                    <a:gd name="T90" fmla="*/ 1 w 160"/>
                    <a:gd name="T91" fmla="*/ 1 h 296"/>
                    <a:gd name="T92" fmla="*/ 1 w 160"/>
                    <a:gd name="T93" fmla="*/ 1 h 29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w 160"/>
                    <a:gd name="T142" fmla="*/ 0 h 296"/>
                    <a:gd name="T143" fmla="*/ 160 w 160"/>
                    <a:gd name="T144" fmla="*/ 296 h 29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T141" t="T142" r="T143" b="T144"/>
                  <a:pathLst>
                    <a:path w="160" h="296">
                      <a:moveTo>
                        <a:pt x="16" y="56"/>
                      </a:moveTo>
                      <a:lnTo>
                        <a:pt x="8" y="64"/>
                      </a:lnTo>
                      <a:lnTo>
                        <a:pt x="0" y="72"/>
                      </a:lnTo>
                      <a:lnTo>
                        <a:pt x="8" y="88"/>
                      </a:lnTo>
                      <a:lnTo>
                        <a:pt x="8" y="80"/>
                      </a:lnTo>
                      <a:lnTo>
                        <a:pt x="16" y="72"/>
                      </a:lnTo>
                      <a:lnTo>
                        <a:pt x="24" y="72"/>
                      </a:lnTo>
                      <a:lnTo>
                        <a:pt x="24" y="80"/>
                      </a:lnTo>
                      <a:lnTo>
                        <a:pt x="16" y="88"/>
                      </a:lnTo>
                      <a:lnTo>
                        <a:pt x="16" y="96"/>
                      </a:lnTo>
                      <a:lnTo>
                        <a:pt x="16" y="112"/>
                      </a:lnTo>
                      <a:lnTo>
                        <a:pt x="16" y="120"/>
                      </a:lnTo>
                      <a:lnTo>
                        <a:pt x="16" y="112"/>
                      </a:lnTo>
                      <a:lnTo>
                        <a:pt x="24" y="104"/>
                      </a:lnTo>
                      <a:lnTo>
                        <a:pt x="32" y="96"/>
                      </a:lnTo>
                      <a:lnTo>
                        <a:pt x="32" y="104"/>
                      </a:lnTo>
                      <a:lnTo>
                        <a:pt x="32" y="112"/>
                      </a:lnTo>
                      <a:lnTo>
                        <a:pt x="32" y="120"/>
                      </a:lnTo>
                      <a:lnTo>
                        <a:pt x="24" y="128"/>
                      </a:lnTo>
                      <a:lnTo>
                        <a:pt x="24" y="144"/>
                      </a:lnTo>
                      <a:lnTo>
                        <a:pt x="32" y="144"/>
                      </a:lnTo>
                      <a:lnTo>
                        <a:pt x="48" y="144"/>
                      </a:lnTo>
                      <a:lnTo>
                        <a:pt x="64" y="136"/>
                      </a:lnTo>
                      <a:lnTo>
                        <a:pt x="56" y="152"/>
                      </a:lnTo>
                      <a:lnTo>
                        <a:pt x="64" y="160"/>
                      </a:lnTo>
                      <a:lnTo>
                        <a:pt x="64" y="168"/>
                      </a:lnTo>
                      <a:lnTo>
                        <a:pt x="72" y="168"/>
                      </a:lnTo>
                      <a:lnTo>
                        <a:pt x="72" y="184"/>
                      </a:lnTo>
                      <a:lnTo>
                        <a:pt x="64" y="184"/>
                      </a:lnTo>
                      <a:lnTo>
                        <a:pt x="56" y="192"/>
                      </a:lnTo>
                      <a:lnTo>
                        <a:pt x="40" y="192"/>
                      </a:lnTo>
                      <a:lnTo>
                        <a:pt x="40" y="208"/>
                      </a:lnTo>
                      <a:lnTo>
                        <a:pt x="48" y="208"/>
                      </a:lnTo>
                      <a:lnTo>
                        <a:pt x="40" y="232"/>
                      </a:lnTo>
                      <a:lnTo>
                        <a:pt x="32" y="232"/>
                      </a:lnTo>
                      <a:lnTo>
                        <a:pt x="24" y="240"/>
                      </a:lnTo>
                      <a:lnTo>
                        <a:pt x="24" y="248"/>
                      </a:lnTo>
                      <a:lnTo>
                        <a:pt x="48" y="248"/>
                      </a:lnTo>
                      <a:lnTo>
                        <a:pt x="56" y="256"/>
                      </a:lnTo>
                      <a:lnTo>
                        <a:pt x="64" y="256"/>
                      </a:lnTo>
                      <a:lnTo>
                        <a:pt x="64" y="248"/>
                      </a:lnTo>
                      <a:lnTo>
                        <a:pt x="72" y="248"/>
                      </a:lnTo>
                      <a:lnTo>
                        <a:pt x="72" y="256"/>
                      </a:lnTo>
                      <a:lnTo>
                        <a:pt x="64" y="264"/>
                      </a:lnTo>
                      <a:lnTo>
                        <a:pt x="48" y="264"/>
                      </a:lnTo>
                      <a:lnTo>
                        <a:pt x="48" y="272"/>
                      </a:lnTo>
                      <a:lnTo>
                        <a:pt x="40" y="272"/>
                      </a:lnTo>
                      <a:lnTo>
                        <a:pt x="32" y="280"/>
                      </a:lnTo>
                      <a:lnTo>
                        <a:pt x="24" y="296"/>
                      </a:lnTo>
                      <a:lnTo>
                        <a:pt x="32" y="296"/>
                      </a:lnTo>
                      <a:lnTo>
                        <a:pt x="40" y="288"/>
                      </a:lnTo>
                      <a:lnTo>
                        <a:pt x="64" y="288"/>
                      </a:lnTo>
                      <a:lnTo>
                        <a:pt x="64" y="280"/>
                      </a:lnTo>
                      <a:lnTo>
                        <a:pt x="80" y="280"/>
                      </a:lnTo>
                      <a:lnTo>
                        <a:pt x="112" y="272"/>
                      </a:lnTo>
                      <a:lnTo>
                        <a:pt x="120" y="272"/>
                      </a:lnTo>
                      <a:lnTo>
                        <a:pt x="136" y="272"/>
                      </a:lnTo>
                      <a:lnTo>
                        <a:pt x="152" y="264"/>
                      </a:lnTo>
                      <a:lnTo>
                        <a:pt x="152" y="256"/>
                      </a:lnTo>
                      <a:lnTo>
                        <a:pt x="144" y="256"/>
                      </a:lnTo>
                      <a:lnTo>
                        <a:pt x="136" y="256"/>
                      </a:lnTo>
                      <a:lnTo>
                        <a:pt x="136" y="248"/>
                      </a:lnTo>
                      <a:lnTo>
                        <a:pt x="144" y="248"/>
                      </a:lnTo>
                      <a:lnTo>
                        <a:pt x="152" y="240"/>
                      </a:lnTo>
                      <a:lnTo>
                        <a:pt x="160" y="224"/>
                      </a:lnTo>
                      <a:lnTo>
                        <a:pt x="160" y="208"/>
                      </a:lnTo>
                      <a:lnTo>
                        <a:pt x="136" y="208"/>
                      </a:lnTo>
                      <a:lnTo>
                        <a:pt x="128" y="208"/>
                      </a:lnTo>
                      <a:lnTo>
                        <a:pt x="128" y="168"/>
                      </a:lnTo>
                      <a:lnTo>
                        <a:pt x="128" y="160"/>
                      </a:lnTo>
                      <a:lnTo>
                        <a:pt x="112" y="144"/>
                      </a:lnTo>
                      <a:lnTo>
                        <a:pt x="104" y="144"/>
                      </a:lnTo>
                      <a:lnTo>
                        <a:pt x="104" y="120"/>
                      </a:lnTo>
                      <a:lnTo>
                        <a:pt x="88" y="96"/>
                      </a:lnTo>
                      <a:lnTo>
                        <a:pt x="80" y="96"/>
                      </a:lnTo>
                      <a:lnTo>
                        <a:pt x="72" y="96"/>
                      </a:lnTo>
                      <a:lnTo>
                        <a:pt x="64" y="96"/>
                      </a:lnTo>
                      <a:lnTo>
                        <a:pt x="72" y="88"/>
                      </a:lnTo>
                      <a:lnTo>
                        <a:pt x="72" y="72"/>
                      </a:lnTo>
                      <a:lnTo>
                        <a:pt x="88" y="40"/>
                      </a:lnTo>
                      <a:lnTo>
                        <a:pt x="88" y="32"/>
                      </a:lnTo>
                      <a:lnTo>
                        <a:pt x="72" y="32"/>
                      </a:lnTo>
                      <a:lnTo>
                        <a:pt x="48" y="32"/>
                      </a:lnTo>
                      <a:lnTo>
                        <a:pt x="56" y="16"/>
                      </a:lnTo>
                      <a:lnTo>
                        <a:pt x="64" y="8"/>
                      </a:lnTo>
                      <a:lnTo>
                        <a:pt x="72" y="0"/>
                      </a:lnTo>
                      <a:lnTo>
                        <a:pt x="56" y="0"/>
                      </a:lnTo>
                      <a:lnTo>
                        <a:pt x="32" y="0"/>
                      </a:lnTo>
                      <a:lnTo>
                        <a:pt x="24" y="8"/>
                      </a:lnTo>
                      <a:lnTo>
                        <a:pt x="24" y="24"/>
                      </a:lnTo>
                      <a:lnTo>
                        <a:pt x="8" y="32"/>
                      </a:lnTo>
                      <a:lnTo>
                        <a:pt x="8" y="40"/>
                      </a:lnTo>
                      <a:lnTo>
                        <a:pt x="16" y="48"/>
                      </a:lnTo>
                      <a:lnTo>
                        <a:pt x="16" y="5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83" name="Freeform 279"/>
                <p:cNvSpPr>
                  <a:spLocks noChangeAspect="1"/>
                </p:cNvSpPr>
                <p:nvPr/>
              </p:nvSpPr>
              <p:spPr bwMode="auto">
                <a:xfrm>
                  <a:off x="2412" y="1603"/>
                  <a:ext cx="158" cy="107"/>
                </a:xfrm>
                <a:custGeom>
                  <a:avLst/>
                  <a:gdLst>
                    <a:gd name="T0" fmla="*/ 1 w 224"/>
                    <a:gd name="T1" fmla="*/ 1 h 152"/>
                    <a:gd name="T2" fmla="*/ 1 w 224"/>
                    <a:gd name="T3" fmla="*/ 1 h 152"/>
                    <a:gd name="T4" fmla="*/ 1 w 224"/>
                    <a:gd name="T5" fmla="*/ 1 h 152"/>
                    <a:gd name="T6" fmla="*/ 1 w 224"/>
                    <a:gd name="T7" fmla="*/ 1 h 152"/>
                    <a:gd name="T8" fmla="*/ 1 w 224"/>
                    <a:gd name="T9" fmla="*/ 1 h 152"/>
                    <a:gd name="T10" fmla="*/ 1 w 224"/>
                    <a:gd name="T11" fmla="*/ 1 h 152"/>
                    <a:gd name="T12" fmla="*/ 1 w 224"/>
                    <a:gd name="T13" fmla="*/ 1 h 152"/>
                    <a:gd name="T14" fmla="*/ 1 w 224"/>
                    <a:gd name="T15" fmla="*/ 1 h 152"/>
                    <a:gd name="T16" fmla="*/ 1 w 224"/>
                    <a:gd name="T17" fmla="*/ 0 h 152"/>
                    <a:gd name="T18" fmla="*/ 1 w 224"/>
                    <a:gd name="T19" fmla="*/ 1 h 152"/>
                    <a:gd name="T20" fmla="*/ 1 w 224"/>
                    <a:gd name="T21" fmla="*/ 1 h 152"/>
                    <a:gd name="T22" fmla="*/ 1 w 224"/>
                    <a:gd name="T23" fmla="*/ 1 h 152"/>
                    <a:gd name="T24" fmla="*/ 1 w 224"/>
                    <a:gd name="T25" fmla="*/ 1 h 152"/>
                    <a:gd name="T26" fmla="*/ 1 w 224"/>
                    <a:gd name="T27" fmla="*/ 1 h 152"/>
                    <a:gd name="T28" fmla="*/ 1 w 224"/>
                    <a:gd name="T29" fmla="*/ 1 h 152"/>
                    <a:gd name="T30" fmla="*/ 1 w 224"/>
                    <a:gd name="T31" fmla="*/ 1 h 152"/>
                    <a:gd name="T32" fmla="*/ 1 w 224"/>
                    <a:gd name="T33" fmla="*/ 1 h 152"/>
                    <a:gd name="T34" fmla="*/ 1 w 224"/>
                    <a:gd name="T35" fmla="*/ 1 h 152"/>
                    <a:gd name="T36" fmla="*/ 1 w 224"/>
                    <a:gd name="T37" fmla="*/ 1 h 152"/>
                    <a:gd name="T38" fmla="*/ 1 w 224"/>
                    <a:gd name="T39" fmla="*/ 1 h 152"/>
                    <a:gd name="T40" fmla="*/ 1 w 224"/>
                    <a:gd name="T41" fmla="*/ 1 h 152"/>
                    <a:gd name="T42" fmla="*/ 0 w 224"/>
                    <a:gd name="T43" fmla="*/ 1 h 152"/>
                    <a:gd name="T44" fmla="*/ 1 w 224"/>
                    <a:gd name="T45" fmla="*/ 1 h 152"/>
                    <a:gd name="T46" fmla="*/ 1 w 224"/>
                    <a:gd name="T47" fmla="*/ 1 h 152"/>
                    <a:gd name="T48" fmla="*/ 1 w 224"/>
                    <a:gd name="T49" fmla="*/ 1 h 152"/>
                    <a:gd name="T50" fmla="*/ 1 w 224"/>
                    <a:gd name="T51" fmla="*/ 1 h 152"/>
                    <a:gd name="T52" fmla="*/ 1 w 224"/>
                    <a:gd name="T53" fmla="*/ 1 h 152"/>
                    <a:gd name="T54" fmla="*/ 1 w 224"/>
                    <a:gd name="T55" fmla="*/ 1 h 152"/>
                    <a:gd name="T56" fmla="*/ 1 w 224"/>
                    <a:gd name="T57" fmla="*/ 1 h 152"/>
                    <a:gd name="T58" fmla="*/ 1 w 224"/>
                    <a:gd name="T59" fmla="*/ 1 h 152"/>
                    <a:gd name="T60" fmla="*/ 1 w 224"/>
                    <a:gd name="T61" fmla="*/ 1 h 152"/>
                    <a:gd name="T62" fmla="*/ 1 w 224"/>
                    <a:gd name="T63" fmla="*/ 1 h 152"/>
                    <a:gd name="T64" fmla="*/ 1 w 224"/>
                    <a:gd name="T65" fmla="*/ 1 h 152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224"/>
                    <a:gd name="T100" fmla="*/ 0 h 152"/>
                    <a:gd name="T101" fmla="*/ 224 w 224"/>
                    <a:gd name="T102" fmla="*/ 152 h 152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224" h="152">
                      <a:moveTo>
                        <a:pt x="144" y="136"/>
                      </a:moveTo>
                      <a:lnTo>
                        <a:pt x="160" y="128"/>
                      </a:lnTo>
                      <a:lnTo>
                        <a:pt x="176" y="112"/>
                      </a:lnTo>
                      <a:lnTo>
                        <a:pt x="192" y="112"/>
                      </a:lnTo>
                      <a:lnTo>
                        <a:pt x="200" y="96"/>
                      </a:lnTo>
                      <a:lnTo>
                        <a:pt x="216" y="88"/>
                      </a:lnTo>
                      <a:lnTo>
                        <a:pt x="224" y="64"/>
                      </a:lnTo>
                      <a:lnTo>
                        <a:pt x="216" y="48"/>
                      </a:lnTo>
                      <a:lnTo>
                        <a:pt x="208" y="48"/>
                      </a:lnTo>
                      <a:lnTo>
                        <a:pt x="208" y="40"/>
                      </a:lnTo>
                      <a:lnTo>
                        <a:pt x="200" y="40"/>
                      </a:lnTo>
                      <a:lnTo>
                        <a:pt x="200" y="24"/>
                      </a:lnTo>
                      <a:lnTo>
                        <a:pt x="200" y="16"/>
                      </a:lnTo>
                      <a:lnTo>
                        <a:pt x="208" y="16"/>
                      </a:lnTo>
                      <a:lnTo>
                        <a:pt x="200" y="8"/>
                      </a:lnTo>
                      <a:lnTo>
                        <a:pt x="184" y="8"/>
                      </a:lnTo>
                      <a:lnTo>
                        <a:pt x="184" y="0"/>
                      </a:lnTo>
                      <a:lnTo>
                        <a:pt x="160" y="0"/>
                      </a:lnTo>
                      <a:lnTo>
                        <a:pt x="168" y="16"/>
                      </a:lnTo>
                      <a:lnTo>
                        <a:pt x="144" y="24"/>
                      </a:lnTo>
                      <a:lnTo>
                        <a:pt x="136" y="16"/>
                      </a:lnTo>
                      <a:lnTo>
                        <a:pt x="128" y="24"/>
                      </a:lnTo>
                      <a:lnTo>
                        <a:pt x="128" y="32"/>
                      </a:lnTo>
                      <a:lnTo>
                        <a:pt x="120" y="32"/>
                      </a:lnTo>
                      <a:lnTo>
                        <a:pt x="120" y="24"/>
                      </a:lnTo>
                      <a:lnTo>
                        <a:pt x="96" y="24"/>
                      </a:lnTo>
                      <a:lnTo>
                        <a:pt x="96" y="40"/>
                      </a:lnTo>
                      <a:lnTo>
                        <a:pt x="88" y="32"/>
                      </a:lnTo>
                      <a:lnTo>
                        <a:pt x="80" y="32"/>
                      </a:lnTo>
                      <a:lnTo>
                        <a:pt x="88" y="40"/>
                      </a:lnTo>
                      <a:lnTo>
                        <a:pt x="80" y="48"/>
                      </a:lnTo>
                      <a:lnTo>
                        <a:pt x="72" y="48"/>
                      </a:lnTo>
                      <a:lnTo>
                        <a:pt x="72" y="56"/>
                      </a:lnTo>
                      <a:lnTo>
                        <a:pt x="64" y="56"/>
                      </a:lnTo>
                      <a:lnTo>
                        <a:pt x="56" y="32"/>
                      </a:lnTo>
                      <a:lnTo>
                        <a:pt x="56" y="24"/>
                      </a:lnTo>
                      <a:lnTo>
                        <a:pt x="40" y="8"/>
                      </a:lnTo>
                      <a:lnTo>
                        <a:pt x="24" y="8"/>
                      </a:lnTo>
                      <a:lnTo>
                        <a:pt x="32" y="16"/>
                      </a:lnTo>
                      <a:lnTo>
                        <a:pt x="40" y="32"/>
                      </a:lnTo>
                      <a:lnTo>
                        <a:pt x="24" y="32"/>
                      </a:lnTo>
                      <a:lnTo>
                        <a:pt x="24" y="24"/>
                      </a:lnTo>
                      <a:lnTo>
                        <a:pt x="16" y="24"/>
                      </a:lnTo>
                      <a:lnTo>
                        <a:pt x="0" y="48"/>
                      </a:lnTo>
                      <a:lnTo>
                        <a:pt x="0" y="56"/>
                      </a:lnTo>
                      <a:lnTo>
                        <a:pt x="16" y="48"/>
                      </a:lnTo>
                      <a:lnTo>
                        <a:pt x="40" y="48"/>
                      </a:lnTo>
                      <a:lnTo>
                        <a:pt x="48" y="56"/>
                      </a:lnTo>
                      <a:lnTo>
                        <a:pt x="40" y="64"/>
                      </a:lnTo>
                      <a:lnTo>
                        <a:pt x="56" y="72"/>
                      </a:lnTo>
                      <a:lnTo>
                        <a:pt x="56" y="80"/>
                      </a:lnTo>
                      <a:lnTo>
                        <a:pt x="40" y="80"/>
                      </a:lnTo>
                      <a:lnTo>
                        <a:pt x="24" y="80"/>
                      </a:lnTo>
                      <a:lnTo>
                        <a:pt x="16" y="80"/>
                      </a:lnTo>
                      <a:lnTo>
                        <a:pt x="8" y="88"/>
                      </a:lnTo>
                      <a:lnTo>
                        <a:pt x="32" y="88"/>
                      </a:lnTo>
                      <a:lnTo>
                        <a:pt x="40" y="88"/>
                      </a:lnTo>
                      <a:lnTo>
                        <a:pt x="40" y="96"/>
                      </a:lnTo>
                      <a:lnTo>
                        <a:pt x="48" y="112"/>
                      </a:lnTo>
                      <a:lnTo>
                        <a:pt x="48" y="120"/>
                      </a:lnTo>
                      <a:lnTo>
                        <a:pt x="32" y="120"/>
                      </a:lnTo>
                      <a:lnTo>
                        <a:pt x="32" y="128"/>
                      </a:lnTo>
                      <a:lnTo>
                        <a:pt x="48" y="136"/>
                      </a:lnTo>
                      <a:lnTo>
                        <a:pt x="64" y="136"/>
                      </a:lnTo>
                      <a:lnTo>
                        <a:pt x="88" y="152"/>
                      </a:lnTo>
                      <a:lnTo>
                        <a:pt x="128" y="152"/>
                      </a:lnTo>
                      <a:lnTo>
                        <a:pt x="144" y="13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84" name="Freeform 280"/>
                <p:cNvSpPr>
                  <a:spLocks noChangeAspect="1"/>
                </p:cNvSpPr>
                <p:nvPr/>
              </p:nvSpPr>
              <p:spPr bwMode="auto">
                <a:xfrm>
                  <a:off x="2615" y="1941"/>
                  <a:ext cx="73" cy="96"/>
                </a:xfrm>
                <a:custGeom>
                  <a:avLst/>
                  <a:gdLst>
                    <a:gd name="T0" fmla="*/ 0 w 104"/>
                    <a:gd name="T1" fmla="*/ 1 h 136"/>
                    <a:gd name="T2" fmla="*/ 0 w 104"/>
                    <a:gd name="T3" fmla="*/ 1 h 136"/>
                    <a:gd name="T4" fmla="*/ 1 w 104"/>
                    <a:gd name="T5" fmla="*/ 1 h 136"/>
                    <a:gd name="T6" fmla="*/ 1 w 104"/>
                    <a:gd name="T7" fmla="*/ 1 h 136"/>
                    <a:gd name="T8" fmla="*/ 1 w 104"/>
                    <a:gd name="T9" fmla="*/ 1 h 136"/>
                    <a:gd name="T10" fmla="*/ 1 w 104"/>
                    <a:gd name="T11" fmla="*/ 1 h 136"/>
                    <a:gd name="T12" fmla="*/ 1 w 104"/>
                    <a:gd name="T13" fmla="*/ 1 h 136"/>
                    <a:gd name="T14" fmla="*/ 1 w 104"/>
                    <a:gd name="T15" fmla="*/ 1 h 136"/>
                    <a:gd name="T16" fmla="*/ 1 w 104"/>
                    <a:gd name="T17" fmla="*/ 1 h 136"/>
                    <a:gd name="T18" fmla="*/ 1 w 104"/>
                    <a:gd name="T19" fmla="*/ 1 h 136"/>
                    <a:gd name="T20" fmla="*/ 1 w 104"/>
                    <a:gd name="T21" fmla="*/ 1 h 136"/>
                    <a:gd name="T22" fmla="*/ 1 w 104"/>
                    <a:gd name="T23" fmla="*/ 1 h 136"/>
                    <a:gd name="T24" fmla="*/ 1 w 104"/>
                    <a:gd name="T25" fmla="*/ 1 h 136"/>
                    <a:gd name="T26" fmla="*/ 1 w 104"/>
                    <a:gd name="T27" fmla="*/ 1 h 136"/>
                    <a:gd name="T28" fmla="*/ 1 w 104"/>
                    <a:gd name="T29" fmla="*/ 1 h 136"/>
                    <a:gd name="T30" fmla="*/ 1 w 104"/>
                    <a:gd name="T31" fmla="*/ 1 h 136"/>
                    <a:gd name="T32" fmla="*/ 1 w 104"/>
                    <a:gd name="T33" fmla="*/ 1 h 136"/>
                    <a:gd name="T34" fmla="*/ 1 w 104"/>
                    <a:gd name="T35" fmla="*/ 0 h 136"/>
                    <a:gd name="T36" fmla="*/ 1 w 104"/>
                    <a:gd name="T37" fmla="*/ 0 h 136"/>
                    <a:gd name="T38" fmla="*/ 1 w 104"/>
                    <a:gd name="T39" fmla="*/ 1 h 136"/>
                    <a:gd name="T40" fmla="*/ 1 w 104"/>
                    <a:gd name="T41" fmla="*/ 1 h 136"/>
                    <a:gd name="T42" fmla="*/ 1 w 104"/>
                    <a:gd name="T43" fmla="*/ 1 h 136"/>
                    <a:gd name="T44" fmla="*/ 1 w 104"/>
                    <a:gd name="T45" fmla="*/ 1 h 136"/>
                    <a:gd name="T46" fmla="*/ 1 w 104"/>
                    <a:gd name="T47" fmla="*/ 1 h 136"/>
                    <a:gd name="T48" fmla="*/ 1 w 104"/>
                    <a:gd name="T49" fmla="*/ 1 h 136"/>
                    <a:gd name="T50" fmla="*/ 1 w 104"/>
                    <a:gd name="T51" fmla="*/ 1 h 136"/>
                    <a:gd name="T52" fmla="*/ 0 w 104"/>
                    <a:gd name="T53" fmla="*/ 1 h 136"/>
                    <a:gd name="T54" fmla="*/ 1 w 104"/>
                    <a:gd name="T55" fmla="*/ 1 h 136"/>
                    <a:gd name="T56" fmla="*/ 1 w 104"/>
                    <a:gd name="T57" fmla="*/ 1 h 136"/>
                    <a:gd name="T58" fmla="*/ 0 w 104"/>
                    <a:gd name="T59" fmla="*/ 1 h 136"/>
                    <a:gd name="T60" fmla="*/ 1 w 104"/>
                    <a:gd name="T61" fmla="*/ 1 h 136"/>
                    <a:gd name="T62" fmla="*/ 1 w 104"/>
                    <a:gd name="T63" fmla="*/ 1 h 136"/>
                    <a:gd name="T64" fmla="*/ 1 w 104"/>
                    <a:gd name="T65" fmla="*/ 1 h 136"/>
                    <a:gd name="T66" fmla="*/ 1 w 104"/>
                    <a:gd name="T67" fmla="*/ 1 h 136"/>
                    <a:gd name="T68" fmla="*/ 1 w 104"/>
                    <a:gd name="T69" fmla="*/ 1 h 136"/>
                    <a:gd name="T70" fmla="*/ 1 w 104"/>
                    <a:gd name="T71" fmla="*/ 1 h 136"/>
                    <a:gd name="T72" fmla="*/ 0 w 104"/>
                    <a:gd name="T73" fmla="*/ 1 h 136"/>
                    <a:gd name="T74" fmla="*/ 0 w 104"/>
                    <a:gd name="T75" fmla="*/ 1 h 1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104"/>
                    <a:gd name="T115" fmla="*/ 0 h 136"/>
                    <a:gd name="T116" fmla="*/ 104 w 104"/>
                    <a:gd name="T117" fmla="*/ 136 h 136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104" h="136">
                      <a:moveTo>
                        <a:pt x="0" y="112"/>
                      </a:moveTo>
                      <a:lnTo>
                        <a:pt x="0" y="120"/>
                      </a:lnTo>
                      <a:lnTo>
                        <a:pt x="8" y="128"/>
                      </a:lnTo>
                      <a:lnTo>
                        <a:pt x="16" y="136"/>
                      </a:lnTo>
                      <a:lnTo>
                        <a:pt x="24" y="128"/>
                      </a:lnTo>
                      <a:lnTo>
                        <a:pt x="40" y="120"/>
                      </a:lnTo>
                      <a:lnTo>
                        <a:pt x="64" y="112"/>
                      </a:lnTo>
                      <a:lnTo>
                        <a:pt x="80" y="112"/>
                      </a:lnTo>
                      <a:lnTo>
                        <a:pt x="80" y="88"/>
                      </a:lnTo>
                      <a:lnTo>
                        <a:pt x="88" y="72"/>
                      </a:lnTo>
                      <a:lnTo>
                        <a:pt x="80" y="64"/>
                      </a:lnTo>
                      <a:lnTo>
                        <a:pt x="80" y="48"/>
                      </a:lnTo>
                      <a:lnTo>
                        <a:pt x="96" y="40"/>
                      </a:lnTo>
                      <a:lnTo>
                        <a:pt x="104" y="24"/>
                      </a:lnTo>
                      <a:lnTo>
                        <a:pt x="96" y="24"/>
                      </a:lnTo>
                      <a:lnTo>
                        <a:pt x="88" y="8"/>
                      </a:lnTo>
                      <a:lnTo>
                        <a:pt x="72" y="8"/>
                      </a:lnTo>
                      <a:lnTo>
                        <a:pt x="72" y="0"/>
                      </a:lnTo>
                      <a:lnTo>
                        <a:pt x="56" y="0"/>
                      </a:lnTo>
                      <a:lnTo>
                        <a:pt x="40" y="8"/>
                      </a:lnTo>
                      <a:lnTo>
                        <a:pt x="32" y="8"/>
                      </a:lnTo>
                      <a:lnTo>
                        <a:pt x="32" y="24"/>
                      </a:lnTo>
                      <a:lnTo>
                        <a:pt x="32" y="32"/>
                      </a:lnTo>
                      <a:lnTo>
                        <a:pt x="24" y="40"/>
                      </a:lnTo>
                      <a:lnTo>
                        <a:pt x="16" y="40"/>
                      </a:lnTo>
                      <a:lnTo>
                        <a:pt x="8" y="40"/>
                      </a:lnTo>
                      <a:lnTo>
                        <a:pt x="0" y="48"/>
                      </a:lnTo>
                      <a:lnTo>
                        <a:pt x="8" y="56"/>
                      </a:lnTo>
                      <a:lnTo>
                        <a:pt x="8" y="64"/>
                      </a:lnTo>
                      <a:lnTo>
                        <a:pt x="0" y="72"/>
                      </a:lnTo>
                      <a:lnTo>
                        <a:pt x="8" y="72"/>
                      </a:lnTo>
                      <a:lnTo>
                        <a:pt x="16" y="72"/>
                      </a:lnTo>
                      <a:lnTo>
                        <a:pt x="24" y="72"/>
                      </a:lnTo>
                      <a:lnTo>
                        <a:pt x="16" y="80"/>
                      </a:lnTo>
                      <a:lnTo>
                        <a:pt x="16" y="96"/>
                      </a:lnTo>
                      <a:lnTo>
                        <a:pt x="24" y="96"/>
                      </a:lnTo>
                      <a:lnTo>
                        <a:pt x="0" y="104"/>
                      </a:lnTo>
                      <a:lnTo>
                        <a:pt x="0" y="112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85" name="Freeform 281"/>
                <p:cNvSpPr>
                  <a:spLocks noChangeAspect="1"/>
                </p:cNvSpPr>
                <p:nvPr/>
              </p:nvSpPr>
              <p:spPr bwMode="auto">
                <a:xfrm>
                  <a:off x="1703" y="1069"/>
                  <a:ext cx="883" cy="748"/>
                </a:xfrm>
                <a:custGeom>
                  <a:avLst/>
                  <a:gdLst>
                    <a:gd name="T0" fmla="*/ 1 w 1256"/>
                    <a:gd name="T1" fmla="*/ 1 h 1064"/>
                    <a:gd name="T2" fmla="*/ 1 w 1256"/>
                    <a:gd name="T3" fmla="*/ 1 h 1064"/>
                    <a:gd name="T4" fmla="*/ 1 w 1256"/>
                    <a:gd name="T5" fmla="*/ 1 h 1064"/>
                    <a:gd name="T6" fmla="*/ 1 w 1256"/>
                    <a:gd name="T7" fmla="*/ 1 h 1064"/>
                    <a:gd name="T8" fmla="*/ 1 w 1256"/>
                    <a:gd name="T9" fmla="*/ 1 h 1064"/>
                    <a:gd name="T10" fmla="*/ 1 w 1256"/>
                    <a:gd name="T11" fmla="*/ 1 h 1064"/>
                    <a:gd name="T12" fmla="*/ 1 w 1256"/>
                    <a:gd name="T13" fmla="*/ 1 h 1064"/>
                    <a:gd name="T14" fmla="*/ 1 w 1256"/>
                    <a:gd name="T15" fmla="*/ 1 h 1064"/>
                    <a:gd name="T16" fmla="*/ 1 w 1256"/>
                    <a:gd name="T17" fmla="*/ 1 h 1064"/>
                    <a:gd name="T18" fmla="*/ 1 w 1256"/>
                    <a:gd name="T19" fmla="*/ 1 h 1064"/>
                    <a:gd name="T20" fmla="*/ 1 w 1256"/>
                    <a:gd name="T21" fmla="*/ 1 h 1064"/>
                    <a:gd name="T22" fmla="*/ 1 w 1256"/>
                    <a:gd name="T23" fmla="*/ 1 h 1064"/>
                    <a:gd name="T24" fmla="*/ 1 w 1256"/>
                    <a:gd name="T25" fmla="*/ 1 h 1064"/>
                    <a:gd name="T26" fmla="*/ 1 w 1256"/>
                    <a:gd name="T27" fmla="*/ 1 h 1064"/>
                    <a:gd name="T28" fmla="*/ 1 w 1256"/>
                    <a:gd name="T29" fmla="*/ 1 h 1064"/>
                    <a:gd name="T30" fmla="*/ 1 w 1256"/>
                    <a:gd name="T31" fmla="*/ 1 h 1064"/>
                    <a:gd name="T32" fmla="*/ 1 w 1256"/>
                    <a:gd name="T33" fmla="*/ 1 h 1064"/>
                    <a:gd name="T34" fmla="*/ 1 w 1256"/>
                    <a:gd name="T35" fmla="*/ 1 h 1064"/>
                    <a:gd name="T36" fmla="*/ 1 w 1256"/>
                    <a:gd name="T37" fmla="*/ 1 h 1064"/>
                    <a:gd name="T38" fmla="*/ 1 w 1256"/>
                    <a:gd name="T39" fmla="*/ 1 h 1064"/>
                    <a:gd name="T40" fmla="*/ 1 w 1256"/>
                    <a:gd name="T41" fmla="*/ 1 h 1064"/>
                    <a:gd name="T42" fmla="*/ 1 w 1256"/>
                    <a:gd name="T43" fmla="*/ 1 h 1064"/>
                    <a:gd name="T44" fmla="*/ 1 w 1256"/>
                    <a:gd name="T45" fmla="*/ 1 h 1064"/>
                    <a:gd name="T46" fmla="*/ 1 w 1256"/>
                    <a:gd name="T47" fmla="*/ 1 h 1064"/>
                    <a:gd name="T48" fmla="*/ 1 w 1256"/>
                    <a:gd name="T49" fmla="*/ 1 h 1064"/>
                    <a:gd name="T50" fmla="*/ 1 w 1256"/>
                    <a:gd name="T51" fmla="*/ 0 h 1064"/>
                    <a:gd name="T52" fmla="*/ 1 w 1256"/>
                    <a:gd name="T53" fmla="*/ 0 h 1064"/>
                    <a:gd name="T54" fmla="*/ 1 w 1256"/>
                    <a:gd name="T55" fmla="*/ 1 h 1064"/>
                    <a:gd name="T56" fmla="*/ 1 w 1256"/>
                    <a:gd name="T57" fmla="*/ 1 h 1064"/>
                    <a:gd name="T58" fmla="*/ 1 w 1256"/>
                    <a:gd name="T59" fmla="*/ 1 h 1064"/>
                    <a:gd name="T60" fmla="*/ 1 w 1256"/>
                    <a:gd name="T61" fmla="*/ 1 h 1064"/>
                    <a:gd name="T62" fmla="*/ 1 w 1256"/>
                    <a:gd name="T63" fmla="*/ 1 h 1064"/>
                    <a:gd name="T64" fmla="*/ 1 w 1256"/>
                    <a:gd name="T65" fmla="*/ 1 h 1064"/>
                    <a:gd name="T66" fmla="*/ 1 w 1256"/>
                    <a:gd name="T67" fmla="*/ 1 h 1064"/>
                    <a:gd name="T68" fmla="*/ 1 w 1256"/>
                    <a:gd name="T69" fmla="*/ 1 h 1064"/>
                    <a:gd name="T70" fmla="*/ 1 w 1256"/>
                    <a:gd name="T71" fmla="*/ 1 h 1064"/>
                    <a:gd name="T72" fmla="*/ 1 w 1256"/>
                    <a:gd name="T73" fmla="*/ 1 h 1064"/>
                    <a:gd name="T74" fmla="*/ 1 w 1256"/>
                    <a:gd name="T75" fmla="*/ 1 h 1064"/>
                    <a:gd name="T76" fmla="*/ 1 w 1256"/>
                    <a:gd name="T77" fmla="*/ 1 h 1064"/>
                    <a:gd name="T78" fmla="*/ 1 w 1256"/>
                    <a:gd name="T79" fmla="*/ 1 h 1064"/>
                    <a:gd name="T80" fmla="*/ 0 w 1256"/>
                    <a:gd name="T81" fmla="*/ 1 h 1064"/>
                    <a:gd name="T82" fmla="*/ 1 w 1256"/>
                    <a:gd name="T83" fmla="*/ 1 h 1064"/>
                    <a:gd name="T84" fmla="*/ 1 w 1256"/>
                    <a:gd name="T85" fmla="*/ 1 h 1064"/>
                    <a:gd name="T86" fmla="*/ 1 w 1256"/>
                    <a:gd name="T87" fmla="*/ 1 h 1064"/>
                    <a:gd name="T88" fmla="*/ 1 w 1256"/>
                    <a:gd name="T89" fmla="*/ 1 h 1064"/>
                    <a:gd name="T90" fmla="*/ 1 w 1256"/>
                    <a:gd name="T91" fmla="*/ 1 h 1064"/>
                    <a:gd name="T92" fmla="*/ 1 w 1256"/>
                    <a:gd name="T93" fmla="*/ 1 h 1064"/>
                    <a:gd name="T94" fmla="*/ 1 w 1256"/>
                    <a:gd name="T95" fmla="*/ 1 h 1064"/>
                    <a:gd name="T96" fmla="*/ 1 w 1256"/>
                    <a:gd name="T97" fmla="*/ 1 h 1064"/>
                    <a:gd name="T98" fmla="*/ 1 w 1256"/>
                    <a:gd name="T99" fmla="*/ 1 h 1064"/>
                    <a:gd name="T100" fmla="*/ 1 w 1256"/>
                    <a:gd name="T101" fmla="*/ 1 h 1064"/>
                    <a:gd name="T102" fmla="*/ 1 w 1256"/>
                    <a:gd name="T103" fmla="*/ 1 h 1064"/>
                    <a:gd name="T104" fmla="*/ 1 w 1256"/>
                    <a:gd name="T105" fmla="*/ 1 h 1064"/>
                    <a:gd name="T106" fmla="*/ 1 w 1256"/>
                    <a:gd name="T107" fmla="*/ 1 h 1064"/>
                    <a:gd name="T108" fmla="*/ 1 w 1256"/>
                    <a:gd name="T109" fmla="*/ 1 h 1064"/>
                    <a:gd name="T110" fmla="*/ 1 w 1256"/>
                    <a:gd name="T111" fmla="*/ 1 h 1064"/>
                    <a:gd name="T112" fmla="*/ 1 w 1256"/>
                    <a:gd name="T113" fmla="*/ 1 h 1064"/>
                    <a:gd name="T114" fmla="*/ 1 w 1256"/>
                    <a:gd name="T115" fmla="*/ 1 h 1064"/>
                    <a:gd name="T116" fmla="*/ 1 w 1256"/>
                    <a:gd name="T117" fmla="*/ 1 h 1064"/>
                    <a:gd name="T118" fmla="*/ 1 w 1256"/>
                    <a:gd name="T119" fmla="*/ 1 h 1064"/>
                    <a:gd name="T120" fmla="*/ 1 w 1256"/>
                    <a:gd name="T121" fmla="*/ 1 h 1064"/>
                    <a:gd name="T122" fmla="*/ 1 w 1256"/>
                    <a:gd name="T123" fmla="*/ 1 h 1064"/>
                    <a:gd name="T124" fmla="*/ 1 w 1256"/>
                    <a:gd name="T125" fmla="*/ 1 h 1064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1256"/>
                    <a:gd name="T190" fmla="*/ 0 h 1064"/>
                    <a:gd name="T191" fmla="*/ 1256 w 1256"/>
                    <a:gd name="T192" fmla="*/ 1064 h 1064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1256" h="1064">
                      <a:moveTo>
                        <a:pt x="1016" y="656"/>
                      </a:moveTo>
                      <a:lnTo>
                        <a:pt x="1048" y="648"/>
                      </a:lnTo>
                      <a:lnTo>
                        <a:pt x="1048" y="640"/>
                      </a:lnTo>
                      <a:lnTo>
                        <a:pt x="1040" y="640"/>
                      </a:lnTo>
                      <a:lnTo>
                        <a:pt x="1032" y="640"/>
                      </a:lnTo>
                      <a:lnTo>
                        <a:pt x="992" y="640"/>
                      </a:lnTo>
                      <a:lnTo>
                        <a:pt x="992" y="632"/>
                      </a:lnTo>
                      <a:lnTo>
                        <a:pt x="976" y="632"/>
                      </a:lnTo>
                      <a:lnTo>
                        <a:pt x="968" y="640"/>
                      </a:lnTo>
                      <a:lnTo>
                        <a:pt x="960" y="640"/>
                      </a:lnTo>
                      <a:lnTo>
                        <a:pt x="944" y="648"/>
                      </a:lnTo>
                      <a:lnTo>
                        <a:pt x="928" y="648"/>
                      </a:lnTo>
                      <a:lnTo>
                        <a:pt x="920" y="640"/>
                      </a:lnTo>
                      <a:lnTo>
                        <a:pt x="936" y="640"/>
                      </a:lnTo>
                      <a:lnTo>
                        <a:pt x="960" y="640"/>
                      </a:lnTo>
                      <a:lnTo>
                        <a:pt x="960" y="624"/>
                      </a:lnTo>
                      <a:lnTo>
                        <a:pt x="944" y="624"/>
                      </a:lnTo>
                      <a:lnTo>
                        <a:pt x="944" y="632"/>
                      </a:lnTo>
                      <a:lnTo>
                        <a:pt x="928" y="632"/>
                      </a:lnTo>
                      <a:lnTo>
                        <a:pt x="904" y="632"/>
                      </a:lnTo>
                      <a:lnTo>
                        <a:pt x="904" y="624"/>
                      </a:lnTo>
                      <a:lnTo>
                        <a:pt x="920" y="624"/>
                      </a:lnTo>
                      <a:lnTo>
                        <a:pt x="928" y="616"/>
                      </a:lnTo>
                      <a:lnTo>
                        <a:pt x="920" y="608"/>
                      </a:lnTo>
                      <a:lnTo>
                        <a:pt x="952" y="608"/>
                      </a:lnTo>
                      <a:lnTo>
                        <a:pt x="976" y="600"/>
                      </a:lnTo>
                      <a:lnTo>
                        <a:pt x="976" y="592"/>
                      </a:lnTo>
                      <a:lnTo>
                        <a:pt x="944" y="592"/>
                      </a:lnTo>
                      <a:lnTo>
                        <a:pt x="928" y="584"/>
                      </a:lnTo>
                      <a:lnTo>
                        <a:pt x="928" y="576"/>
                      </a:lnTo>
                      <a:lnTo>
                        <a:pt x="912" y="568"/>
                      </a:lnTo>
                      <a:lnTo>
                        <a:pt x="920" y="568"/>
                      </a:lnTo>
                      <a:lnTo>
                        <a:pt x="936" y="568"/>
                      </a:lnTo>
                      <a:lnTo>
                        <a:pt x="952" y="584"/>
                      </a:lnTo>
                      <a:lnTo>
                        <a:pt x="976" y="584"/>
                      </a:lnTo>
                      <a:lnTo>
                        <a:pt x="1000" y="592"/>
                      </a:lnTo>
                      <a:lnTo>
                        <a:pt x="1000" y="600"/>
                      </a:lnTo>
                      <a:lnTo>
                        <a:pt x="1016" y="624"/>
                      </a:lnTo>
                      <a:lnTo>
                        <a:pt x="1040" y="632"/>
                      </a:lnTo>
                      <a:lnTo>
                        <a:pt x="1040" y="624"/>
                      </a:lnTo>
                      <a:lnTo>
                        <a:pt x="1048" y="616"/>
                      </a:lnTo>
                      <a:lnTo>
                        <a:pt x="1056" y="624"/>
                      </a:lnTo>
                      <a:lnTo>
                        <a:pt x="1064" y="624"/>
                      </a:lnTo>
                      <a:lnTo>
                        <a:pt x="1064" y="592"/>
                      </a:lnTo>
                      <a:lnTo>
                        <a:pt x="1056" y="592"/>
                      </a:lnTo>
                      <a:lnTo>
                        <a:pt x="1048" y="584"/>
                      </a:lnTo>
                      <a:lnTo>
                        <a:pt x="1040" y="568"/>
                      </a:lnTo>
                      <a:lnTo>
                        <a:pt x="1024" y="568"/>
                      </a:lnTo>
                      <a:lnTo>
                        <a:pt x="1008" y="552"/>
                      </a:lnTo>
                      <a:lnTo>
                        <a:pt x="984" y="560"/>
                      </a:lnTo>
                      <a:lnTo>
                        <a:pt x="976" y="552"/>
                      </a:lnTo>
                      <a:lnTo>
                        <a:pt x="992" y="552"/>
                      </a:lnTo>
                      <a:lnTo>
                        <a:pt x="984" y="536"/>
                      </a:lnTo>
                      <a:lnTo>
                        <a:pt x="960" y="544"/>
                      </a:lnTo>
                      <a:lnTo>
                        <a:pt x="960" y="536"/>
                      </a:lnTo>
                      <a:lnTo>
                        <a:pt x="984" y="536"/>
                      </a:lnTo>
                      <a:lnTo>
                        <a:pt x="984" y="528"/>
                      </a:lnTo>
                      <a:lnTo>
                        <a:pt x="976" y="520"/>
                      </a:lnTo>
                      <a:lnTo>
                        <a:pt x="960" y="528"/>
                      </a:lnTo>
                      <a:lnTo>
                        <a:pt x="944" y="528"/>
                      </a:lnTo>
                      <a:lnTo>
                        <a:pt x="936" y="520"/>
                      </a:lnTo>
                      <a:lnTo>
                        <a:pt x="960" y="520"/>
                      </a:lnTo>
                      <a:lnTo>
                        <a:pt x="944" y="512"/>
                      </a:lnTo>
                      <a:lnTo>
                        <a:pt x="952" y="512"/>
                      </a:lnTo>
                      <a:lnTo>
                        <a:pt x="976" y="520"/>
                      </a:lnTo>
                      <a:lnTo>
                        <a:pt x="984" y="512"/>
                      </a:lnTo>
                      <a:lnTo>
                        <a:pt x="992" y="504"/>
                      </a:lnTo>
                      <a:lnTo>
                        <a:pt x="976" y="488"/>
                      </a:lnTo>
                      <a:lnTo>
                        <a:pt x="984" y="488"/>
                      </a:lnTo>
                      <a:lnTo>
                        <a:pt x="1000" y="496"/>
                      </a:lnTo>
                      <a:lnTo>
                        <a:pt x="1016" y="496"/>
                      </a:lnTo>
                      <a:lnTo>
                        <a:pt x="1040" y="504"/>
                      </a:lnTo>
                      <a:lnTo>
                        <a:pt x="1016" y="504"/>
                      </a:lnTo>
                      <a:lnTo>
                        <a:pt x="1024" y="504"/>
                      </a:lnTo>
                      <a:lnTo>
                        <a:pt x="1040" y="520"/>
                      </a:lnTo>
                      <a:lnTo>
                        <a:pt x="1064" y="512"/>
                      </a:lnTo>
                      <a:lnTo>
                        <a:pt x="1088" y="504"/>
                      </a:lnTo>
                      <a:lnTo>
                        <a:pt x="1088" y="496"/>
                      </a:lnTo>
                      <a:lnTo>
                        <a:pt x="1064" y="496"/>
                      </a:lnTo>
                      <a:lnTo>
                        <a:pt x="1064" y="504"/>
                      </a:lnTo>
                      <a:lnTo>
                        <a:pt x="1056" y="488"/>
                      </a:lnTo>
                      <a:lnTo>
                        <a:pt x="1048" y="472"/>
                      </a:lnTo>
                      <a:lnTo>
                        <a:pt x="1056" y="464"/>
                      </a:lnTo>
                      <a:lnTo>
                        <a:pt x="1080" y="464"/>
                      </a:lnTo>
                      <a:lnTo>
                        <a:pt x="1096" y="480"/>
                      </a:lnTo>
                      <a:lnTo>
                        <a:pt x="1104" y="472"/>
                      </a:lnTo>
                      <a:lnTo>
                        <a:pt x="1112" y="464"/>
                      </a:lnTo>
                      <a:lnTo>
                        <a:pt x="1104" y="456"/>
                      </a:lnTo>
                      <a:lnTo>
                        <a:pt x="1096" y="464"/>
                      </a:lnTo>
                      <a:lnTo>
                        <a:pt x="1072" y="456"/>
                      </a:lnTo>
                      <a:lnTo>
                        <a:pt x="1080" y="448"/>
                      </a:lnTo>
                      <a:lnTo>
                        <a:pt x="1072" y="440"/>
                      </a:lnTo>
                      <a:lnTo>
                        <a:pt x="1056" y="440"/>
                      </a:lnTo>
                      <a:lnTo>
                        <a:pt x="1048" y="440"/>
                      </a:lnTo>
                      <a:lnTo>
                        <a:pt x="1056" y="432"/>
                      </a:lnTo>
                      <a:lnTo>
                        <a:pt x="1080" y="432"/>
                      </a:lnTo>
                      <a:lnTo>
                        <a:pt x="1056" y="416"/>
                      </a:lnTo>
                      <a:lnTo>
                        <a:pt x="1064" y="416"/>
                      </a:lnTo>
                      <a:lnTo>
                        <a:pt x="1072" y="424"/>
                      </a:lnTo>
                      <a:lnTo>
                        <a:pt x="1088" y="424"/>
                      </a:lnTo>
                      <a:lnTo>
                        <a:pt x="1096" y="432"/>
                      </a:lnTo>
                      <a:lnTo>
                        <a:pt x="1112" y="424"/>
                      </a:lnTo>
                      <a:lnTo>
                        <a:pt x="1112" y="416"/>
                      </a:lnTo>
                      <a:lnTo>
                        <a:pt x="1088" y="408"/>
                      </a:lnTo>
                      <a:lnTo>
                        <a:pt x="1064" y="400"/>
                      </a:lnTo>
                      <a:lnTo>
                        <a:pt x="1056" y="400"/>
                      </a:lnTo>
                      <a:lnTo>
                        <a:pt x="1080" y="400"/>
                      </a:lnTo>
                      <a:lnTo>
                        <a:pt x="1096" y="400"/>
                      </a:lnTo>
                      <a:lnTo>
                        <a:pt x="1096" y="392"/>
                      </a:lnTo>
                      <a:lnTo>
                        <a:pt x="1080" y="392"/>
                      </a:lnTo>
                      <a:lnTo>
                        <a:pt x="1064" y="392"/>
                      </a:lnTo>
                      <a:lnTo>
                        <a:pt x="1056" y="392"/>
                      </a:lnTo>
                      <a:lnTo>
                        <a:pt x="1056" y="384"/>
                      </a:lnTo>
                      <a:lnTo>
                        <a:pt x="1048" y="376"/>
                      </a:lnTo>
                      <a:lnTo>
                        <a:pt x="1056" y="368"/>
                      </a:lnTo>
                      <a:lnTo>
                        <a:pt x="1072" y="368"/>
                      </a:lnTo>
                      <a:lnTo>
                        <a:pt x="1080" y="368"/>
                      </a:lnTo>
                      <a:lnTo>
                        <a:pt x="1112" y="368"/>
                      </a:lnTo>
                      <a:lnTo>
                        <a:pt x="1128" y="368"/>
                      </a:lnTo>
                      <a:lnTo>
                        <a:pt x="1136" y="360"/>
                      </a:lnTo>
                      <a:lnTo>
                        <a:pt x="1128" y="352"/>
                      </a:lnTo>
                      <a:lnTo>
                        <a:pt x="1112" y="352"/>
                      </a:lnTo>
                      <a:lnTo>
                        <a:pt x="1088" y="344"/>
                      </a:lnTo>
                      <a:lnTo>
                        <a:pt x="1080" y="336"/>
                      </a:lnTo>
                      <a:lnTo>
                        <a:pt x="1088" y="336"/>
                      </a:lnTo>
                      <a:lnTo>
                        <a:pt x="1096" y="336"/>
                      </a:lnTo>
                      <a:lnTo>
                        <a:pt x="1112" y="344"/>
                      </a:lnTo>
                      <a:lnTo>
                        <a:pt x="1112" y="336"/>
                      </a:lnTo>
                      <a:lnTo>
                        <a:pt x="1080" y="320"/>
                      </a:lnTo>
                      <a:lnTo>
                        <a:pt x="1072" y="328"/>
                      </a:lnTo>
                      <a:lnTo>
                        <a:pt x="1064" y="336"/>
                      </a:lnTo>
                      <a:lnTo>
                        <a:pt x="1056" y="336"/>
                      </a:lnTo>
                      <a:lnTo>
                        <a:pt x="1056" y="328"/>
                      </a:lnTo>
                      <a:lnTo>
                        <a:pt x="1072" y="296"/>
                      </a:lnTo>
                      <a:lnTo>
                        <a:pt x="1064" y="296"/>
                      </a:lnTo>
                      <a:lnTo>
                        <a:pt x="1080" y="280"/>
                      </a:lnTo>
                      <a:lnTo>
                        <a:pt x="1096" y="280"/>
                      </a:lnTo>
                      <a:lnTo>
                        <a:pt x="1104" y="272"/>
                      </a:lnTo>
                      <a:lnTo>
                        <a:pt x="1112" y="264"/>
                      </a:lnTo>
                      <a:lnTo>
                        <a:pt x="1096" y="264"/>
                      </a:lnTo>
                      <a:lnTo>
                        <a:pt x="1104" y="240"/>
                      </a:lnTo>
                      <a:lnTo>
                        <a:pt x="1136" y="240"/>
                      </a:lnTo>
                      <a:lnTo>
                        <a:pt x="1144" y="224"/>
                      </a:lnTo>
                      <a:lnTo>
                        <a:pt x="1136" y="224"/>
                      </a:lnTo>
                      <a:lnTo>
                        <a:pt x="1120" y="224"/>
                      </a:lnTo>
                      <a:lnTo>
                        <a:pt x="1104" y="216"/>
                      </a:lnTo>
                      <a:lnTo>
                        <a:pt x="1096" y="224"/>
                      </a:lnTo>
                      <a:lnTo>
                        <a:pt x="1104" y="224"/>
                      </a:lnTo>
                      <a:lnTo>
                        <a:pt x="1104" y="232"/>
                      </a:lnTo>
                      <a:lnTo>
                        <a:pt x="1096" y="240"/>
                      </a:lnTo>
                      <a:lnTo>
                        <a:pt x="1088" y="240"/>
                      </a:lnTo>
                      <a:lnTo>
                        <a:pt x="1088" y="224"/>
                      </a:lnTo>
                      <a:lnTo>
                        <a:pt x="1096" y="216"/>
                      </a:lnTo>
                      <a:lnTo>
                        <a:pt x="1128" y="216"/>
                      </a:lnTo>
                      <a:lnTo>
                        <a:pt x="1144" y="216"/>
                      </a:lnTo>
                      <a:lnTo>
                        <a:pt x="1152" y="216"/>
                      </a:lnTo>
                      <a:lnTo>
                        <a:pt x="1176" y="200"/>
                      </a:lnTo>
                      <a:lnTo>
                        <a:pt x="1152" y="192"/>
                      </a:lnTo>
                      <a:lnTo>
                        <a:pt x="1136" y="200"/>
                      </a:lnTo>
                      <a:lnTo>
                        <a:pt x="1128" y="200"/>
                      </a:lnTo>
                      <a:lnTo>
                        <a:pt x="1104" y="192"/>
                      </a:lnTo>
                      <a:lnTo>
                        <a:pt x="1096" y="192"/>
                      </a:lnTo>
                      <a:lnTo>
                        <a:pt x="1088" y="200"/>
                      </a:lnTo>
                      <a:lnTo>
                        <a:pt x="1072" y="200"/>
                      </a:lnTo>
                      <a:lnTo>
                        <a:pt x="1072" y="192"/>
                      </a:lnTo>
                      <a:lnTo>
                        <a:pt x="1080" y="192"/>
                      </a:lnTo>
                      <a:lnTo>
                        <a:pt x="1088" y="192"/>
                      </a:lnTo>
                      <a:lnTo>
                        <a:pt x="1120" y="192"/>
                      </a:lnTo>
                      <a:lnTo>
                        <a:pt x="1128" y="192"/>
                      </a:lnTo>
                      <a:lnTo>
                        <a:pt x="1128" y="184"/>
                      </a:lnTo>
                      <a:lnTo>
                        <a:pt x="1152" y="192"/>
                      </a:lnTo>
                      <a:lnTo>
                        <a:pt x="1168" y="192"/>
                      </a:lnTo>
                      <a:lnTo>
                        <a:pt x="1176" y="192"/>
                      </a:lnTo>
                      <a:lnTo>
                        <a:pt x="1184" y="184"/>
                      </a:lnTo>
                      <a:lnTo>
                        <a:pt x="1200" y="184"/>
                      </a:lnTo>
                      <a:lnTo>
                        <a:pt x="1200" y="176"/>
                      </a:lnTo>
                      <a:lnTo>
                        <a:pt x="1192" y="168"/>
                      </a:lnTo>
                      <a:lnTo>
                        <a:pt x="1200" y="168"/>
                      </a:lnTo>
                      <a:lnTo>
                        <a:pt x="1216" y="168"/>
                      </a:lnTo>
                      <a:lnTo>
                        <a:pt x="1256" y="144"/>
                      </a:lnTo>
                      <a:lnTo>
                        <a:pt x="1208" y="120"/>
                      </a:lnTo>
                      <a:lnTo>
                        <a:pt x="1168" y="120"/>
                      </a:lnTo>
                      <a:lnTo>
                        <a:pt x="1152" y="128"/>
                      </a:lnTo>
                      <a:lnTo>
                        <a:pt x="1144" y="120"/>
                      </a:lnTo>
                      <a:lnTo>
                        <a:pt x="1136" y="120"/>
                      </a:lnTo>
                      <a:lnTo>
                        <a:pt x="1144" y="128"/>
                      </a:lnTo>
                      <a:lnTo>
                        <a:pt x="1136" y="136"/>
                      </a:lnTo>
                      <a:lnTo>
                        <a:pt x="1128" y="144"/>
                      </a:lnTo>
                      <a:lnTo>
                        <a:pt x="1112" y="144"/>
                      </a:lnTo>
                      <a:lnTo>
                        <a:pt x="1104" y="144"/>
                      </a:lnTo>
                      <a:lnTo>
                        <a:pt x="1088" y="144"/>
                      </a:lnTo>
                      <a:lnTo>
                        <a:pt x="1088" y="136"/>
                      </a:lnTo>
                      <a:lnTo>
                        <a:pt x="1080" y="144"/>
                      </a:lnTo>
                      <a:lnTo>
                        <a:pt x="1056" y="160"/>
                      </a:lnTo>
                      <a:lnTo>
                        <a:pt x="1040" y="176"/>
                      </a:lnTo>
                      <a:lnTo>
                        <a:pt x="1024" y="184"/>
                      </a:lnTo>
                      <a:lnTo>
                        <a:pt x="1024" y="192"/>
                      </a:lnTo>
                      <a:lnTo>
                        <a:pt x="1008" y="200"/>
                      </a:lnTo>
                      <a:lnTo>
                        <a:pt x="1008" y="192"/>
                      </a:lnTo>
                      <a:lnTo>
                        <a:pt x="1016" y="184"/>
                      </a:lnTo>
                      <a:lnTo>
                        <a:pt x="1008" y="184"/>
                      </a:lnTo>
                      <a:lnTo>
                        <a:pt x="1024" y="176"/>
                      </a:lnTo>
                      <a:lnTo>
                        <a:pt x="1024" y="160"/>
                      </a:lnTo>
                      <a:lnTo>
                        <a:pt x="1032" y="160"/>
                      </a:lnTo>
                      <a:lnTo>
                        <a:pt x="1048" y="144"/>
                      </a:lnTo>
                      <a:lnTo>
                        <a:pt x="1040" y="120"/>
                      </a:lnTo>
                      <a:lnTo>
                        <a:pt x="1040" y="112"/>
                      </a:lnTo>
                      <a:lnTo>
                        <a:pt x="1008" y="112"/>
                      </a:lnTo>
                      <a:lnTo>
                        <a:pt x="1000" y="120"/>
                      </a:lnTo>
                      <a:lnTo>
                        <a:pt x="1000" y="136"/>
                      </a:lnTo>
                      <a:lnTo>
                        <a:pt x="968" y="144"/>
                      </a:lnTo>
                      <a:lnTo>
                        <a:pt x="952" y="144"/>
                      </a:lnTo>
                      <a:lnTo>
                        <a:pt x="936" y="152"/>
                      </a:lnTo>
                      <a:lnTo>
                        <a:pt x="936" y="144"/>
                      </a:lnTo>
                      <a:lnTo>
                        <a:pt x="928" y="144"/>
                      </a:lnTo>
                      <a:lnTo>
                        <a:pt x="944" y="136"/>
                      </a:lnTo>
                      <a:lnTo>
                        <a:pt x="952" y="136"/>
                      </a:lnTo>
                      <a:lnTo>
                        <a:pt x="976" y="128"/>
                      </a:lnTo>
                      <a:lnTo>
                        <a:pt x="976" y="120"/>
                      </a:lnTo>
                      <a:lnTo>
                        <a:pt x="968" y="120"/>
                      </a:lnTo>
                      <a:lnTo>
                        <a:pt x="920" y="112"/>
                      </a:lnTo>
                      <a:lnTo>
                        <a:pt x="912" y="112"/>
                      </a:lnTo>
                      <a:lnTo>
                        <a:pt x="880" y="120"/>
                      </a:lnTo>
                      <a:lnTo>
                        <a:pt x="872" y="120"/>
                      </a:lnTo>
                      <a:lnTo>
                        <a:pt x="832" y="128"/>
                      </a:lnTo>
                      <a:lnTo>
                        <a:pt x="832" y="136"/>
                      </a:lnTo>
                      <a:lnTo>
                        <a:pt x="816" y="136"/>
                      </a:lnTo>
                      <a:lnTo>
                        <a:pt x="808" y="128"/>
                      </a:lnTo>
                      <a:lnTo>
                        <a:pt x="816" y="120"/>
                      </a:lnTo>
                      <a:lnTo>
                        <a:pt x="856" y="112"/>
                      </a:lnTo>
                      <a:lnTo>
                        <a:pt x="840" y="104"/>
                      </a:lnTo>
                      <a:lnTo>
                        <a:pt x="864" y="104"/>
                      </a:lnTo>
                      <a:lnTo>
                        <a:pt x="880" y="104"/>
                      </a:lnTo>
                      <a:lnTo>
                        <a:pt x="920" y="104"/>
                      </a:lnTo>
                      <a:lnTo>
                        <a:pt x="944" y="104"/>
                      </a:lnTo>
                      <a:lnTo>
                        <a:pt x="992" y="104"/>
                      </a:lnTo>
                      <a:lnTo>
                        <a:pt x="1008" y="96"/>
                      </a:lnTo>
                      <a:lnTo>
                        <a:pt x="1024" y="96"/>
                      </a:lnTo>
                      <a:lnTo>
                        <a:pt x="1048" y="88"/>
                      </a:lnTo>
                      <a:lnTo>
                        <a:pt x="1048" y="80"/>
                      </a:lnTo>
                      <a:lnTo>
                        <a:pt x="1056" y="80"/>
                      </a:lnTo>
                      <a:lnTo>
                        <a:pt x="1064" y="72"/>
                      </a:lnTo>
                      <a:lnTo>
                        <a:pt x="1048" y="64"/>
                      </a:lnTo>
                      <a:lnTo>
                        <a:pt x="1024" y="56"/>
                      </a:lnTo>
                      <a:lnTo>
                        <a:pt x="1008" y="64"/>
                      </a:lnTo>
                      <a:lnTo>
                        <a:pt x="1008" y="56"/>
                      </a:lnTo>
                      <a:lnTo>
                        <a:pt x="1000" y="56"/>
                      </a:lnTo>
                      <a:lnTo>
                        <a:pt x="976" y="64"/>
                      </a:lnTo>
                      <a:lnTo>
                        <a:pt x="976" y="56"/>
                      </a:lnTo>
                      <a:lnTo>
                        <a:pt x="984" y="56"/>
                      </a:lnTo>
                      <a:lnTo>
                        <a:pt x="984" y="40"/>
                      </a:lnTo>
                      <a:lnTo>
                        <a:pt x="976" y="32"/>
                      </a:lnTo>
                      <a:lnTo>
                        <a:pt x="952" y="40"/>
                      </a:lnTo>
                      <a:lnTo>
                        <a:pt x="944" y="40"/>
                      </a:lnTo>
                      <a:lnTo>
                        <a:pt x="904" y="40"/>
                      </a:lnTo>
                      <a:lnTo>
                        <a:pt x="880" y="40"/>
                      </a:lnTo>
                      <a:lnTo>
                        <a:pt x="864" y="40"/>
                      </a:lnTo>
                      <a:lnTo>
                        <a:pt x="832" y="48"/>
                      </a:lnTo>
                      <a:lnTo>
                        <a:pt x="792" y="56"/>
                      </a:lnTo>
                      <a:lnTo>
                        <a:pt x="792" y="64"/>
                      </a:lnTo>
                      <a:lnTo>
                        <a:pt x="784" y="64"/>
                      </a:lnTo>
                      <a:lnTo>
                        <a:pt x="784" y="56"/>
                      </a:lnTo>
                      <a:lnTo>
                        <a:pt x="776" y="56"/>
                      </a:lnTo>
                      <a:lnTo>
                        <a:pt x="760" y="64"/>
                      </a:lnTo>
                      <a:lnTo>
                        <a:pt x="752" y="64"/>
                      </a:lnTo>
                      <a:lnTo>
                        <a:pt x="760" y="56"/>
                      </a:lnTo>
                      <a:lnTo>
                        <a:pt x="752" y="56"/>
                      </a:lnTo>
                      <a:lnTo>
                        <a:pt x="776" y="48"/>
                      </a:lnTo>
                      <a:lnTo>
                        <a:pt x="808" y="40"/>
                      </a:lnTo>
                      <a:lnTo>
                        <a:pt x="800" y="40"/>
                      </a:lnTo>
                      <a:lnTo>
                        <a:pt x="816" y="40"/>
                      </a:lnTo>
                      <a:lnTo>
                        <a:pt x="824" y="40"/>
                      </a:lnTo>
                      <a:lnTo>
                        <a:pt x="848" y="40"/>
                      </a:lnTo>
                      <a:lnTo>
                        <a:pt x="880" y="32"/>
                      </a:lnTo>
                      <a:lnTo>
                        <a:pt x="912" y="32"/>
                      </a:lnTo>
                      <a:lnTo>
                        <a:pt x="944" y="32"/>
                      </a:lnTo>
                      <a:lnTo>
                        <a:pt x="968" y="24"/>
                      </a:lnTo>
                      <a:lnTo>
                        <a:pt x="960" y="16"/>
                      </a:lnTo>
                      <a:lnTo>
                        <a:pt x="912" y="8"/>
                      </a:lnTo>
                      <a:lnTo>
                        <a:pt x="912" y="16"/>
                      </a:lnTo>
                      <a:lnTo>
                        <a:pt x="896" y="16"/>
                      </a:lnTo>
                      <a:lnTo>
                        <a:pt x="888" y="8"/>
                      </a:lnTo>
                      <a:lnTo>
                        <a:pt x="904" y="8"/>
                      </a:lnTo>
                      <a:lnTo>
                        <a:pt x="896" y="0"/>
                      </a:lnTo>
                      <a:lnTo>
                        <a:pt x="880" y="8"/>
                      </a:lnTo>
                      <a:lnTo>
                        <a:pt x="872" y="0"/>
                      </a:lnTo>
                      <a:lnTo>
                        <a:pt x="864" y="0"/>
                      </a:lnTo>
                      <a:lnTo>
                        <a:pt x="840" y="0"/>
                      </a:lnTo>
                      <a:lnTo>
                        <a:pt x="832" y="0"/>
                      </a:lnTo>
                      <a:lnTo>
                        <a:pt x="816" y="0"/>
                      </a:lnTo>
                      <a:lnTo>
                        <a:pt x="808" y="0"/>
                      </a:lnTo>
                      <a:lnTo>
                        <a:pt x="784" y="0"/>
                      </a:lnTo>
                      <a:lnTo>
                        <a:pt x="776" y="0"/>
                      </a:lnTo>
                      <a:lnTo>
                        <a:pt x="760" y="0"/>
                      </a:lnTo>
                      <a:lnTo>
                        <a:pt x="752" y="0"/>
                      </a:lnTo>
                      <a:lnTo>
                        <a:pt x="744" y="8"/>
                      </a:lnTo>
                      <a:lnTo>
                        <a:pt x="736" y="0"/>
                      </a:lnTo>
                      <a:lnTo>
                        <a:pt x="728" y="8"/>
                      </a:lnTo>
                      <a:lnTo>
                        <a:pt x="736" y="16"/>
                      </a:lnTo>
                      <a:lnTo>
                        <a:pt x="728" y="16"/>
                      </a:lnTo>
                      <a:lnTo>
                        <a:pt x="712" y="8"/>
                      </a:lnTo>
                      <a:lnTo>
                        <a:pt x="704" y="8"/>
                      </a:lnTo>
                      <a:lnTo>
                        <a:pt x="704" y="16"/>
                      </a:lnTo>
                      <a:lnTo>
                        <a:pt x="696" y="16"/>
                      </a:lnTo>
                      <a:lnTo>
                        <a:pt x="688" y="16"/>
                      </a:lnTo>
                      <a:lnTo>
                        <a:pt x="696" y="24"/>
                      </a:lnTo>
                      <a:lnTo>
                        <a:pt x="688" y="32"/>
                      </a:lnTo>
                      <a:lnTo>
                        <a:pt x="696" y="32"/>
                      </a:lnTo>
                      <a:lnTo>
                        <a:pt x="728" y="32"/>
                      </a:lnTo>
                      <a:lnTo>
                        <a:pt x="728" y="40"/>
                      </a:lnTo>
                      <a:lnTo>
                        <a:pt x="704" y="40"/>
                      </a:lnTo>
                      <a:lnTo>
                        <a:pt x="696" y="40"/>
                      </a:lnTo>
                      <a:lnTo>
                        <a:pt x="720" y="40"/>
                      </a:lnTo>
                      <a:lnTo>
                        <a:pt x="712" y="48"/>
                      </a:lnTo>
                      <a:lnTo>
                        <a:pt x="696" y="48"/>
                      </a:lnTo>
                      <a:lnTo>
                        <a:pt x="688" y="48"/>
                      </a:lnTo>
                      <a:lnTo>
                        <a:pt x="696" y="56"/>
                      </a:lnTo>
                      <a:lnTo>
                        <a:pt x="696" y="64"/>
                      </a:lnTo>
                      <a:lnTo>
                        <a:pt x="688" y="64"/>
                      </a:lnTo>
                      <a:lnTo>
                        <a:pt x="680" y="56"/>
                      </a:lnTo>
                      <a:lnTo>
                        <a:pt x="672" y="48"/>
                      </a:lnTo>
                      <a:lnTo>
                        <a:pt x="656" y="48"/>
                      </a:lnTo>
                      <a:lnTo>
                        <a:pt x="640" y="40"/>
                      </a:lnTo>
                      <a:lnTo>
                        <a:pt x="632" y="40"/>
                      </a:lnTo>
                      <a:lnTo>
                        <a:pt x="624" y="32"/>
                      </a:lnTo>
                      <a:lnTo>
                        <a:pt x="608" y="32"/>
                      </a:lnTo>
                      <a:lnTo>
                        <a:pt x="584" y="32"/>
                      </a:lnTo>
                      <a:lnTo>
                        <a:pt x="600" y="40"/>
                      </a:lnTo>
                      <a:lnTo>
                        <a:pt x="608" y="40"/>
                      </a:lnTo>
                      <a:lnTo>
                        <a:pt x="592" y="40"/>
                      </a:lnTo>
                      <a:lnTo>
                        <a:pt x="584" y="40"/>
                      </a:lnTo>
                      <a:lnTo>
                        <a:pt x="560" y="40"/>
                      </a:lnTo>
                      <a:lnTo>
                        <a:pt x="552" y="40"/>
                      </a:lnTo>
                      <a:lnTo>
                        <a:pt x="568" y="48"/>
                      </a:lnTo>
                      <a:lnTo>
                        <a:pt x="584" y="48"/>
                      </a:lnTo>
                      <a:lnTo>
                        <a:pt x="584" y="56"/>
                      </a:lnTo>
                      <a:lnTo>
                        <a:pt x="568" y="56"/>
                      </a:lnTo>
                      <a:lnTo>
                        <a:pt x="568" y="64"/>
                      </a:lnTo>
                      <a:lnTo>
                        <a:pt x="608" y="56"/>
                      </a:lnTo>
                      <a:lnTo>
                        <a:pt x="648" y="64"/>
                      </a:lnTo>
                      <a:lnTo>
                        <a:pt x="656" y="72"/>
                      </a:lnTo>
                      <a:lnTo>
                        <a:pt x="664" y="88"/>
                      </a:lnTo>
                      <a:lnTo>
                        <a:pt x="656" y="88"/>
                      </a:lnTo>
                      <a:lnTo>
                        <a:pt x="656" y="80"/>
                      </a:lnTo>
                      <a:lnTo>
                        <a:pt x="648" y="72"/>
                      </a:lnTo>
                      <a:lnTo>
                        <a:pt x="632" y="64"/>
                      </a:lnTo>
                      <a:lnTo>
                        <a:pt x="632" y="72"/>
                      </a:lnTo>
                      <a:lnTo>
                        <a:pt x="632" y="80"/>
                      </a:lnTo>
                      <a:lnTo>
                        <a:pt x="624" y="80"/>
                      </a:lnTo>
                      <a:lnTo>
                        <a:pt x="624" y="64"/>
                      </a:lnTo>
                      <a:lnTo>
                        <a:pt x="616" y="64"/>
                      </a:lnTo>
                      <a:lnTo>
                        <a:pt x="584" y="64"/>
                      </a:lnTo>
                      <a:lnTo>
                        <a:pt x="560" y="64"/>
                      </a:lnTo>
                      <a:lnTo>
                        <a:pt x="544" y="64"/>
                      </a:lnTo>
                      <a:lnTo>
                        <a:pt x="560" y="72"/>
                      </a:lnTo>
                      <a:lnTo>
                        <a:pt x="592" y="88"/>
                      </a:lnTo>
                      <a:lnTo>
                        <a:pt x="584" y="96"/>
                      </a:lnTo>
                      <a:lnTo>
                        <a:pt x="616" y="96"/>
                      </a:lnTo>
                      <a:lnTo>
                        <a:pt x="608" y="104"/>
                      </a:lnTo>
                      <a:lnTo>
                        <a:pt x="592" y="104"/>
                      </a:lnTo>
                      <a:lnTo>
                        <a:pt x="576" y="96"/>
                      </a:lnTo>
                      <a:lnTo>
                        <a:pt x="568" y="104"/>
                      </a:lnTo>
                      <a:lnTo>
                        <a:pt x="568" y="120"/>
                      </a:lnTo>
                      <a:lnTo>
                        <a:pt x="584" y="128"/>
                      </a:lnTo>
                      <a:lnTo>
                        <a:pt x="568" y="128"/>
                      </a:lnTo>
                      <a:lnTo>
                        <a:pt x="536" y="112"/>
                      </a:lnTo>
                      <a:lnTo>
                        <a:pt x="528" y="104"/>
                      </a:lnTo>
                      <a:lnTo>
                        <a:pt x="512" y="104"/>
                      </a:lnTo>
                      <a:lnTo>
                        <a:pt x="504" y="96"/>
                      </a:lnTo>
                      <a:lnTo>
                        <a:pt x="488" y="96"/>
                      </a:lnTo>
                      <a:lnTo>
                        <a:pt x="488" y="88"/>
                      </a:lnTo>
                      <a:lnTo>
                        <a:pt x="472" y="80"/>
                      </a:lnTo>
                      <a:lnTo>
                        <a:pt x="448" y="80"/>
                      </a:lnTo>
                      <a:lnTo>
                        <a:pt x="440" y="88"/>
                      </a:lnTo>
                      <a:lnTo>
                        <a:pt x="448" y="88"/>
                      </a:lnTo>
                      <a:lnTo>
                        <a:pt x="448" y="104"/>
                      </a:lnTo>
                      <a:lnTo>
                        <a:pt x="464" y="120"/>
                      </a:lnTo>
                      <a:lnTo>
                        <a:pt x="472" y="120"/>
                      </a:lnTo>
                      <a:lnTo>
                        <a:pt x="448" y="120"/>
                      </a:lnTo>
                      <a:lnTo>
                        <a:pt x="480" y="136"/>
                      </a:lnTo>
                      <a:lnTo>
                        <a:pt x="472" y="144"/>
                      </a:lnTo>
                      <a:lnTo>
                        <a:pt x="424" y="120"/>
                      </a:lnTo>
                      <a:lnTo>
                        <a:pt x="408" y="120"/>
                      </a:lnTo>
                      <a:lnTo>
                        <a:pt x="400" y="120"/>
                      </a:lnTo>
                      <a:lnTo>
                        <a:pt x="408" y="120"/>
                      </a:lnTo>
                      <a:lnTo>
                        <a:pt x="400" y="144"/>
                      </a:lnTo>
                      <a:lnTo>
                        <a:pt x="392" y="144"/>
                      </a:lnTo>
                      <a:lnTo>
                        <a:pt x="384" y="144"/>
                      </a:lnTo>
                      <a:lnTo>
                        <a:pt x="392" y="112"/>
                      </a:lnTo>
                      <a:lnTo>
                        <a:pt x="384" y="96"/>
                      </a:lnTo>
                      <a:lnTo>
                        <a:pt x="376" y="96"/>
                      </a:lnTo>
                      <a:lnTo>
                        <a:pt x="352" y="96"/>
                      </a:lnTo>
                      <a:lnTo>
                        <a:pt x="360" y="104"/>
                      </a:lnTo>
                      <a:lnTo>
                        <a:pt x="344" y="104"/>
                      </a:lnTo>
                      <a:lnTo>
                        <a:pt x="328" y="104"/>
                      </a:lnTo>
                      <a:lnTo>
                        <a:pt x="312" y="104"/>
                      </a:lnTo>
                      <a:lnTo>
                        <a:pt x="272" y="112"/>
                      </a:lnTo>
                      <a:lnTo>
                        <a:pt x="288" y="120"/>
                      </a:lnTo>
                      <a:lnTo>
                        <a:pt x="296" y="128"/>
                      </a:lnTo>
                      <a:lnTo>
                        <a:pt x="312" y="144"/>
                      </a:lnTo>
                      <a:lnTo>
                        <a:pt x="312" y="152"/>
                      </a:lnTo>
                      <a:lnTo>
                        <a:pt x="280" y="136"/>
                      </a:lnTo>
                      <a:lnTo>
                        <a:pt x="280" y="128"/>
                      </a:lnTo>
                      <a:lnTo>
                        <a:pt x="272" y="128"/>
                      </a:lnTo>
                      <a:lnTo>
                        <a:pt x="248" y="128"/>
                      </a:lnTo>
                      <a:lnTo>
                        <a:pt x="232" y="128"/>
                      </a:lnTo>
                      <a:lnTo>
                        <a:pt x="232" y="136"/>
                      </a:lnTo>
                      <a:lnTo>
                        <a:pt x="232" y="144"/>
                      </a:lnTo>
                      <a:lnTo>
                        <a:pt x="248" y="144"/>
                      </a:lnTo>
                      <a:lnTo>
                        <a:pt x="240" y="152"/>
                      </a:lnTo>
                      <a:lnTo>
                        <a:pt x="240" y="160"/>
                      </a:lnTo>
                      <a:lnTo>
                        <a:pt x="240" y="168"/>
                      </a:lnTo>
                      <a:lnTo>
                        <a:pt x="224" y="168"/>
                      </a:lnTo>
                      <a:lnTo>
                        <a:pt x="216" y="168"/>
                      </a:lnTo>
                      <a:lnTo>
                        <a:pt x="200" y="168"/>
                      </a:lnTo>
                      <a:lnTo>
                        <a:pt x="200" y="184"/>
                      </a:lnTo>
                      <a:lnTo>
                        <a:pt x="192" y="168"/>
                      </a:lnTo>
                      <a:lnTo>
                        <a:pt x="184" y="168"/>
                      </a:lnTo>
                      <a:lnTo>
                        <a:pt x="152" y="192"/>
                      </a:lnTo>
                      <a:lnTo>
                        <a:pt x="152" y="200"/>
                      </a:lnTo>
                      <a:lnTo>
                        <a:pt x="144" y="200"/>
                      </a:lnTo>
                      <a:lnTo>
                        <a:pt x="136" y="208"/>
                      </a:lnTo>
                      <a:lnTo>
                        <a:pt x="112" y="208"/>
                      </a:lnTo>
                      <a:lnTo>
                        <a:pt x="112" y="216"/>
                      </a:lnTo>
                      <a:lnTo>
                        <a:pt x="120" y="224"/>
                      </a:lnTo>
                      <a:lnTo>
                        <a:pt x="120" y="232"/>
                      </a:lnTo>
                      <a:lnTo>
                        <a:pt x="152" y="232"/>
                      </a:lnTo>
                      <a:lnTo>
                        <a:pt x="160" y="224"/>
                      </a:lnTo>
                      <a:lnTo>
                        <a:pt x="168" y="224"/>
                      </a:lnTo>
                      <a:lnTo>
                        <a:pt x="176" y="224"/>
                      </a:lnTo>
                      <a:lnTo>
                        <a:pt x="184" y="224"/>
                      </a:lnTo>
                      <a:lnTo>
                        <a:pt x="176" y="232"/>
                      </a:lnTo>
                      <a:lnTo>
                        <a:pt x="184" y="240"/>
                      </a:lnTo>
                      <a:lnTo>
                        <a:pt x="160" y="240"/>
                      </a:lnTo>
                      <a:lnTo>
                        <a:pt x="176" y="256"/>
                      </a:lnTo>
                      <a:lnTo>
                        <a:pt x="144" y="280"/>
                      </a:lnTo>
                      <a:lnTo>
                        <a:pt x="136" y="272"/>
                      </a:lnTo>
                      <a:lnTo>
                        <a:pt x="104" y="272"/>
                      </a:lnTo>
                      <a:lnTo>
                        <a:pt x="96" y="280"/>
                      </a:lnTo>
                      <a:lnTo>
                        <a:pt x="80" y="280"/>
                      </a:lnTo>
                      <a:lnTo>
                        <a:pt x="88" y="288"/>
                      </a:lnTo>
                      <a:lnTo>
                        <a:pt x="80" y="288"/>
                      </a:lnTo>
                      <a:lnTo>
                        <a:pt x="64" y="288"/>
                      </a:lnTo>
                      <a:lnTo>
                        <a:pt x="48" y="296"/>
                      </a:lnTo>
                      <a:lnTo>
                        <a:pt x="40" y="296"/>
                      </a:lnTo>
                      <a:lnTo>
                        <a:pt x="24" y="296"/>
                      </a:lnTo>
                      <a:lnTo>
                        <a:pt x="16" y="304"/>
                      </a:lnTo>
                      <a:lnTo>
                        <a:pt x="8" y="304"/>
                      </a:lnTo>
                      <a:lnTo>
                        <a:pt x="0" y="312"/>
                      </a:lnTo>
                      <a:lnTo>
                        <a:pt x="8" y="312"/>
                      </a:lnTo>
                      <a:lnTo>
                        <a:pt x="0" y="320"/>
                      </a:lnTo>
                      <a:lnTo>
                        <a:pt x="16" y="328"/>
                      </a:lnTo>
                      <a:lnTo>
                        <a:pt x="32" y="328"/>
                      </a:lnTo>
                      <a:lnTo>
                        <a:pt x="32" y="336"/>
                      </a:lnTo>
                      <a:lnTo>
                        <a:pt x="48" y="336"/>
                      </a:lnTo>
                      <a:lnTo>
                        <a:pt x="56" y="336"/>
                      </a:lnTo>
                      <a:lnTo>
                        <a:pt x="64" y="336"/>
                      </a:lnTo>
                      <a:lnTo>
                        <a:pt x="64" y="344"/>
                      </a:lnTo>
                      <a:lnTo>
                        <a:pt x="80" y="344"/>
                      </a:lnTo>
                      <a:lnTo>
                        <a:pt x="96" y="344"/>
                      </a:lnTo>
                      <a:lnTo>
                        <a:pt x="104" y="344"/>
                      </a:lnTo>
                      <a:lnTo>
                        <a:pt x="112" y="344"/>
                      </a:lnTo>
                      <a:lnTo>
                        <a:pt x="120" y="336"/>
                      </a:lnTo>
                      <a:lnTo>
                        <a:pt x="136" y="336"/>
                      </a:lnTo>
                      <a:lnTo>
                        <a:pt x="144" y="344"/>
                      </a:lnTo>
                      <a:lnTo>
                        <a:pt x="136" y="352"/>
                      </a:lnTo>
                      <a:lnTo>
                        <a:pt x="120" y="352"/>
                      </a:lnTo>
                      <a:lnTo>
                        <a:pt x="112" y="352"/>
                      </a:lnTo>
                      <a:lnTo>
                        <a:pt x="88" y="352"/>
                      </a:lnTo>
                      <a:lnTo>
                        <a:pt x="88" y="360"/>
                      </a:lnTo>
                      <a:lnTo>
                        <a:pt x="112" y="352"/>
                      </a:lnTo>
                      <a:lnTo>
                        <a:pt x="136" y="360"/>
                      </a:lnTo>
                      <a:lnTo>
                        <a:pt x="128" y="368"/>
                      </a:lnTo>
                      <a:lnTo>
                        <a:pt x="112" y="360"/>
                      </a:lnTo>
                      <a:lnTo>
                        <a:pt x="104" y="360"/>
                      </a:lnTo>
                      <a:lnTo>
                        <a:pt x="88" y="360"/>
                      </a:lnTo>
                      <a:lnTo>
                        <a:pt x="72" y="360"/>
                      </a:lnTo>
                      <a:lnTo>
                        <a:pt x="56" y="360"/>
                      </a:lnTo>
                      <a:lnTo>
                        <a:pt x="32" y="360"/>
                      </a:lnTo>
                      <a:lnTo>
                        <a:pt x="48" y="376"/>
                      </a:lnTo>
                      <a:lnTo>
                        <a:pt x="56" y="368"/>
                      </a:lnTo>
                      <a:lnTo>
                        <a:pt x="64" y="368"/>
                      </a:lnTo>
                      <a:lnTo>
                        <a:pt x="72" y="368"/>
                      </a:lnTo>
                      <a:lnTo>
                        <a:pt x="72" y="376"/>
                      </a:lnTo>
                      <a:lnTo>
                        <a:pt x="104" y="376"/>
                      </a:lnTo>
                      <a:lnTo>
                        <a:pt x="104" y="384"/>
                      </a:lnTo>
                      <a:lnTo>
                        <a:pt x="88" y="384"/>
                      </a:lnTo>
                      <a:lnTo>
                        <a:pt x="72" y="392"/>
                      </a:lnTo>
                      <a:lnTo>
                        <a:pt x="88" y="400"/>
                      </a:lnTo>
                      <a:lnTo>
                        <a:pt x="112" y="400"/>
                      </a:lnTo>
                      <a:lnTo>
                        <a:pt x="120" y="408"/>
                      </a:lnTo>
                      <a:lnTo>
                        <a:pt x="136" y="408"/>
                      </a:lnTo>
                      <a:lnTo>
                        <a:pt x="136" y="400"/>
                      </a:lnTo>
                      <a:lnTo>
                        <a:pt x="120" y="400"/>
                      </a:lnTo>
                      <a:lnTo>
                        <a:pt x="120" y="392"/>
                      </a:lnTo>
                      <a:lnTo>
                        <a:pt x="128" y="392"/>
                      </a:lnTo>
                      <a:lnTo>
                        <a:pt x="136" y="400"/>
                      </a:lnTo>
                      <a:lnTo>
                        <a:pt x="144" y="392"/>
                      </a:lnTo>
                      <a:lnTo>
                        <a:pt x="152" y="392"/>
                      </a:lnTo>
                      <a:lnTo>
                        <a:pt x="152" y="400"/>
                      </a:lnTo>
                      <a:lnTo>
                        <a:pt x="160" y="400"/>
                      </a:lnTo>
                      <a:lnTo>
                        <a:pt x="176" y="400"/>
                      </a:lnTo>
                      <a:lnTo>
                        <a:pt x="176" y="392"/>
                      </a:lnTo>
                      <a:lnTo>
                        <a:pt x="184" y="392"/>
                      </a:lnTo>
                      <a:lnTo>
                        <a:pt x="184" y="400"/>
                      </a:lnTo>
                      <a:lnTo>
                        <a:pt x="200" y="400"/>
                      </a:lnTo>
                      <a:lnTo>
                        <a:pt x="200" y="392"/>
                      </a:lnTo>
                      <a:lnTo>
                        <a:pt x="208" y="392"/>
                      </a:lnTo>
                      <a:lnTo>
                        <a:pt x="216" y="400"/>
                      </a:lnTo>
                      <a:lnTo>
                        <a:pt x="224" y="392"/>
                      </a:lnTo>
                      <a:lnTo>
                        <a:pt x="248" y="400"/>
                      </a:lnTo>
                      <a:lnTo>
                        <a:pt x="240" y="400"/>
                      </a:lnTo>
                      <a:lnTo>
                        <a:pt x="256" y="408"/>
                      </a:lnTo>
                      <a:lnTo>
                        <a:pt x="264" y="400"/>
                      </a:lnTo>
                      <a:lnTo>
                        <a:pt x="272" y="408"/>
                      </a:lnTo>
                      <a:lnTo>
                        <a:pt x="280" y="408"/>
                      </a:lnTo>
                      <a:lnTo>
                        <a:pt x="296" y="416"/>
                      </a:lnTo>
                      <a:lnTo>
                        <a:pt x="296" y="424"/>
                      </a:lnTo>
                      <a:lnTo>
                        <a:pt x="304" y="432"/>
                      </a:lnTo>
                      <a:lnTo>
                        <a:pt x="328" y="456"/>
                      </a:lnTo>
                      <a:lnTo>
                        <a:pt x="336" y="464"/>
                      </a:lnTo>
                      <a:lnTo>
                        <a:pt x="352" y="464"/>
                      </a:lnTo>
                      <a:lnTo>
                        <a:pt x="344" y="472"/>
                      </a:lnTo>
                      <a:lnTo>
                        <a:pt x="344" y="488"/>
                      </a:lnTo>
                      <a:lnTo>
                        <a:pt x="352" y="496"/>
                      </a:lnTo>
                      <a:lnTo>
                        <a:pt x="352" y="504"/>
                      </a:lnTo>
                      <a:lnTo>
                        <a:pt x="368" y="520"/>
                      </a:lnTo>
                      <a:lnTo>
                        <a:pt x="360" y="528"/>
                      </a:lnTo>
                      <a:lnTo>
                        <a:pt x="376" y="536"/>
                      </a:lnTo>
                      <a:lnTo>
                        <a:pt x="384" y="552"/>
                      </a:lnTo>
                      <a:lnTo>
                        <a:pt x="368" y="552"/>
                      </a:lnTo>
                      <a:lnTo>
                        <a:pt x="368" y="560"/>
                      </a:lnTo>
                      <a:lnTo>
                        <a:pt x="368" y="568"/>
                      </a:lnTo>
                      <a:lnTo>
                        <a:pt x="376" y="576"/>
                      </a:lnTo>
                      <a:lnTo>
                        <a:pt x="360" y="584"/>
                      </a:lnTo>
                      <a:lnTo>
                        <a:pt x="368" y="592"/>
                      </a:lnTo>
                      <a:lnTo>
                        <a:pt x="392" y="592"/>
                      </a:lnTo>
                      <a:lnTo>
                        <a:pt x="392" y="584"/>
                      </a:lnTo>
                      <a:lnTo>
                        <a:pt x="400" y="584"/>
                      </a:lnTo>
                      <a:lnTo>
                        <a:pt x="400" y="568"/>
                      </a:lnTo>
                      <a:lnTo>
                        <a:pt x="408" y="568"/>
                      </a:lnTo>
                      <a:lnTo>
                        <a:pt x="408" y="576"/>
                      </a:lnTo>
                      <a:lnTo>
                        <a:pt x="432" y="592"/>
                      </a:lnTo>
                      <a:lnTo>
                        <a:pt x="424" y="592"/>
                      </a:lnTo>
                      <a:lnTo>
                        <a:pt x="440" y="600"/>
                      </a:lnTo>
                      <a:lnTo>
                        <a:pt x="448" y="608"/>
                      </a:lnTo>
                      <a:lnTo>
                        <a:pt x="440" y="616"/>
                      </a:lnTo>
                      <a:lnTo>
                        <a:pt x="448" y="624"/>
                      </a:lnTo>
                      <a:lnTo>
                        <a:pt x="464" y="632"/>
                      </a:lnTo>
                      <a:lnTo>
                        <a:pt x="456" y="640"/>
                      </a:lnTo>
                      <a:lnTo>
                        <a:pt x="432" y="624"/>
                      </a:lnTo>
                      <a:lnTo>
                        <a:pt x="424" y="624"/>
                      </a:lnTo>
                      <a:lnTo>
                        <a:pt x="408" y="624"/>
                      </a:lnTo>
                      <a:lnTo>
                        <a:pt x="384" y="616"/>
                      </a:lnTo>
                      <a:lnTo>
                        <a:pt x="384" y="624"/>
                      </a:lnTo>
                      <a:lnTo>
                        <a:pt x="392" y="632"/>
                      </a:lnTo>
                      <a:lnTo>
                        <a:pt x="408" y="632"/>
                      </a:lnTo>
                      <a:lnTo>
                        <a:pt x="424" y="648"/>
                      </a:lnTo>
                      <a:lnTo>
                        <a:pt x="448" y="648"/>
                      </a:lnTo>
                      <a:lnTo>
                        <a:pt x="464" y="648"/>
                      </a:lnTo>
                      <a:lnTo>
                        <a:pt x="472" y="656"/>
                      </a:lnTo>
                      <a:lnTo>
                        <a:pt x="464" y="656"/>
                      </a:lnTo>
                      <a:lnTo>
                        <a:pt x="472" y="664"/>
                      </a:lnTo>
                      <a:lnTo>
                        <a:pt x="456" y="672"/>
                      </a:lnTo>
                      <a:lnTo>
                        <a:pt x="448" y="688"/>
                      </a:lnTo>
                      <a:lnTo>
                        <a:pt x="456" y="688"/>
                      </a:lnTo>
                      <a:lnTo>
                        <a:pt x="456" y="696"/>
                      </a:lnTo>
                      <a:lnTo>
                        <a:pt x="440" y="696"/>
                      </a:lnTo>
                      <a:lnTo>
                        <a:pt x="424" y="704"/>
                      </a:lnTo>
                      <a:lnTo>
                        <a:pt x="432" y="712"/>
                      </a:lnTo>
                      <a:lnTo>
                        <a:pt x="448" y="704"/>
                      </a:lnTo>
                      <a:lnTo>
                        <a:pt x="456" y="712"/>
                      </a:lnTo>
                      <a:lnTo>
                        <a:pt x="464" y="712"/>
                      </a:lnTo>
                      <a:lnTo>
                        <a:pt x="464" y="720"/>
                      </a:lnTo>
                      <a:lnTo>
                        <a:pt x="440" y="712"/>
                      </a:lnTo>
                      <a:lnTo>
                        <a:pt x="416" y="712"/>
                      </a:lnTo>
                      <a:lnTo>
                        <a:pt x="400" y="720"/>
                      </a:lnTo>
                      <a:lnTo>
                        <a:pt x="400" y="728"/>
                      </a:lnTo>
                      <a:lnTo>
                        <a:pt x="408" y="728"/>
                      </a:lnTo>
                      <a:lnTo>
                        <a:pt x="424" y="720"/>
                      </a:lnTo>
                      <a:lnTo>
                        <a:pt x="432" y="720"/>
                      </a:lnTo>
                      <a:lnTo>
                        <a:pt x="456" y="720"/>
                      </a:lnTo>
                      <a:lnTo>
                        <a:pt x="464" y="728"/>
                      </a:lnTo>
                      <a:lnTo>
                        <a:pt x="456" y="736"/>
                      </a:lnTo>
                      <a:lnTo>
                        <a:pt x="440" y="728"/>
                      </a:lnTo>
                      <a:lnTo>
                        <a:pt x="432" y="728"/>
                      </a:lnTo>
                      <a:lnTo>
                        <a:pt x="400" y="736"/>
                      </a:lnTo>
                      <a:lnTo>
                        <a:pt x="400" y="752"/>
                      </a:lnTo>
                      <a:lnTo>
                        <a:pt x="408" y="752"/>
                      </a:lnTo>
                      <a:lnTo>
                        <a:pt x="424" y="752"/>
                      </a:lnTo>
                      <a:lnTo>
                        <a:pt x="416" y="768"/>
                      </a:lnTo>
                      <a:lnTo>
                        <a:pt x="408" y="768"/>
                      </a:lnTo>
                      <a:lnTo>
                        <a:pt x="400" y="776"/>
                      </a:lnTo>
                      <a:lnTo>
                        <a:pt x="408" y="792"/>
                      </a:lnTo>
                      <a:lnTo>
                        <a:pt x="424" y="792"/>
                      </a:lnTo>
                      <a:lnTo>
                        <a:pt x="424" y="808"/>
                      </a:lnTo>
                      <a:lnTo>
                        <a:pt x="416" y="808"/>
                      </a:lnTo>
                      <a:lnTo>
                        <a:pt x="432" y="824"/>
                      </a:lnTo>
                      <a:lnTo>
                        <a:pt x="432" y="832"/>
                      </a:lnTo>
                      <a:lnTo>
                        <a:pt x="432" y="856"/>
                      </a:lnTo>
                      <a:lnTo>
                        <a:pt x="432" y="872"/>
                      </a:lnTo>
                      <a:lnTo>
                        <a:pt x="440" y="872"/>
                      </a:lnTo>
                      <a:lnTo>
                        <a:pt x="448" y="856"/>
                      </a:lnTo>
                      <a:lnTo>
                        <a:pt x="456" y="848"/>
                      </a:lnTo>
                      <a:lnTo>
                        <a:pt x="480" y="856"/>
                      </a:lnTo>
                      <a:lnTo>
                        <a:pt x="472" y="872"/>
                      </a:lnTo>
                      <a:lnTo>
                        <a:pt x="464" y="864"/>
                      </a:lnTo>
                      <a:lnTo>
                        <a:pt x="464" y="872"/>
                      </a:lnTo>
                      <a:lnTo>
                        <a:pt x="464" y="888"/>
                      </a:lnTo>
                      <a:lnTo>
                        <a:pt x="448" y="888"/>
                      </a:lnTo>
                      <a:lnTo>
                        <a:pt x="448" y="904"/>
                      </a:lnTo>
                      <a:lnTo>
                        <a:pt x="456" y="912"/>
                      </a:lnTo>
                      <a:lnTo>
                        <a:pt x="456" y="920"/>
                      </a:lnTo>
                      <a:lnTo>
                        <a:pt x="464" y="928"/>
                      </a:lnTo>
                      <a:lnTo>
                        <a:pt x="464" y="936"/>
                      </a:lnTo>
                      <a:lnTo>
                        <a:pt x="472" y="944"/>
                      </a:lnTo>
                      <a:lnTo>
                        <a:pt x="464" y="952"/>
                      </a:lnTo>
                      <a:lnTo>
                        <a:pt x="464" y="960"/>
                      </a:lnTo>
                      <a:lnTo>
                        <a:pt x="480" y="968"/>
                      </a:lnTo>
                      <a:lnTo>
                        <a:pt x="480" y="976"/>
                      </a:lnTo>
                      <a:lnTo>
                        <a:pt x="488" y="992"/>
                      </a:lnTo>
                      <a:lnTo>
                        <a:pt x="496" y="1000"/>
                      </a:lnTo>
                      <a:lnTo>
                        <a:pt x="504" y="1008"/>
                      </a:lnTo>
                      <a:lnTo>
                        <a:pt x="512" y="1016"/>
                      </a:lnTo>
                      <a:lnTo>
                        <a:pt x="512" y="1032"/>
                      </a:lnTo>
                      <a:lnTo>
                        <a:pt x="520" y="1032"/>
                      </a:lnTo>
                      <a:lnTo>
                        <a:pt x="528" y="1024"/>
                      </a:lnTo>
                      <a:lnTo>
                        <a:pt x="552" y="1016"/>
                      </a:lnTo>
                      <a:lnTo>
                        <a:pt x="560" y="1032"/>
                      </a:lnTo>
                      <a:lnTo>
                        <a:pt x="584" y="1040"/>
                      </a:lnTo>
                      <a:lnTo>
                        <a:pt x="584" y="1056"/>
                      </a:lnTo>
                      <a:lnTo>
                        <a:pt x="584" y="1064"/>
                      </a:lnTo>
                      <a:lnTo>
                        <a:pt x="600" y="1056"/>
                      </a:lnTo>
                      <a:lnTo>
                        <a:pt x="608" y="1064"/>
                      </a:lnTo>
                      <a:lnTo>
                        <a:pt x="616" y="1048"/>
                      </a:lnTo>
                      <a:lnTo>
                        <a:pt x="608" y="1040"/>
                      </a:lnTo>
                      <a:lnTo>
                        <a:pt x="616" y="1032"/>
                      </a:lnTo>
                      <a:lnTo>
                        <a:pt x="616" y="1024"/>
                      </a:lnTo>
                      <a:lnTo>
                        <a:pt x="624" y="1016"/>
                      </a:lnTo>
                      <a:lnTo>
                        <a:pt x="624" y="1008"/>
                      </a:lnTo>
                      <a:lnTo>
                        <a:pt x="632" y="1000"/>
                      </a:lnTo>
                      <a:lnTo>
                        <a:pt x="640" y="992"/>
                      </a:lnTo>
                      <a:lnTo>
                        <a:pt x="632" y="968"/>
                      </a:lnTo>
                      <a:lnTo>
                        <a:pt x="632" y="952"/>
                      </a:lnTo>
                      <a:lnTo>
                        <a:pt x="632" y="944"/>
                      </a:lnTo>
                      <a:lnTo>
                        <a:pt x="632" y="936"/>
                      </a:lnTo>
                      <a:lnTo>
                        <a:pt x="648" y="936"/>
                      </a:lnTo>
                      <a:lnTo>
                        <a:pt x="648" y="920"/>
                      </a:lnTo>
                      <a:lnTo>
                        <a:pt x="656" y="920"/>
                      </a:lnTo>
                      <a:lnTo>
                        <a:pt x="656" y="912"/>
                      </a:lnTo>
                      <a:lnTo>
                        <a:pt x="648" y="896"/>
                      </a:lnTo>
                      <a:lnTo>
                        <a:pt x="664" y="904"/>
                      </a:lnTo>
                      <a:lnTo>
                        <a:pt x="664" y="880"/>
                      </a:lnTo>
                      <a:lnTo>
                        <a:pt x="648" y="880"/>
                      </a:lnTo>
                      <a:lnTo>
                        <a:pt x="648" y="864"/>
                      </a:lnTo>
                      <a:lnTo>
                        <a:pt x="664" y="864"/>
                      </a:lnTo>
                      <a:lnTo>
                        <a:pt x="664" y="856"/>
                      </a:lnTo>
                      <a:lnTo>
                        <a:pt x="656" y="848"/>
                      </a:lnTo>
                      <a:lnTo>
                        <a:pt x="664" y="832"/>
                      </a:lnTo>
                      <a:lnTo>
                        <a:pt x="680" y="832"/>
                      </a:lnTo>
                      <a:lnTo>
                        <a:pt x="680" y="824"/>
                      </a:lnTo>
                      <a:lnTo>
                        <a:pt x="672" y="816"/>
                      </a:lnTo>
                      <a:lnTo>
                        <a:pt x="672" y="808"/>
                      </a:lnTo>
                      <a:lnTo>
                        <a:pt x="712" y="808"/>
                      </a:lnTo>
                      <a:lnTo>
                        <a:pt x="720" y="776"/>
                      </a:lnTo>
                      <a:lnTo>
                        <a:pt x="720" y="768"/>
                      </a:lnTo>
                      <a:lnTo>
                        <a:pt x="728" y="768"/>
                      </a:lnTo>
                      <a:lnTo>
                        <a:pt x="728" y="784"/>
                      </a:lnTo>
                      <a:lnTo>
                        <a:pt x="736" y="792"/>
                      </a:lnTo>
                      <a:lnTo>
                        <a:pt x="744" y="792"/>
                      </a:lnTo>
                      <a:lnTo>
                        <a:pt x="752" y="792"/>
                      </a:lnTo>
                      <a:lnTo>
                        <a:pt x="768" y="784"/>
                      </a:lnTo>
                      <a:lnTo>
                        <a:pt x="768" y="768"/>
                      </a:lnTo>
                      <a:lnTo>
                        <a:pt x="792" y="776"/>
                      </a:lnTo>
                      <a:lnTo>
                        <a:pt x="808" y="752"/>
                      </a:lnTo>
                      <a:lnTo>
                        <a:pt x="816" y="736"/>
                      </a:lnTo>
                      <a:lnTo>
                        <a:pt x="824" y="720"/>
                      </a:lnTo>
                      <a:lnTo>
                        <a:pt x="840" y="720"/>
                      </a:lnTo>
                      <a:lnTo>
                        <a:pt x="848" y="712"/>
                      </a:lnTo>
                      <a:lnTo>
                        <a:pt x="832" y="704"/>
                      </a:lnTo>
                      <a:lnTo>
                        <a:pt x="832" y="696"/>
                      </a:lnTo>
                      <a:lnTo>
                        <a:pt x="840" y="696"/>
                      </a:lnTo>
                      <a:lnTo>
                        <a:pt x="856" y="712"/>
                      </a:lnTo>
                      <a:lnTo>
                        <a:pt x="864" y="712"/>
                      </a:lnTo>
                      <a:lnTo>
                        <a:pt x="872" y="704"/>
                      </a:lnTo>
                      <a:lnTo>
                        <a:pt x="880" y="704"/>
                      </a:lnTo>
                      <a:lnTo>
                        <a:pt x="888" y="704"/>
                      </a:lnTo>
                      <a:lnTo>
                        <a:pt x="896" y="704"/>
                      </a:lnTo>
                      <a:lnTo>
                        <a:pt x="904" y="704"/>
                      </a:lnTo>
                      <a:lnTo>
                        <a:pt x="928" y="696"/>
                      </a:lnTo>
                      <a:lnTo>
                        <a:pt x="936" y="696"/>
                      </a:lnTo>
                      <a:lnTo>
                        <a:pt x="952" y="688"/>
                      </a:lnTo>
                      <a:lnTo>
                        <a:pt x="968" y="688"/>
                      </a:lnTo>
                      <a:lnTo>
                        <a:pt x="976" y="680"/>
                      </a:lnTo>
                      <a:lnTo>
                        <a:pt x="984" y="680"/>
                      </a:lnTo>
                      <a:lnTo>
                        <a:pt x="992" y="672"/>
                      </a:lnTo>
                      <a:lnTo>
                        <a:pt x="1000" y="672"/>
                      </a:lnTo>
                      <a:lnTo>
                        <a:pt x="1008" y="656"/>
                      </a:lnTo>
                      <a:lnTo>
                        <a:pt x="1016" y="65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86" name="Freeform 282"/>
                <p:cNvSpPr>
                  <a:spLocks noChangeAspect="1"/>
                </p:cNvSpPr>
                <p:nvPr/>
              </p:nvSpPr>
              <p:spPr bwMode="auto">
                <a:xfrm>
                  <a:off x="1967" y="1513"/>
                  <a:ext cx="40" cy="29"/>
                </a:xfrm>
                <a:custGeom>
                  <a:avLst/>
                  <a:gdLst>
                    <a:gd name="T0" fmla="*/ 0 w 56"/>
                    <a:gd name="T1" fmla="*/ 1 h 40"/>
                    <a:gd name="T2" fmla="*/ 1 w 56"/>
                    <a:gd name="T3" fmla="*/ 1 h 40"/>
                    <a:gd name="T4" fmla="*/ 1 w 56"/>
                    <a:gd name="T5" fmla="*/ 1 h 40"/>
                    <a:gd name="T6" fmla="*/ 1 w 56"/>
                    <a:gd name="T7" fmla="*/ 1 h 40"/>
                    <a:gd name="T8" fmla="*/ 1 w 56"/>
                    <a:gd name="T9" fmla="*/ 1 h 40"/>
                    <a:gd name="T10" fmla="*/ 1 w 56"/>
                    <a:gd name="T11" fmla="*/ 1 h 40"/>
                    <a:gd name="T12" fmla="*/ 1 w 56"/>
                    <a:gd name="T13" fmla="*/ 1 h 40"/>
                    <a:gd name="T14" fmla="*/ 1 w 56"/>
                    <a:gd name="T15" fmla="*/ 1 h 40"/>
                    <a:gd name="T16" fmla="*/ 1 w 56"/>
                    <a:gd name="T17" fmla="*/ 1 h 40"/>
                    <a:gd name="T18" fmla="*/ 1 w 56"/>
                    <a:gd name="T19" fmla="*/ 0 h 40"/>
                    <a:gd name="T20" fmla="*/ 0 w 56"/>
                    <a:gd name="T21" fmla="*/ 1 h 40"/>
                    <a:gd name="T22" fmla="*/ 0 w 56"/>
                    <a:gd name="T23" fmla="*/ 1 h 40"/>
                    <a:gd name="T24" fmla="*/ 0 w 56"/>
                    <a:gd name="T25" fmla="*/ 1 h 40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56"/>
                    <a:gd name="T40" fmla="*/ 0 h 40"/>
                    <a:gd name="T41" fmla="*/ 56 w 56"/>
                    <a:gd name="T42" fmla="*/ 40 h 40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56" h="40">
                      <a:moveTo>
                        <a:pt x="0" y="32"/>
                      </a:moveTo>
                      <a:lnTo>
                        <a:pt x="16" y="32"/>
                      </a:lnTo>
                      <a:lnTo>
                        <a:pt x="32" y="40"/>
                      </a:lnTo>
                      <a:lnTo>
                        <a:pt x="40" y="40"/>
                      </a:lnTo>
                      <a:lnTo>
                        <a:pt x="56" y="32"/>
                      </a:lnTo>
                      <a:lnTo>
                        <a:pt x="56" y="24"/>
                      </a:lnTo>
                      <a:lnTo>
                        <a:pt x="40" y="16"/>
                      </a:lnTo>
                      <a:lnTo>
                        <a:pt x="24" y="8"/>
                      </a:lnTo>
                      <a:lnTo>
                        <a:pt x="8" y="8"/>
                      </a:lnTo>
                      <a:lnTo>
                        <a:pt x="8" y="0"/>
                      </a:lnTo>
                      <a:lnTo>
                        <a:pt x="0" y="16"/>
                      </a:lnTo>
                      <a:lnTo>
                        <a:pt x="0" y="24"/>
                      </a:lnTo>
                      <a:lnTo>
                        <a:pt x="0" y="32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87" name="Freeform 283"/>
                <p:cNvSpPr>
                  <a:spLocks noChangeAspect="1"/>
                </p:cNvSpPr>
                <p:nvPr/>
              </p:nvSpPr>
              <p:spPr bwMode="auto">
                <a:xfrm>
                  <a:off x="2063" y="1120"/>
                  <a:ext cx="45" cy="28"/>
                </a:xfrm>
                <a:custGeom>
                  <a:avLst/>
                  <a:gdLst>
                    <a:gd name="T0" fmla="*/ 1 w 64"/>
                    <a:gd name="T1" fmla="*/ 0 h 40"/>
                    <a:gd name="T2" fmla="*/ 0 w 64"/>
                    <a:gd name="T3" fmla="*/ 0 h 40"/>
                    <a:gd name="T4" fmla="*/ 1 w 64"/>
                    <a:gd name="T5" fmla="*/ 1 h 40"/>
                    <a:gd name="T6" fmla="*/ 1 w 64"/>
                    <a:gd name="T7" fmla="*/ 1 h 40"/>
                    <a:gd name="T8" fmla="*/ 1 w 64"/>
                    <a:gd name="T9" fmla="*/ 1 h 40"/>
                    <a:gd name="T10" fmla="*/ 1 w 64"/>
                    <a:gd name="T11" fmla="*/ 1 h 40"/>
                    <a:gd name="T12" fmla="*/ 1 w 64"/>
                    <a:gd name="T13" fmla="*/ 1 h 40"/>
                    <a:gd name="T14" fmla="*/ 1 w 64"/>
                    <a:gd name="T15" fmla="*/ 1 h 40"/>
                    <a:gd name="T16" fmla="*/ 1 w 64"/>
                    <a:gd name="T17" fmla="*/ 1 h 40"/>
                    <a:gd name="T18" fmla="*/ 1 w 64"/>
                    <a:gd name="T19" fmla="*/ 0 h 40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4"/>
                    <a:gd name="T31" fmla="*/ 0 h 40"/>
                    <a:gd name="T32" fmla="*/ 64 w 64"/>
                    <a:gd name="T33" fmla="*/ 40 h 40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4" h="40">
                      <a:moveTo>
                        <a:pt x="24" y="0"/>
                      </a:moveTo>
                      <a:lnTo>
                        <a:pt x="0" y="0"/>
                      </a:lnTo>
                      <a:lnTo>
                        <a:pt x="8" y="16"/>
                      </a:lnTo>
                      <a:lnTo>
                        <a:pt x="32" y="32"/>
                      </a:lnTo>
                      <a:lnTo>
                        <a:pt x="40" y="32"/>
                      </a:lnTo>
                      <a:lnTo>
                        <a:pt x="40" y="40"/>
                      </a:lnTo>
                      <a:lnTo>
                        <a:pt x="48" y="40"/>
                      </a:lnTo>
                      <a:lnTo>
                        <a:pt x="48" y="24"/>
                      </a:lnTo>
                      <a:lnTo>
                        <a:pt x="64" y="24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88" name="Freeform 284"/>
                <p:cNvSpPr>
                  <a:spLocks noChangeAspect="1"/>
                </p:cNvSpPr>
                <p:nvPr/>
              </p:nvSpPr>
              <p:spPr bwMode="auto">
                <a:xfrm>
                  <a:off x="2412" y="1446"/>
                  <a:ext cx="34" cy="22"/>
                </a:xfrm>
                <a:custGeom>
                  <a:avLst/>
                  <a:gdLst>
                    <a:gd name="T0" fmla="*/ 1 w 48"/>
                    <a:gd name="T1" fmla="*/ 1 h 32"/>
                    <a:gd name="T2" fmla="*/ 1 w 48"/>
                    <a:gd name="T3" fmla="*/ 1 h 32"/>
                    <a:gd name="T4" fmla="*/ 1 w 48"/>
                    <a:gd name="T5" fmla="*/ 0 h 32"/>
                    <a:gd name="T6" fmla="*/ 0 w 48"/>
                    <a:gd name="T7" fmla="*/ 0 h 32"/>
                    <a:gd name="T8" fmla="*/ 0 w 48"/>
                    <a:gd name="T9" fmla="*/ 1 h 32"/>
                    <a:gd name="T10" fmla="*/ 1 w 48"/>
                    <a:gd name="T11" fmla="*/ 1 h 32"/>
                    <a:gd name="T12" fmla="*/ 1 w 48"/>
                    <a:gd name="T13" fmla="*/ 1 h 32"/>
                    <a:gd name="T14" fmla="*/ 1 w 48"/>
                    <a:gd name="T15" fmla="*/ 1 h 32"/>
                    <a:gd name="T16" fmla="*/ 1 w 48"/>
                    <a:gd name="T17" fmla="*/ 1 h 32"/>
                    <a:gd name="T18" fmla="*/ 1 w 48"/>
                    <a:gd name="T19" fmla="*/ 1 h 3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48"/>
                    <a:gd name="T31" fmla="*/ 0 h 32"/>
                    <a:gd name="T32" fmla="*/ 48 w 48"/>
                    <a:gd name="T33" fmla="*/ 32 h 32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48" h="32">
                      <a:moveTo>
                        <a:pt x="48" y="16"/>
                      </a:moveTo>
                      <a:lnTo>
                        <a:pt x="40" y="8"/>
                      </a:lnTo>
                      <a:lnTo>
                        <a:pt x="24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lnTo>
                        <a:pt x="16" y="24"/>
                      </a:lnTo>
                      <a:lnTo>
                        <a:pt x="40" y="32"/>
                      </a:lnTo>
                      <a:lnTo>
                        <a:pt x="48" y="24"/>
                      </a:lnTo>
                      <a:lnTo>
                        <a:pt x="48" y="1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89" name="Freeform 285"/>
                <p:cNvSpPr>
                  <a:spLocks noChangeAspect="1"/>
                </p:cNvSpPr>
                <p:nvPr/>
              </p:nvSpPr>
              <p:spPr bwMode="auto">
                <a:xfrm>
                  <a:off x="2671" y="1857"/>
                  <a:ext cx="62" cy="101"/>
                </a:xfrm>
                <a:custGeom>
                  <a:avLst/>
                  <a:gdLst>
                    <a:gd name="T0" fmla="*/ 1 w 88"/>
                    <a:gd name="T1" fmla="*/ 1 h 144"/>
                    <a:gd name="T2" fmla="*/ 1 w 88"/>
                    <a:gd name="T3" fmla="*/ 1 h 144"/>
                    <a:gd name="T4" fmla="*/ 1 w 88"/>
                    <a:gd name="T5" fmla="*/ 1 h 144"/>
                    <a:gd name="T6" fmla="*/ 1 w 88"/>
                    <a:gd name="T7" fmla="*/ 1 h 144"/>
                    <a:gd name="T8" fmla="*/ 1 w 88"/>
                    <a:gd name="T9" fmla="*/ 1 h 144"/>
                    <a:gd name="T10" fmla="*/ 1 w 88"/>
                    <a:gd name="T11" fmla="*/ 1 h 144"/>
                    <a:gd name="T12" fmla="*/ 1 w 88"/>
                    <a:gd name="T13" fmla="*/ 1 h 144"/>
                    <a:gd name="T14" fmla="*/ 1 w 88"/>
                    <a:gd name="T15" fmla="*/ 1 h 144"/>
                    <a:gd name="T16" fmla="*/ 1 w 88"/>
                    <a:gd name="T17" fmla="*/ 1 h 144"/>
                    <a:gd name="T18" fmla="*/ 1 w 88"/>
                    <a:gd name="T19" fmla="*/ 1 h 144"/>
                    <a:gd name="T20" fmla="*/ 1 w 88"/>
                    <a:gd name="T21" fmla="*/ 0 h 144"/>
                    <a:gd name="T22" fmla="*/ 1 w 88"/>
                    <a:gd name="T23" fmla="*/ 0 h 144"/>
                    <a:gd name="T24" fmla="*/ 1 w 88"/>
                    <a:gd name="T25" fmla="*/ 0 h 144"/>
                    <a:gd name="T26" fmla="*/ 1 w 88"/>
                    <a:gd name="T27" fmla="*/ 1 h 144"/>
                    <a:gd name="T28" fmla="*/ 1 w 88"/>
                    <a:gd name="T29" fmla="*/ 1 h 144"/>
                    <a:gd name="T30" fmla="*/ 1 w 88"/>
                    <a:gd name="T31" fmla="*/ 1 h 144"/>
                    <a:gd name="T32" fmla="*/ 1 w 88"/>
                    <a:gd name="T33" fmla="*/ 1 h 144"/>
                    <a:gd name="T34" fmla="*/ 1 w 88"/>
                    <a:gd name="T35" fmla="*/ 1 h 144"/>
                    <a:gd name="T36" fmla="*/ 1 w 88"/>
                    <a:gd name="T37" fmla="*/ 1 h 144"/>
                    <a:gd name="T38" fmla="*/ 1 w 88"/>
                    <a:gd name="T39" fmla="*/ 1 h 144"/>
                    <a:gd name="T40" fmla="*/ 0 w 88"/>
                    <a:gd name="T41" fmla="*/ 1 h 144"/>
                    <a:gd name="T42" fmla="*/ 1 w 88"/>
                    <a:gd name="T43" fmla="*/ 1 h 144"/>
                    <a:gd name="T44" fmla="*/ 1 w 88"/>
                    <a:gd name="T45" fmla="*/ 1 h 144"/>
                    <a:gd name="T46" fmla="*/ 1 w 88"/>
                    <a:gd name="T47" fmla="*/ 1 h 144"/>
                    <a:gd name="T48" fmla="*/ 1 w 88"/>
                    <a:gd name="T49" fmla="*/ 1 h 144"/>
                    <a:gd name="T50" fmla="*/ 1 w 88"/>
                    <a:gd name="T51" fmla="*/ 1 h 144"/>
                    <a:gd name="T52" fmla="*/ 1 w 88"/>
                    <a:gd name="T53" fmla="*/ 1 h 144"/>
                    <a:gd name="T54" fmla="*/ 1 w 88"/>
                    <a:gd name="T55" fmla="*/ 1 h 144"/>
                    <a:gd name="T56" fmla="*/ 1 w 88"/>
                    <a:gd name="T57" fmla="*/ 1 h 144"/>
                    <a:gd name="T58" fmla="*/ 1 w 88"/>
                    <a:gd name="T59" fmla="*/ 1 h 144"/>
                    <a:gd name="T60" fmla="*/ 1 w 88"/>
                    <a:gd name="T61" fmla="*/ 1 h 144"/>
                    <a:gd name="T62" fmla="*/ 1 w 88"/>
                    <a:gd name="T63" fmla="*/ 1 h 144"/>
                    <a:gd name="T64" fmla="*/ 1 w 88"/>
                    <a:gd name="T65" fmla="*/ 1 h 144"/>
                    <a:gd name="T66" fmla="*/ 1 w 88"/>
                    <a:gd name="T67" fmla="*/ 1 h 144"/>
                    <a:gd name="T68" fmla="*/ 1 w 88"/>
                    <a:gd name="T69" fmla="*/ 1 h 144"/>
                    <a:gd name="T70" fmla="*/ 1 w 88"/>
                    <a:gd name="T71" fmla="*/ 1 h 144"/>
                    <a:gd name="T72" fmla="*/ 1 w 88"/>
                    <a:gd name="T73" fmla="*/ 1 h 144"/>
                    <a:gd name="T74" fmla="*/ 1 w 88"/>
                    <a:gd name="T75" fmla="*/ 1 h 144"/>
                    <a:gd name="T76" fmla="*/ 1 w 88"/>
                    <a:gd name="T77" fmla="*/ 1 h 144"/>
                    <a:gd name="T78" fmla="*/ 1 w 88"/>
                    <a:gd name="T79" fmla="*/ 1 h 144"/>
                    <a:gd name="T80" fmla="*/ 1 w 88"/>
                    <a:gd name="T81" fmla="*/ 1 h 144"/>
                    <a:gd name="T82" fmla="*/ 1 w 88"/>
                    <a:gd name="T83" fmla="*/ 1 h 144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88"/>
                    <a:gd name="T127" fmla="*/ 0 h 144"/>
                    <a:gd name="T128" fmla="*/ 88 w 88"/>
                    <a:gd name="T129" fmla="*/ 144 h 144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88" h="144">
                      <a:moveTo>
                        <a:pt x="72" y="96"/>
                      </a:moveTo>
                      <a:lnTo>
                        <a:pt x="64" y="96"/>
                      </a:lnTo>
                      <a:lnTo>
                        <a:pt x="72" y="88"/>
                      </a:lnTo>
                      <a:lnTo>
                        <a:pt x="72" y="72"/>
                      </a:lnTo>
                      <a:lnTo>
                        <a:pt x="88" y="40"/>
                      </a:lnTo>
                      <a:lnTo>
                        <a:pt x="88" y="32"/>
                      </a:lnTo>
                      <a:lnTo>
                        <a:pt x="72" y="32"/>
                      </a:lnTo>
                      <a:lnTo>
                        <a:pt x="48" y="32"/>
                      </a:lnTo>
                      <a:lnTo>
                        <a:pt x="56" y="16"/>
                      </a:lnTo>
                      <a:lnTo>
                        <a:pt x="64" y="8"/>
                      </a:lnTo>
                      <a:lnTo>
                        <a:pt x="72" y="0"/>
                      </a:lnTo>
                      <a:lnTo>
                        <a:pt x="56" y="0"/>
                      </a:lnTo>
                      <a:lnTo>
                        <a:pt x="32" y="0"/>
                      </a:lnTo>
                      <a:lnTo>
                        <a:pt x="24" y="8"/>
                      </a:lnTo>
                      <a:lnTo>
                        <a:pt x="24" y="24"/>
                      </a:lnTo>
                      <a:lnTo>
                        <a:pt x="8" y="32"/>
                      </a:lnTo>
                      <a:lnTo>
                        <a:pt x="8" y="40"/>
                      </a:lnTo>
                      <a:lnTo>
                        <a:pt x="16" y="48"/>
                      </a:lnTo>
                      <a:lnTo>
                        <a:pt x="16" y="56"/>
                      </a:lnTo>
                      <a:lnTo>
                        <a:pt x="8" y="64"/>
                      </a:lnTo>
                      <a:lnTo>
                        <a:pt x="0" y="72"/>
                      </a:lnTo>
                      <a:lnTo>
                        <a:pt x="8" y="88"/>
                      </a:lnTo>
                      <a:lnTo>
                        <a:pt x="8" y="80"/>
                      </a:lnTo>
                      <a:lnTo>
                        <a:pt x="16" y="72"/>
                      </a:lnTo>
                      <a:lnTo>
                        <a:pt x="24" y="72"/>
                      </a:lnTo>
                      <a:lnTo>
                        <a:pt x="24" y="80"/>
                      </a:lnTo>
                      <a:lnTo>
                        <a:pt x="16" y="88"/>
                      </a:lnTo>
                      <a:lnTo>
                        <a:pt x="16" y="96"/>
                      </a:lnTo>
                      <a:lnTo>
                        <a:pt x="16" y="112"/>
                      </a:lnTo>
                      <a:lnTo>
                        <a:pt x="16" y="120"/>
                      </a:lnTo>
                      <a:lnTo>
                        <a:pt x="16" y="112"/>
                      </a:lnTo>
                      <a:lnTo>
                        <a:pt x="24" y="104"/>
                      </a:lnTo>
                      <a:lnTo>
                        <a:pt x="32" y="96"/>
                      </a:lnTo>
                      <a:lnTo>
                        <a:pt x="32" y="104"/>
                      </a:lnTo>
                      <a:lnTo>
                        <a:pt x="32" y="112"/>
                      </a:lnTo>
                      <a:lnTo>
                        <a:pt x="32" y="120"/>
                      </a:lnTo>
                      <a:lnTo>
                        <a:pt x="24" y="128"/>
                      </a:lnTo>
                      <a:lnTo>
                        <a:pt x="24" y="144"/>
                      </a:lnTo>
                      <a:lnTo>
                        <a:pt x="32" y="144"/>
                      </a:lnTo>
                      <a:lnTo>
                        <a:pt x="48" y="144"/>
                      </a:lnTo>
                      <a:lnTo>
                        <a:pt x="64" y="136"/>
                      </a:lnTo>
                      <a:lnTo>
                        <a:pt x="72" y="9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90" name="Freeform 286"/>
                <p:cNvSpPr>
                  <a:spLocks noChangeAspect="1"/>
                </p:cNvSpPr>
                <p:nvPr/>
              </p:nvSpPr>
              <p:spPr bwMode="auto">
                <a:xfrm>
                  <a:off x="4742" y="1935"/>
                  <a:ext cx="11" cy="12"/>
                </a:xfrm>
                <a:custGeom>
                  <a:avLst/>
                  <a:gdLst>
                    <a:gd name="T0" fmla="*/ 0 w 16"/>
                    <a:gd name="T1" fmla="*/ 2 h 16"/>
                    <a:gd name="T2" fmla="*/ 1 w 16"/>
                    <a:gd name="T3" fmla="*/ 0 h 16"/>
                    <a:gd name="T4" fmla="*/ 1 w 16"/>
                    <a:gd name="T5" fmla="*/ 0 h 16"/>
                    <a:gd name="T6" fmla="*/ 1 w 16"/>
                    <a:gd name="T7" fmla="*/ 2 h 16"/>
                    <a:gd name="T8" fmla="*/ 1 w 16"/>
                    <a:gd name="T9" fmla="*/ 2 h 16"/>
                    <a:gd name="T10" fmla="*/ 0 w 16"/>
                    <a:gd name="T11" fmla="*/ 2 h 1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6"/>
                    <a:gd name="T19" fmla="*/ 0 h 16"/>
                    <a:gd name="T20" fmla="*/ 16 w 16"/>
                    <a:gd name="T21" fmla="*/ 16 h 1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6" h="16">
                      <a:moveTo>
                        <a:pt x="0" y="8"/>
                      </a:moveTo>
                      <a:lnTo>
                        <a:pt x="8" y="0"/>
                      </a:lnTo>
                      <a:lnTo>
                        <a:pt x="16" y="0"/>
                      </a:lnTo>
                      <a:lnTo>
                        <a:pt x="16" y="8"/>
                      </a:lnTo>
                      <a:lnTo>
                        <a:pt x="8" y="16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91" name="Freeform 287"/>
                <p:cNvSpPr>
                  <a:spLocks noChangeAspect="1"/>
                </p:cNvSpPr>
                <p:nvPr/>
              </p:nvSpPr>
              <p:spPr bwMode="auto">
                <a:xfrm>
                  <a:off x="4730" y="1941"/>
                  <a:ext cx="12" cy="1"/>
                </a:xfrm>
                <a:custGeom>
                  <a:avLst/>
                  <a:gdLst>
                    <a:gd name="T0" fmla="*/ 2 w 16"/>
                    <a:gd name="T1" fmla="*/ 0 h 1"/>
                    <a:gd name="T2" fmla="*/ 2 w 16"/>
                    <a:gd name="T3" fmla="*/ 0 h 1"/>
                    <a:gd name="T4" fmla="*/ 0 w 16"/>
                    <a:gd name="T5" fmla="*/ 0 h 1"/>
                    <a:gd name="T6" fmla="*/ 2 w 16"/>
                    <a:gd name="T7" fmla="*/ 0 h 1"/>
                    <a:gd name="T8" fmla="*/ 2 w 16"/>
                    <a:gd name="T9" fmla="*/ 0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6"/>
                    <a:gd name="T16" fmla="*/ 0 h 1"/>
                    <a:gd name="T17" fmla="*/ 16 w 16"/>
                    <a:gd name="T18" fmla="*/ 1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6" h="1">
                      <a:moveTo>
                        <a:pt x="16" y="0"/>
                      </a:move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8" y="0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92" name="Freeform 288"/>
                <p:cNvSpPr>
                  <a:spLocks noChangeAspect="1"/>
                </p:cNvSpPr>
                <p:nvPr/>
              </p:nvSpPr>
              <p:spPr bwMode="auto">
                <a:xfrm>
                  <a:off x="4803" y="1958"/>
                  <a:ext cx="46" cy="186"/>
                </a:xfrm>
                <a:custGeom>
                  <a:avLst/>
                  <a:gdLst>
                    <a:gd name="T0" fmla="*/ 1 w 64"/>
                    <a:gd name="T1" fmla="*/ 0 h 264"/>
                    <a:gd name="T2" fmla="*/ 1 w 64"/>
                    <a:gd name="T3" fmla="*/ 0 h 264"/>
                    <a:gd name="T4" fmla="*/ 1 w 64"/>
                    <a:gd name="T5" fmla="*/ 1 h 264"/>
                    <a:gd name="T6" fmla="*/ 1 w 64"/>
                    <a:gd name="T7" fmla="*/ 1 h 264"/>
                    <a:gd name="T8" fmla="*/ 0 w 64"/>
                    <a:gd name="T9" fmla="*/ 1 h 264"/>
                    <a:gd name="T10" fmla="*/ 1 w 64"/>
                    <a:gd name="T11" fmla="*/ 1 h 264"/>
                    <a:gd name="T12" fmla="*/ 0 w 64"/>
                    <a:gd name="T13" fmla="*/ 1 h 264"/>
                    <a:gd name="T14" fmla="*/ 1 w 64"/>
                    <a:gd name="T15" fmla="*/ 1 h 264"/>
                    <a:gd name="T16" fmla="*/ 0 w 64"/>
                    <a:gd name="T17" fmla="*/ 1 h 264"/>
                    <a:gd name="T18" fmla="*/ 1 w 64"/>
                    <a:gd name="T19" fmla="*/ 1 h 264"/>
                    <a:gd name="T20" fmla="*/ 1 w 64"/>
                    <a:gd name="T21" fmla="*/ 1 h 264"/>
                    <a:gd name="T22" fmla="*/ 1 w 64"/>
                    <a:gd name="T23" fmla="*/ 1 h 264"/>
                    <a:gd name="T24" fmla="*/ 1 w 64"/>
                    <a:gd name="T25" fmla="*/ 1 h 264"/>
                    <a:gd name="T26" fmla="*/ 1 w 64"/>
                    <a:gd name="T27" fmla="*/ 1 h 264"/>
                    <a:gd name="T28" fmla="*/ 1 w 64"/>
                    <a:gd name="T29" fmla="*/ 1 h 264"/>
                    <a:gd name="T30" fmla="*/ 1 w 64"/>
                    <a:gd name="T31" fmla="*/ 1 h 264"/>
                    <a:gd name="T32" fmla="*/ 1 w 64"/>
                    <a:gd name="T33" fmla="*/ 1 h 264"/>
                    <a:gd name="T34" fmla="*/ 1 w 64"/>
                    <a:gd name="T35" fmla="*/ 1 h 264"/>
                    <a:gd name="T36" fmla="*/ 1 w 64"/>
                    <a:gd name="T37" fmla="*/ 1 h 264"/>
                    <a:gd name="T38" fmla="*/ 1 w 64"/>
                    <a:gd name="T39" fmla="*/ 1 h 264"/>
                    <a:gd name="T40" fmla="*/ 1 w 64"/>
                    <a:gd name="T41" fmla="*/ 1 h 264"/>
                    <a:gd name="T42" fmla="*/ 1 w 64"/>
                    <a:gd name="T43" fmla="*/ 1 h 264"/>
                    <a:gd name="T44" fmla="*/ 1 w 64"/>
                    <a:gd name="T45" fmla="*/ 1 h 264"/>
                    <a:gd name="T46" fmla="*/ 1 w 64"/>
                    <a:gd name="T47" fmla="*/ 1 h 264"/>
                    <a:gd name="T48" fmla="*/ 1 w 64"/>
                    <a:gd name="T49" fmla="*/ 1 h 264"/>
                    <a:gd name="T50" fmla="*/ 1 w 64"/>
                    <a:gd name="T51" fmla="*/ 1 h 264"/>
                    <a:gd name="T52" fmla="*/ 1 w 64"/>
                    <a:gd name="T53" fmla="*/ 1 h 264"/>
                    <a:gd name="T54" fmla="*/ 1 w 64"/>
                    <a:gd name="T55" fmla="*/ 1 h 264"/>
                    <a:gd name="T56" fmla="*/ 1 w 64"/>
                    <a:gd name="T57" fmla="*/ 1 h 264"/>
                    <a:gd name="T58" fmla="*/ 1 w 64"/>
                    <a:gd name="T59" fmla="*/ 1 h 264"/>
                    <a:gd name="T60" fmla="*/ 1 w 64"/>
                    <a:gd name="T61" fmla="*/ 1 h 264"/>
                    <a:gd name="T62" fmla="*/ 1 w 64"/>
                    <a:gd name="T63" fmla="*/ 1 h 264"/>
                    <a:gd name="T64" fmla="*/ 1 w 64"/>
                    <a:gd name="T65" fmla="*/ 1 h 264"/>
                    <a:gd name="T66" fmla="*/ 1 w 64"/>
                    <a:gd name="T67" fmla="*/ 1 h 264"/>
                    <a:gd name="T68" fmla="*/ 1 w 64"/>
                    <a:gd name="T69" fmla="*/ 1 h 264"/>
                    <a:gd name="T70" fmla="*/ 1 w 64"/>
                    <a:gd name="T71" fmla="*/ 1 h 264"/>
                    <a:gd name="T72" fmla="*/ 1 w 64"/>
                    <a:gd name="T73" fmla="*/ 1 h 264"/>
                    <a:gd name="T74" fmla="*/ 1 w 64"/>
                    <a:gd name="T75" fmla="*/ 1 h 264"/>
                    <a:gd name="T76" fmla="*/ 1 w 64"/>
                    <a:gd name="T77" fmla="*/ 1 h 264"/>
                    <a:gd name="T78" fmla="*/ 1 w 64"/>
                    <a:gd name="T79" fmla="*/ 1 h 264"/>
                    <a:gd name="T80" fmla="*/ 1 w 64"/>
                    <a:gd name="T81" fmla="*/ 1 h 264"/>
                    <a:gd name="T82" fmla="*/ 1 w 64"/>
                    <a:gd name="T83" fmla="*/ 1 h 264"/>
                    <a:gd name="T84" fmla="*/ 1 w 64"/>
                    <a:gd name="T85" fmla="*/ 0 h 264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64"/>
                    <a:gd name="T130" fmla="*/ 0 h 264"/>
                    <a:gd name="T131" fmla="*/ 64 w 64"/>
                    <a:gd name="T132" fmla="*/ 264 h 264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64" h="264">
                      <a:moveTo>
                        <a:pt x="24" y="0"/>
                      </a:moveTo>
                      <a:lnTo>
                        <a:pt x="16" y="0"/>
                      </a:lnTo>
                      <a:lnTo>
                        <a:pt x="16" y="24"/>
                      </a:lnTo>
                      <a:lnTo>
                        <a:pt x="8" y="24"/>
                      </a:lnTo>
                      <a:lnTo>
                        <a:pt x="0" y="32"/>
                      </a:lnTo>
                      <a:lnTo>
                        <a:pt x="8" y="40"/>
                      </a:lnTo>
                      <a:lnTo>
                        <a:pt x="0" y="64"/>
                      </a:lnTo>
                      <a:lnTo>
                        <a:pt x="8" y="64"/>
                      </a:lnTo>
                      <a:lnTo>
                        <a:pt x="0" y="72"/>
                      </a:lnTo>
                      <a:lnTo>
                        <a:pt x="8" y="96"/>
                      </a:lnTo>
                      <a:lnTo>
                        <a:pt x="8" y="104"/>
                      </a:lnTo>
                      <a:lnTo>
                        <a:pt x="8" y="136"/>
                      </a:lnTo>
                      <a:lnTo>
                        <a:pt x="16" y="152"/>
                      </a:lnTo>
                      <a:lnTo>
                        <a:pt x="8" y="168"/>
                      </a:lnTo>
                      <a:lnTo>
                        <a:pt x="8" y="184"/>
                      </a:lnTo>
                      <a:lnTo>
                        <a:pt x="8" y="200"/>
                      </a:lnTo>
                      <a:lnTo>
                        <a:pt x="8" y="216"/>
                      </a:lnTo>
                      <a:lnTo>
                        <a:pt x="8" y="232"/>
                      </a:lnTo>
                      <a:lnTo>
                        <a:pt x="8" y="264"/>
                      </a:lnTo>
                      <a:lnTo>
                        <a:pt x="8" y="256"/>
                      </a:lnTo>
                      <a:lnTo>
                        <a:pt x="16" y="248"/>
                      </a:lnTo>
                      <a:lnTo>
                        <a:pt x="24" y="248"/>
                      </a:lnTo>
                      <a:lnTo>
                        <a:pt x="32" y="256"/>
                      </a:lnTo>
                      <a:lnTo>
                        <a:pt x="40" y="256"/>
                      </a:lnTo>
                      <a:lnTo>
                        <a:pt x="40" y="240"/>
                      </a:lnTo>
                      <a:lnTo>
                        <a:pt x="32" y="232"/>
                      </a:lnTo>
                      <a:lnTo>
                        <a:pt x="24" y="224"/>
                      </a:lnTo>
                      <a:lnTo>
                        <a:pt x="24" y="200"/>
                      </a:lnTo>
                      <a:lnTo>
                        <a:pt x="24" y="192"/>
                      </a:lnTo>
                      <a:lnTo>
                        <a:pt x="32" y="184"/>
                      </a:lnTo>
                      <a:lnTo>
                        <a:pt x="32" y="160"/>
                      </a:lnTo>
                      <a:lnTo>
                        <a:pt x="48" y="160"/>
                      </a:lnTo>
                      <a:lnTo>
                        <a:pt x="56" y="176"/>
                      </a:lnTo>
                      <a:lnTo>
                        <a:pt x="64" y="176"/>
                      </a:lnTo>
                      <a:lnTo>
                        <a:pt x="64" y="160"/>
                      </a:lnTo>
                      <a:lnTo>
                        <a:pt x="48" y="152"/>
                      </a:lnTo>
                      <a:lnTo>
                        <a:pt x="48" y="128"/>
                      </a:lnTo>
                      <a:lnTo>
                        <a:pt x="40" y="104"/>
                      </a:lnTo>
                      <a:lnTo>
                        <a:pt x="32" y="72"/>
                      </a:lnTo>
                      <a:lnTo>
                        <a:pt x="32" y="48"/>
                      </a:lnTo>
                      <a:lnTo>
                        <a:pt x="32" y="32"/>
                      </a:lnTo>
                      <a:lnTo>
                        <a:pt x="32" y="8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93" name="Freeform 289"/>
                <p:cNvSpPr>
                  <a:spLocks noChangeAspect="1"/>
                </p:cNvSpPr>
                <p:nvPr/>
              </p:nvSpPr>
              <p:spPr bwMode="auto">
                <a:xfrm>
                  <a:off x="4742" y="1935"/>
                  <a:ext cx="11" cy="12"/>
                </a:xfrm>
                <a:custGeom>
                  <a:avLst/>
                  <a:gdLst>
                    <a:gd name="T0" fmla="*/ 1 w 16"/>
                    <a:gd name="T1" fmla="*/ 0 h 16"/>
                    <a:gd name="T2" fmla="*/ 0 w 16"/>
                    <a:gd name="T3" fmla="*/ 2 h 16"/>
                    <a:gd name="T4" fmla="*/ 1 w 16"/>
                    <a:gd name="T5" fmla="*/ 2 h 16"/>
                    <a:gd name="T6" fmla="*/ 1 w 16"/>
                    <a:gd name="T7" fmla="*/ 2 h 16"/>
                    <a:gd name="T8" fmla="*/ 1 w 16"/>
                    <a:gd name="T9" fmla="*/ 0 h 16"/>
                    <a:gd name="T10" fmla="*/ 1 w 16"/>
                    <a:gd name="T11" fmla="*/ 0 h 1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6"/>
                    <a:gd name="T19" fmla="*/ 0 h 16"/>
                    <a:gd name="T20" fmla="*/ 16 w 16"/>
                    <a:gd name="T21" fmla="*/ 16 h 1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6" h="16">
                      <a:moveTo>
                        <a:pt x="8" y="0"/>
                      </a:moveTo>
                      <a:lnTo>
                        <a:pt x="0" y="8"/>
                      </a:lnTo>
                      <a:lnTo>
                        <a:pt x="8" y="16"/>
                      </a:lnTo>
                      <a:lnTo>
                        <a:pt x="16" y="8"/>
                      </a:lnTo>
                      <a:lnTo>
                        <a:pt x="16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94" name="Freeform 290"/>
                <p:cNvSpPr>
                  <a:spLocks noChangeAspect="1"/>
                </p:cNvSpPr>
                <p:nvPr/>
              </p:nvSpPr>
              <p:spPr bwMode="auto">
                <a:xfrm>
                  <a:off x="5332" y="1474"/>
                  <a:ext cx="57" cy="23"/>
                </a:xfrm>
                <a:custGeom>
                  <a:avLst/>
                  <a:gdLst>
                    <a:gd name="T0" fmla="*/ 1 w 80"/>
                    <a:gd name="T1" fmla="*/ 0 h 32"/>
                    <a:gd name="T2" fmla="*/ 1 w 80"/>
                    <a:gd name="T3" fmla="*/ 1 h 32"/>
                    <a:gd name="T4" fmla="*/ 1 w 80"/>
                    <a:gd name="T5" fmla="*/ 1 h 32"/>
                    <a:gd name="T6" fmla="*/ 1 w 80"/>
                    <a:gd name="T7" fmla="*/ 1 h 32"/>
                    <a:gd name="T8" fmla="*/ 1 w 80"/>
                    <a:gd name="T9" fmla="*/ 1 h 32"/>
                    <a:gd name="T10" fmla="*/ 1 w 80"/>
                    <a:gd name="T11" fmla="*/ 1 h 32"/>
                    <a:gd name="T12" fmla="*/ 1 w 80"/>
                    <a:gd name="T13" fmla="*/ 1 h 32"/>
                    <a:gd name="T14" fmla="*/ 1 w 80"/>
                    <a:gd name="T15" fmla="*/ 1 h 32"/>
                    <a:gd name="T16" fmla="*/ 1 w 80"/>
                    <a:gd name="T17" fmla="*/ 1 h 32"/>
                    <a:gd name="T18" fmla="*/ 1 w 80"/>
                    <a:gd name="T19" fmla="*/ 1 h 32"/>
                    <a:gd name="T20" fmla="*/ 1 w 80"/>
                    <a:gd name="T21" fmla="*/ 1 h 32"/>
                    <a:gd name="T22" fmla="*/ 0 w 80"/>
                    <a:gd name="T23" fmla="*/ 1 h 32"/>
                    <a:gd name="T24" fmla="*/ 1 w 80"/>
                    <a:gd name="T25" fmla="*/ 0 h 3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0"/>
                    <a:gd name="T40" fmla="*/ 0 h 32"/>
                    <a:gd name="T41" fmla="*/ 80 w 80"/>
                    <a:gd name="T42" fmla="*/ 32 h 3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0" h="32">
                      <a:moveTo>
                        <a:pt x="8" y="0"/>
                      </a:moveTo>
                      <a:lnTo>
                        <a:pt x="24" y="8"/>
                      </a:lnTo>
                      <a:lnTo>
                        <a:pt x="48" y="8"/>
                      </a:lnTo>
                      <a:lnTo>
                        <a:pt x="64" y="8"/>
                      </a:lnTo>
                      <a:lnTo>
                        <a:pt x="72" y="8"/>
                      </a:lnTo>
                      <a:lnTo>
                        <a:pt x="80" y="8"/>
                      </a:lnTo>
                      <a:lnTo>
                        <a:pt x="80" y="16"/>
                      </a:lnTo>
                      <a:lnTo>
                        <a:pt x="80" y="24"/>
                      </a:lnTo>
                      <a:lnTo>
                        <a:pt x="64" y="32"/>
                      </a:lnTo>
                      <a:lnTo>
                        <a:pt x="32" y="24"/>
                      </a:lnTo>
                      <a:lnTo>
                        <a:pt x="16" y="24"/>
                      </a:lnTo>
                      <a:lnTo>
                        <a:pt x="0" y="8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95" name="Freeform 291"/>
                <p:cNvSpPr>
                  <a:spLocks noChangeAspect="1"/>
                </p:cNvSpPr>
                <p:nvPr/>
              </p:nvSpPr>
              <p:spPr bwMode="auto">
                <a:xfrm>
                  <a:off x="4787" y="1412"/>
                  <a:ext cx="45" cy="17"/>
                </a:xfrm>
                <a:custGeom>
                  <a:avLst/>
                  <a:gdLst>
                    <a:gd name="T0" fmla="*/ 1 w 64"/>
                    <a:gd name="T1" fmla="*/ 0 h 24"/>
                    <a:gd name="T2" fmla="*/ 1 w 64"/>
                    <a:gd name="T3" fmla="*/ 0 h 24"/>
                    <a:gd name="T4" fmla="*/ 1 w 64"/>
                    <a:gd name="T5" fmla="*/ 1 h 24"/>
                    <a:gd name="T6" fmla="*/ 1 w 64"/>
                    <a:gd name="T7" fmla="*/ 1 h 24"/>
                    <a:gd name="T8" fmla="*/ 1 w 64"/>
                    <a:gd name="T9" fmla="*/ 1 h 24"/>
                    <a:gd name="T10" fmla="*/ 1 w 64"/>
                    <a:gd name="T11" fmla="*/ 1 h 24"/>
                    <a:gd name="T12" fmla="*/ 1 w 64"/>
                    <a:gd name="T13" fmla="*/ 1 h 24"/>
                    <a:gd name="T14" fmla="*/ 1 w 64"/>
                    <a:gd name="T15" fmla="*/ 1 h 24"/>
                    <a:gd name="T16" fmla="*/ 0 w 64"/>
                    <a:gd name="T17" fmla="*/ 1 h 24"/>
                    <a:gd name="T18" fmla="*/ 1 w 64"/>
                    <a:gd name="T19" fmla="*/ 1 h 24"/>
                    <a:gd name="T20" fmla="*/ 1 w 64"/>
                    <a:gd name="T21" fmla="*/ 0 h 2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64"/>
                    <a:gd name="T34" fmla="*/ 0 h 24"/>
                    <a:gd name="T35" fmla="*/ 64 w 64"/>
                    <a:gd name="T36" fmla="*/ 24 h 2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64" h="24">
                      <a:moveTo>
                        <a:pt x="16" y="0"/>
                      </a:moveTo>
                      <a:lnTo>
                        <a:pt x="40" y="0"/>
                      </a:lnTo>
                      <a:lnTo>
                        <a:pt x="56" y="8"/>
                      </a:lnTo>
                      <a:lnTo>
                        <a:pt x="64" y="16"/>
                      </a:lnTo>
                      <a:lnTo>
                        <a:pt x="64" y="24"/>
                      </a:lnTo>
                      <a:lnTo>
                        <a:pt x="32" y="24"/>
                      </a:lnTo>
                      <a:lnTo>
                        <a:pt x="16" y="24"/>
                      </a:lnTo>
                      <a:lnTo>
                        <a:pt x="16" y="16"/>
                      </a:lnTo>
                      <a:lnTo>
                        <a:pt x="0" y="16"/>
                      </a:lnTo>
                      <a:lnTo>
                        <a:pt x="8" y="8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96" name="Freeform 292"/>
                <p:cNvSpPr>
                  <a:spLocks noChangeAspect="1"/>
                </p:cNvSpPr>
                <p:nvPr/>
              </p:nvSpPr>
              <p:spPr bwMode="auto">
                <a:xfrm>
                  <a:off x="4730" y="1345"/>
                  <a:ext cx="124" cy="45"/>
                </a:xfrm>
                <a:custGeom>
                  <a:avLst/>
                  <a:gdLst>
                    <a:gd name="T0" fmla="*/ 1 w 176"/>
                    <a:gd name="T1" fmla="*/ 0 h 64"/>
                    <a:gd name="T2" fmla="*/ 1 w 176"/>
                    <a:gd name="T3" fmla="*/ 1 h 64"/>
                    <a:gd name="T4" fmla="*/ 1 w 176"/>
                    <a:gd name="T5" fmla="*/ 1 h 64"/>
                    <a:gd name="T6" fmla="*/ 1 w 176"/>
                    <a:gd name="T7" fmla="*/ 1 h 64"/>
                    <a:gd name="T8" fmla="*/ 1 w 176"/>
                    <a:gd name="T9" fmla="*/ 1 h 64"/>
                    <a:gd name="T10" fmla="*/ 1 w 176"/>
                    <a:gd name="T11" fmla="*/ 1 h 64"/>
                    <a:gd name="T12" fmla="*/ 0 w 176"/>
                    <a:gd name="T13" fmla="*/ 1 h 64"/>
                    <a:gd name="T14" fmla="*/ 1 w 176"/>
                    <a:gd name="T15" fmla="*/ 1 h 64"/>
                    <a:gd name="T16" fmla="*/ 1 w 176"/>
                    <a:gd name="T17" fmla="*/ 1 h 64"/>
                    <a:gd name="T18" fmla="*/ 1 w 176"/>
                    <a:gd name="T19" fmla="*/ 1 h 64"/>
                    <a:gd name="T20" fmla="*/ 1 w 176"/>
                    <a:gd name="T21" fmla="*/ 1 h 64"/>
                    <a:gd name="T22" fmla="*/ 1 w 176"/>
                    <a:gd name="T23" fmla="*/ 1 h 64"/>
                    <a:gd name="T24" fmla="*/ 1 w 176"/>
                    <a:gd name="T25" fmla="*/ 1 h 64"/>
                    <a:gd name="T26" fmla="*/ 1 w 176"/>
                    <a:gd name="T27" fmla="*/ 1 h 64"/>
                    <a:gd name="T28" fmla="*/ 1 w 176"/>
                    <a:gd name="T29" fmla="*/ 1 h 64"/>
                    <a:gd name="T30" fmla="*/ 1 w 176"/>
                    <a:gd name="T31" fmla="*/ 1 h 64"/>
                    <a:gd name="T32" fmla="*/ 1 w 176"/>
                    <a:gd name="T33" fmla="*/ 1 h 64"/>
                    <a:gd name="T34" fmla="*/ 1 w 176"/>
                    <a:gd name="T35" fmla="*/ 1 h 64"/>
                    <a:gd name="T36" fmla="*/ 1 w 176"/>
                    <a:gd name="T37" fmla="*/ 1 h 64"/>
                    <a:gd name="T38" fmla="*/ 1 w 176"/>
                    <a:gd name="T39" fmla="*/ 1 h 64"/>
                    <a:gd name="T40" fmla="*/ 1 w 176"/>
                    <a:gd name="T41" fmla="*/ 1 h 64"/>
                    <a:gd name="T42" fmla="*/ 1 w 176"/>
                    <a:gd name="T43" fmla="*/ 1 h 64"/>
                    <a:gd name="T44" fmla="*/ 1 w 176"/>
                    <a:gd name="T45" fmla="*/ 1 h 64"/>
                    <a:gd name="T46" fmla="*/ 1 w 176"/>
                    <a:gd name="T47" fmla="*/ 1 h 64"/>
                    <a:gd name="T48" fmla="*/ 1 w 176"/>
                    <a:gd name="T49" fmla="*/ 1 h 64"/>
                    <a:gd name="T50" fmla="*/ 1 w 176"/>
                    <a:gd name="T51" fmla="*/ 1 h 64"/>
                    <a:gd name="T52" fmla="*/ 1 w 176"/>
                    <a:gd name="T53" fmla="*/ 1 h 64"/>
                    <a:gd name="T54" fmla="*/ 1 w 176"/>
                    <a:gd name="T55" fmla="*/ 1 h 64"/>
                    <a:gd name="T56" fmla="*/ 1 w 176"/>
                    <a:gd name="T57" fmla="*/ 1 h 64"/>
                    <a:gd name="T58" fmla="*/ 1 w 176"/>
                    <a:gd name="T59" fmla="*/ 1 h 64"/>
                    <a:gd name="T60" fmla="*/ 1 w 176"/>
                    <a:gd name="T61" fmla="*/ 1 h 64"/>
                    <a:gd name="T62" fmla="*/ 1 w 176"/>
                    <a:gd name="T63" fmla="*/ 1 h 64"/>
                    <a:gd name="T64" fmla="*/ 1 w 176"/>
                    <a:gd name="T65" fmla="*/ 1 h 64"/>
                    <a:gd name="T66" fmla="*/ 1 w 176"/>
                    <a:gd name="T67" fmla="*/ 1 h 64"/>
                    <a:gd name="T68" fmla="*/ 1 w 176"/>
                    <a:gd name="T69" fmla="*/ 1 h 64"/>
                    <a:gd name="T70" fmla="*/ 1 w 176"/>
                    <a:gd name="T71" fmla="*/ 1 h 64"/>
                    <a:gd name="T72" fmla="*/ 1 w 176"/>
                    <a:gd name="T73" fmla="*/ 1 h 64"/>
                    <a:gd name="T74" fmla="*/ 1 w 176"/>
                    <a:gd name="T75" fmla="*/ 1 h 64"/>
                    <a:gd name="T76" fmla="*/ 1 w 176"/>
                    <a:gd name="T77" fmla="*/ 1 h 64"/>
                    <a:gd name="T78" fmla="*/ 1 w 176"/>
                    <a:gd name="T79" fmla="*/ 1 h 64"/>
                    <a:gd name="T80" fmla="*/ 1 w 176"/>
                    <a:gd name="T81" fmla="*/ 1 h 64"/>
                    <a:gd name="T82" fmla="*/ 1 w 176"/>
                    <a:gd name="T83" fmla="*/ 0 h 64"/>
                    <a:gd name="T84" fmla="*/ 1 w 176"/>
                    <a:gd name="T85" fmla="*/ 0 h 64"/>
                    <a:gd name="T86" fmla="*/ 1 w 176"/>
                    <a:gd name="T87" fmla="*/ 0 h 64"/>
                    <a:gd name="T88" fmla="*/ 1 w 176"/>
                    <a:gd name="T89" fmla="*/ 1 h 64"/>
                    <a:gd name="T90" fmla="*/ 1 w 176"/>
                    <a:gd name="T91" fmla="*/ 1 h 64"/>
                    <a:gd name="T92" fmla="*/ 1 w 176"/>
                    <a:gd name="T93" fmla="*/ 1 h 64"/>
                    <a:gd name="T94" fmla="*/ 1 w 176"/>
                    <a:gd name="T95" fmla="*/ 1 h 64"/>
                    <a:gd name="T96" fmla="*/ 1 w 176"/>
                    <a:gd name="T97" fmla="*/ 1 h 64"/>
                    <a:gd name="T98" fmla="*/ 1 w 176"/>
                    <a:gd name="T99" fmla="*/ 1 h 64"/>
                    <a:gd name="T100" fmla="*/ 1 w 176"/>
                    <a:gd name="T101" fmla="*/ 1 h 64"/>
                    <a:gd name="T102" fmla="*/ 1 w 176"/>
                    <a:gd name="T103" fmla="*/ 0 h 64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176"/>
                    <a:gd name="T157" fmla="*/ 0 h 64"/>
                    <a:gd name="T158" fmla="*/ 176 w 176"/>
                    <a:gd name="T159" fmla="*/ 64 h 64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176" h="64">
                      <a:moveTo>
                        <a:pt x="40" y="0"/>
                      </a:moveTo>
                      <a:lnTo>
                        <a:pt x="24" y="8"/>
                      </a:lnTo>
                      <a:lnTo>
                        <a:pt x="16" y="8"/>
                      </a:lnTo>
                      <a:lnTo>
                        <a:pt x="16" y="16"/>
                      </a:lnTo>
                      <a:lnTo>
                        <a:pt x="8" y="16"/>
                      </a:lnTo>
                      <a:lnTo>
                        <a:pt x="8" y="32"/>
                      </a:lnTo>
                      <a:lnTo>
                        <a:pt x="0" y="32"/>
                      </a:lnTo>
                      <a:lnTo>
                        <a:pt x="16" y="48"/>
                      </a:lnTo>
                      <a:lnTo>
                        <a:pt x="24" y="48"/>
                      </a:lnTo>
                      <a:lnTo>
                        <a:pt x="24" y="56"/>
                      </a:lnTo>
                      <a:lnTo>
                        <a:pt x="56" y="64"/>
                      </a:lnTo>
                      <a:lnTo>
                        <a:pt x="56" y="56"/>
                      </a:lnTo>
                      <a:lnTo>
                        <a:pt x="56" y="48"/>
                      </a:lnTo>
                      <a:lnTo>
                        <a:pt x="64" y="48"/>
                      </a:lnTo>
                      <a:lnTo>
                        <a:pt x="72" y="48"/>
                      </a:lnTo>
                      <a:lnTo>
                        <a:pt x="88" y="48"/>
                      </a:lnTo>
                      <a:lnTo>
                        <a:pt x="104" y="40"/>
                      </a:lnTo>
                      <a:lnTo>
                        <a:pt x="112" y="40"/>
                      </a:lnTo>
                      <a:lnTo>
                        <a:pt x="112" y="48"/>
                      </a:lnTo>
                      <a:lnTo>
                        <a:pt x="128" y="56"/>
                      </a:lnTo>
                      <a:lnTo>
                        <a:pt x="144" y="48"/>
                      </a:lnTo>
                      <a:lnTo>
                        <a:pt x="128" y="40"/>
                      </a:lnTo>
                      <a:lnTo>
                        <a:pt x="112" y="40"/>
                      </a:lnTo>
                      <a:lnTo>
                        <a:pt x="112" y="24"/>
                      </a:lnTo>
                      <a:lnTo>
                        <a:pt x="120" y="16"/>
                      </a:lnTo>
                      <a:lnTo>
                        <a:pt x="128" y="16"/>
                      </a:lnTo>
                      <a:lnTo>
                        <a:pt x="128" y="24"/>
                      </a:lnTo>
                      <a:lnTo>
                        <a:pt x="120" y="24"/>
                      </a:lnTo>
                      <a:lnTo>
                        <a:pt x="120" y="32"/>
                      </a:lnTo>
                      <a:lnTo>
                        <a:pt x="136" y="40"/>
                      </a:lnTo>
                      <a:lnTo>
                        <a:pt x="144" y="40"/>
                      </a:lnTo>
                      <a:lnTo>
                        <a:pt x="152" y="40"/>
                      </a:lnTo>
                      <a:lnTo>
                        <a:pt x="168" y="32"/>
                      </a:lnTo>
                      <a:lnTo>
                        <a:pt x="160" y="24"/>
                      </a:lnTo>
                      <a:lnTo>
                        <a:pt x="176" y="24"/>
                      </a:lnTo>
                      <a:lnTo>
                        <a:pt x="176" y="16"/>
                      </a:lnTo>
                      <a:lnTo>
                        <a:pt x="160" y="16"/>
                      </a:lnTo>
                      <a:lnTo>
                        <a:pt x="144" y="8"/>
                      </a:lnTo>
                      <a:lnTo>
                        <a:pt x="136" y="16"/>
                      </a:lnTo>
                      <a:lnTo>
                        <a:pt x="120" y="16"/>
                      </a:lnTo>
                      <a:lnTo>
                        <a:pt x="112" y="8"/>
                      </a:lnTo>
                      <a:lnTo>
                        <a:pt x="112" y="0"/>
                      </a:lnTo>
                      <a:lnTo>
                        <a:pt x="104" y="0"/>
                      </a:lnTo>
                      <a:lnTo>
                        <a:pt x="96" y="0"/>
                      </a:lnTo>
                      <a:lnTo>
                        <a:pt x="88" y="8"/>
                      </a:lnTo>
                      <a:lnTo>
                        <a:pt x="88" y="24"/>
                      </a:lnTo>
                      <a:lnTo>
                        <a:pt x="80" y="24"/>
                      </a:lnTo>
                      <a:lnTo>
                        <a:pt x="72" y="16"/>
                      </a:lnTo>
                      <a:lnTo>
                        <a:pt x="56" y="16"/>
                      </a:lnTo>
                      <a:lnTo>
                        <a:pt x="56" y="8"/>
                      </a:lnTo>
                      <a:lnTo>
                        <a:pt x="64" y="8"/>
                      </a:lnTo>
                      <a:lnTo>
                        <a:pt x="40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97" name="Freeform 293"/>
                <p:cNvSpPr>
                  <a:spLocks noChangeAspect="1"/>
                </p:cNvSpPr>
                <p:nvPr/>
              </p:nvSpPr>
              <p:spPr bwMode="auto">
                <a:xfrm>
                  <a:off x="4871" y="1362"/>
                  <a:ext cx="68" cy="22"/>
                </a:xfrm>
                <a:custGeom>
                  <a:avLst/>
                  <a:gdLst>
                    <a:gd name="T0" fmla="*/ 0 w 96"/>
                    <a:gd name="T1" fmla="*/ 0 h 32"/>
                    <a:gd name="T2" fmla="*/ 1 w 96"/>
                    <a:gd name="T3" fmla="*/ 0 h 32"/>
                    <a:gd name="T4" fmla="*/ 1 w 96"/>
                    <a:gd name="T5" fmla="*/ 0 h 32"/>
                    <a:gd name="T6" fmla="*/ 1 w 96"/>
                    <a:gd name="T7" fmla="*/ 0 h 32"/>
                    <a:gd name="T8" fmla="*/ 1 w 96"/>
                    <a:gd name="T9" fmla="*/ 1 h 32"/>
                    <a:gd name="T10" fmla="*/ 1 w 96"/>
                    <a:gd name="T11" fmla="*/ 1 h 32"/>
                    <a:gd name="T12" fmla="*/ 1 w 96"/>
                    <a:gd name="T13" fmla="*/ 1 h 32"/>
                    <a:gd name="T14" fmla="*/ 1 w 96"/>
                    <a:gd name="T15" fmla="*/ 1 h 32"/>
                    <a:gd name="T16" fmla="*/ 1 w 96"/>
                    <a:gd name="T17" fmla="*/ 1 h 32"/>
                    <a:gd name="T18" fmla="*/ 1 w 96"/>
                    <a:gd name="T19" fmla="*/ 1 h 32"/>
                    <a:gd name="T20" fmla="*/ 1 w 96"/>
                    <a:gd name="T21" fmla="*/ 1 h 32"/>
                    <a:gd name="T22" fmla="*/ 1 w 96"/>
                    <a:gd name="T23" fmla="*/ 1 h 32"/>
                    <a:gd name="T24" fmla="*/ 1 w 96"/>
                    <a:gd name="T25" fmla="*/ 1 h 32"/>
                    <a:gd name="T26" fmla="*/ 1 w 96"/>
                    <a:gd name="T27" fmla="*/ 1 h 32"/>
                    <a:gd name="T28" fmla="*/ 1 w 96"/>
                    <a:gd name="T29" fmla="*/ 0 h 32"/>
                    <a:gd name="T30" fmla="*/ 0 w 96"/>
                    <a:gd name="T31" fmla="*/ 0 h 32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96"/>
                    <a:gd name="T49" fmla="*/ 0 h 32"/>
                    <a:gd name="T50" fmla="*/ 96 w 96"/>
                    <a:gd name="T51" fmla="*/ 32 h 32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96" h="32">
                      <a:moveTo>
                        <a:pt x="0" y="0"/>
                      </a:moveTo>
                      <a:lnTo>
                        <a:pt x="8" y="0"/>
                      </a:lnTo>
                      <a:lnTo>
                        <a:pt x="16" y="0"/>
                      </a:lnTo>
                      <a:lnTo>
                        <a:pt x="48" y="0"/>
                      </a:lnTo>
                      <a:lnTo>
                        <a:pt x="48" y="8"/>
                      </a:lnTo>
                      <a:lnTo>
                        <a:pt x="72" y="8"/>
                      </a:lnTo>
                      <a:lnTo>
                        <a:pt x="88" y="16"/>
                      </a:lnTo>
                      <a:lnTo>
                        <a:pt x="96" y="16"/>
                      </a:lnTo>
                      <a:lnTo>
                        <a:pt x="88" y="24"/>
                      </a:lnTo>
                      <a:lnTo>
                        <a:pt x="72" y="32"/>
                      </a:lnTo>
                      <a:lnTo>
                        <a:pt x="48" y="32"/>
                      </a:lnTo>
                      <a:lnTo>
                        <a:pt x="32" y="16"/>
                      </a:lnTo>
                      <a:lnTo>
                        <a:pt x="16" y="16"/>
                      </a:lnTo>
                      <a:lnTo>
                        <a:pt x="16" y="8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98" name="Freeform 294"/>
                <p:cNvSpPr>
                  <a:spLocks noChangeAspect="1"/>
                </p:cNvSpPr>
                <p:nvPr/>
              </p:nvSpPr>
              <p:spPr bwMode="auto">
                <a:xfrm>
                  <a:off x="4190" y="1249"/>
                  <a:ext cx="85" cy="51"/>
                </a:xfrm>
                <a:custGeom>
                  <a:avLst/>
                  <a:gdLst>
                    <a:gd name="T0" fmla="*/ 1 w 120"/>
                    <a:gd name="T1" fmla="*/ 1 h 72"/>
                    <a:gd name="T2" fmla="*/ 1 w 120"/>
                    <a:gd name="T3" fmla="*/ 1 h 72"/>
                    <a:gd name="T4" fmla="*/ 1 w 120"/>
                    <a:gd name="T5" fmla="*/ 1 h 72"/>
                    <a:gd name="T6" fmla="*/ 1 w 120"/>
                    <a:gd name="T7" fmla="*/ 1 h 72"/>
                    <a:gd name="T8" fmla="*/ 1 w 120"/>
                    <a:gd name="T9" fmla="*/ 1 h 72"/>
                    <a:gd name="T10" fmla="*/ 1 w 120"/>
                    <a:gd name="T11" fmla="*/ 1 h 72"/>
                    <a:gd name="T12" fmla="*/ 1 w 120"/>
                    <a:gd name="T13" fmla="*/ 1 h 72"/>
                    <a:gd name="T14" fmla="*/ 1 w 120"/>
                    <a:gd name="T15" fmla="*/ 1 h 72"/>
                    <a:gd name="T16" fmla="*/ 1 w 120"/>
                    <a:gd name="T17" fmla="*/ 1 h 72"/>
                    <a:gd name="T18" fmla="*/ 1 w 120"/>
                    <a:gd name="T19" fmla="*/ 1 h 72"/>
                    <a:gd name="T20" fmla="*/ 1 w 120"/>
                    <a:gd name="T21" fmla="*/ 1 h 72"/>
                    <a:gd name="T22" fmla="*/ 1 w 120"/>
                    <a:gd name="T23" fmla="*/ 0 h 72"/>
                    <a:gd name="T24" fmla="*/ 1 w 120"/>
                    <a:gd name="T25" fmla="*/ 0 h 72"/>
                    <a:gd name="T26" fmla="*/ 1 w 120"/>
                    <a:gd name="T27" fmla="*/ 1 h 72"/>
                    <a:gd name="T28" fmla="*/ 1 w 120"/>
                    <a:gd name="T29" fmla="*/ 1 h 72"/>
                    <a:gd name="T30" fmla="*/ 1 w 120"/>
                    <a:gd name="T31" fmla="*/ 0 h 72"/>
                    <a:gd name="T32" fmla="*/ 1 w 120"/>
                    <a:gd name="T33" fmla="*/ 0 h 72"/>
                    <a:gd name="T34" fmla="*/ 1 w 120"/>
                    <a:gd name="T35" fmla="*/ 1 h 72"/>
                    <a:gd name="T36" fmla="*/ 1 w 120"/>
                    <a:gd name="T37" fmla="*/ 1 h 72"/>
                    <a:gd name="T38" fmla="*/ 1 w 120"/>
                    <a:gd name="T39" fmla="*/ 1 h 72"/>
                    <a:gd name="T40" fmla="*/ 1 w 120"/>
                    <a:gd name="T41" fmla="*/ 1 h 72"/>
                    <a:gd name="T42" fmla="*/ 1 w 120"/>
                    <a:gd name="T43" fmla="*/ 1 h 72"/>
                    <a:gd name="T44" fmla="*/ 1 w 120"/>
                    <a:gd name="T45" fmla="*/ 1 h 72"/>
                    <a:gd name="T46" fmla="*/ 1 w 120"/>
                    <a:gd name="T47" fmla="*/ 1 h 72"/>
                    <a:gd name="T48" fmla="*/ 1 w 120"/>
                    <a:gd name="T49" fmla="*/ 1 h 72"/>
                    <a:gd name="T50" fmla="*/ 1 w 120"/>
                    <a:gd name="T51" fmla="*/ 1 h 72"/>
                    <a:gd name="T52" fmla="*/ 0 w 120"/>
                    <a:gd name="T53" fmla="*/ 1 h 72"/>
                    <a:gd name="T54" fmla="*/ 0 w 120"/>
                    <a:gd name="T55" fmla="*/ 1 h 72"/>
                    <a:gd name="T56" fmla="*/ 1 w 120"/>
                    <a:gd name="T57" fmla="*/ 1 h 72"/>
                    <a:gd name="T58" fmla="*/ 1 w 120"/>
                    <a:gd name="T59" fmla="*/ 1 h 72"/>
                    <a:gd name="T60" fmla="*/ 1 w 120"/>
                    <a:gd name="T61" fmla="*/ 1 h 72"/>
                    <a:gd name="T62" fmla="*/ 1 w 120"/>
                    <a:gd name="T63" fmla="*/ 1 h 72"/>
                    <a:gd name="T64" fmla="*/ 1 w 120"/>
                    <a:gd name="T65" fmla="*/ 1 h 72"/>
                    <a:gd name="T66" fmla="*/ 1 w 120"/>
                    <a:gd name="T67" fmla="*/ 1 h 72"/>
                    <a:gd name="T68" fmla="*/ 1 w 120"/>
                    <a:gd name="T69" fmla="*/ 1 h 72"/>
                    <a:gd name="T70" fmla="*/ 1 w 120"/>
                    <a:gd name="T71" fmla="*/ 1 h 72"/>
                    <a:gd name="T72" fmla="*/ 1 w 120"/>
                    <a:gd name="T73" fmla="*/ 1 h 72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120"/>
                    <a:gd name="T112" fmla="*/ 0 h 72"/>
                    <a:gd name="T113" fmla="*/ 120 w 120"/>
                    <a:gd name="T114" fmla="*/ 72 h 72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120" h="72">
                      <a:moveTo>
                        <a:pt x="120" y="48"/>
                      </a:moveTo>
                      <a:lnTo>
                        <a:pt x="120" y="40"/>
                      </a:lnTo>
                      <a:lnTo>
                        <a:pt x="112" y="32"/>
                      </a:lnTo>
                      <a:lnTo>
                        <a:pt x="112" y="24"/>
                      </a:lnTo>
                      <a:lnTo>
                        <a:pt x="96" y="16"/>
                      </a:lnTo>
                      <a:lnTo>
                        <a:pt x="96" y="8"/>
                      </a:lnTo>
                      <a:lnTo>
                        <a:pt x="88" y="8"/>
                      </a:lnTo>
                      <a:lnTo>
                        <a:pt x="80" y="16"/>
                      </a:lnTo>
                      <a:lnTo>
                        <a:pt x="72" y="16"/>
                      </a:lnTo>
                      <a:lnTo>
                        <a:pt x="72" y="8"/>
                      </a:lnTo>
                      <a:lnTo>
                        <a:pt x="80" y="8"/>
                      </a:lnTo>
                      <a:lnTo>
                        <a:pt x="80" y="0"/>
                      </a:lnTo>
                      <a:lnTo>
                        <a:pt x="64" y="0"/>
                      </a:lnTo>
                      <a:lnTo>
                        <a:pt x="64" y="8"/>
                      </a:lnTo>
                      <a:lnTo>
                        <a:pt x="56" y="8"/>
                      </a:lnTo>
                      <a:lnTo>
                        <a:pt x="56" y="0"/>
                      </a:lnTo>
                      <a:lnTo>
                        <a:pt x="48" y="0"/>
                      </a:lnTo>
                      <a:lnTo>
                        <a:pt x="48" y="8"/>
                      </a:lnTo>
                      <a:lnTo>
                        <a:pt x="40" y="8"/>
                      </a:lnTo>
                      <a:lnTo>
                        <a:pt x="32" y="16"/>
                      </a:lnTo>
                      <a:lnTo>
                        <a:pt x="40" y="16"/>
                      </a:lnTo>
                      <a:lnTo>
                        <a:pt x="32" y="24"/>
                      </a:lnTo>
                      <a:lnTo>
                        <a:pt x="32" y="32"/>
                      </a:lnTo>
                      <a:lnTo>
                        <a:pt x="16" y="32"/>
                      </a:lnTo>
                      <a:lnTo>
                        <a:pt x="16" y="40"/>
                      </a:lnTo>
                      <a:lnTo>
                        <a:pt x="16" y="48"/>
                      </a:lnTo>
                      <a:lnTo>
                        <a:pt x="0" y="56"/>
                      </a:lnTo>
                      <a:lnTo>
                        <a:pt x="0" y="64"/>
                      </a:lnTo>
                      <a:lnTo>
                        <a:pt x="8" y="72"/>
                      </a:lnTo>
                      <a:lnTo>
                        <a:pt x="24" y="64"/>
                      </a:lnTo>
                      <a:lnTo>
                        <a:pt x="40" y="56"/>
                      </a:lnTo>
                      <a:lnTo>
                        <a:pt x="56" y="56"/>
                      </a:lnTo>
                      <a:lnTo>
                        <a:pt x="64" y="56"/>
                      </a:lnTo>
                      <a:lnTo>
                        <a:pt x="72" y="64"/>
                      </a:lnTo>
                      <a:lnTo>
                        <a:pt x="80" y="56"/>
                      </a:lnTo>
                      <a:lnTo>
                        <a:pt x="96" y="56"/>
                      </a:lnTo>
                      <a:lnTo>
                        <a:pt x="120" y="4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99" name="Freeform 295"/>
                <p:cNvSpPr>
                  <a:spLocks noChangeAspect="1"/>
                </p:cNvSpPr>
                <p:nvPr/>
              </p:nvSpPr>
              <p:spPr bwMode="auto">
                <a:xfrm>
                  <a:off x="4100" y="1221"/>
                  <a:ext cx="101" cy="51"/>
                </a:xfrm>
                <a:custGeom>
                  <a:avLst/>
                  <a:gdLst>
                    <a:gd name="T0" fmla="*/ 1 w 144"/>
                    <a:gd name="T1" fmla="*/ 1 h 72"/>
                    <a:gd name="T2" fmla="*/ 1 w 144"/>
                    <a:gd name="T3" fmla="*/ 1 h 72"/>
                    <a:gd name="T4" fmla="*/ 1 w 144"/>
                    <a:gd name="T5" fmla="*/ 1 h 72"/>
                    <a:gd name="T6" fmla="*/ 1 w 144"/>
                    <a:gd name="T7" fmla="*/ 1 h 72"/>
                    <a:gd name="T8" fmla="*/ 1 w 144"/>
                    <a:gd name="T9" fmla="*/ 1 h 72"/>
                    <a:gd name="T10" fmla="*/ 1 w 144"/>
                    <a:gd name="T11" fmla="*/ 1 h 72"/>
                    <a:gd name="T12" fmla="*/ 1 w 144"/>
                    <a:gd name="T13" fmla="*/ 1 h 72"/>
                    <a:gd name="T14" fmla="*/ 1 w 144"/>
                    <a:gd name="T15" fmla="*/ 1 h 72"/>
                    <a:gd name="T16" fmla="*/ 1 w 144"/>
                    <a:gd name="T17" fmla="*/ 1 h 72"/>
                    <a:gd name="T18" fmla="*/ 1 w 144"/>
                    <a:gd name="T19" fmla="*/ 1 h 72"/>
                    <a:gd name="T20" fmla="*/ 1 w 144"/>
                    <a:gd name="T21" fmla="*/ 1 h 72"/>
                    <a:gd name="T22" fmla="*/ 1 w 144"/>
                    <a:gd name="T23" fmla="*/ 1 h 72"/>
                    <a:gd name="T24" fmla="*/ 1 w 144"/>
                    <a:gd name="T25" fmla="*/ 1 h 72"/>
                    <a:gd name="T26" fmla="*/ 1 w 144"/>
                    <a:gd name="T27" fmla="*/ 1 h 72"/>
                    <a:gd name="T28" fmla="*/ 1 w 144"/>
                    <a:gd name="T29" fmla="*/ 1 h 72"/>
                    <a:gd name="T30" fmla="*/ 1 w 144"/>
                    <a:gd name="T31" fmla="*/ 1 h 72"/>
                    <a:gd name="T32" fmla="*/ 0 w 144"/>
                    <a:gd name="T33" fmla="*/ 1 h 72"/>
                    <a:gd name="T34" fmla="*/ 1 w 144"/>
                    <a:gd name="T35" fmla="*/ 1 h 72"/>
                    <a:gd name="T36" fmla="*/ 1 w 144"/>
                    <a:gd name="T37" fmla="*/ 1 h 72"/>
                    <a:gd name="T38" fmla="*/ 1 w 144"/>
                    <a:gd name="T39" fmla="*/ 1 h 72"/>
                    <a:gd name="T40" fmla="*/ 1 w 144"/>
                    <a:gd name="T41" fmla="*/ 1 h 72"/>
                    <a:gd name="T42" fmla="*/ 1 w 144"/>
                    <a:gd name="T43" fmla="*/ 1 h 72"/>
                    <a:gd name="T44" fmla="*/ 1 w 144"/>
                    <a:gd name="T45" fmla="*/ 1 h 72"/>
                    <a:gd name="T46" fmla="*/ 1 w 144"/>
                    <a:gd name="T47" fmla="*/ 1 h 72"/>
                    <a:gd name="T48" fmla="*/ 1 w 144"/>
                    <a:gd name="T49" fmla="*/ 0 h 72"/>
                    <a:gd name="T50" fmla="*/ 1 w 144"/>
                    <a:gd name="T51" fmla="*/ 1 h 72"/>
                    <a:gd name="T52" fmla="*/ 1 w 144"/>
                    <a:gd name="T53" fmla="*/ 1 h 72"/>
                    <a:gd name="T54" fmla="*/ 1 w 144"/>
                    <a:gd name="T55" fmla="*/ 1 h 72"/>
                    <a:gd name="T56" fmla="*/ 1 w 144"/>
                    <a:gd name="T57" fmla="*/ 1 h 72"/>
                    <a:gd name="T58" fmla="*/ 1 w 144"/>
                    <a:gd name="T59" fmla="*/ 1 h 72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144"/>
                    <a:gd name="T91" fmla="*/ 0 h 72"/>
                    <a:gd name="T92" fmla="*/ 144 w 144"/>
                    <a:gd name="T93" fmla="*/ 72 h 72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144" h="72">
                      <a:moveTo>
                        <a:pt x="120" y="8"/>
                      </a:moveTo>
                      <a:lnTo>
                        <a:pt x="128" y="8"/>
                      </a:lnTo>
                      <a:lnTo>
                        <a:pt x="144" y="24"/>
                      </a:lnTo>
                      <a:lnTo>
                        <a:pt x="136" y="40"/>
                      </a:lnTo>
                      <a:lnTo>
                        <a:pt x="128" y="48"/>
                      </a:lnTo>
                      <a:lnTo>
                        <a:pt x="120" y="48"/>
                      </a:lnTo>
                      <a:lnTo>
                        <a:pt x="136" y="64"/>
                      </a:lnTo>
                      <a:lnTo>
                        <a:pt x="96" y="72"/>
                      </a:lnTo>
                      <a:lnTo>
                        <a:pt x="88" y="72"/>
                      </a:lnTo>
                      <a:lnTo>
                        <a:pt x="88" y="64"/>
                      </a:lnTo>
                      <a:lnTo>
                        <a:pt x="48" y="56"/>
                      </a:lnTo>
                      <a:lnTo>
                        <a:pt x="40" y="56"/>
                      </a:lnTo>
                      <a:lnTo>
                        <a:pt x="24" y="56"/>
                      </a:lnTo>
                      <a:lnTo>
                        <a:pt x="24" y="48"/>
                      </a:lnTo>
                      <a:lnTo>
                        <a:pt x="24" y="40"/>
                      </a:lnTo>
                      <a:lnTo>
                        <a:pt x="16" y="40"/>
                      </a:lnTo>
                      <a:lnTo>
                        <a:pt x="0" y="32"/>
                      </a:lnTo>
                      <a:lnTo>
                        <a:pt x="8" y="32"/>
                      </a:lnTo>
                      <a:lnTo>
                        <a:pt x="16" y="24"/>
                      </a:lnTo>
                      <a:lnTo>
                        <a:pt x="24" y="24"/>
                      </a:lnTo>
                      <a:lnTo>
                        <a:pt x="24" y="16"/>
                      </a:lnTo>
                      <a:lnTo>
                        <a:pt x="32" y="8"/>
                      </a:lnTo>
                      <a:lnTo>
                        <a:pt x="40" y="8"/>
                      </a:lnTo>
                      <a:lnTo>
                        <a:pt x="64" y="8"/>
                      </a:lnTo>
                      <a:lnTo>
                        <a:pt x="88" y="0"/>
                      </a:lnTo>
                      <a:lnTo>
                        <a:pt x="104" y="8"/>
                      </a:lnTo>
                      <a:lnTo>
                        <a:pt x="88" y="16"/>
                      </a:lnTo>
                      <a:lnTo>
                        <a:pt x="96" y="16"/>
                      </a:lnTo>
                      <a:lnTo>
                        <a:pt x="104" y="16"/>
                      </a:lnTo>
                      <a:lnTo>
                        <a:pt x="120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00" name="Freeform 296"/>
                <p:cNvSpPr>
                  <a:spLocks noChangeAspect="1"/>
                </p:cNvSpPr>
                <p:nvPr/>
              </p:nvSpPr>
              <p:spPr bwMode="auto">
                <a:xfrm>
                  <a:off x="4072" y="1182"/>
                  <a:ext cx="96" cy="45"/>
                </a:xfrm>
                <a:custGeom>
                  <a:avLst/>
                  <a:gdLst>
                    <a:gd name="T0" fmla="*/ 1 w 136"/>
                    <a:gd name="T1" fmla="*/ 1 h 64"/>
                    <a:gd name="T2" fmla="*/ 1 w 136"/>
                    <a:gd name="T3" fmla="*/ 1 h 64"/>
                    <a:gd name="T4" fmla="*/ 1 w 136"/>
                    <a:gd name="T5" fmla="*/ 1 h 64"/>
                    <a:gd name="T6" fmla="*/ 1 w 136"/>
                    <a:gd name="T7" fmla="*/ 1 h 64"/>
                    <a:gd name="T8" fmla="*/ 1 w 136"/>
                    <a:gd name="T9" fmla="*/ 1 h 64"/>
                    <a:gd name="T10" fmla="*/ 1 w 136"/>
                    <a:gd name="T11" fmla="*/ 1 h 64"/>
                    <a:gd name="T12" fmla="*/ 1 w 136"/>
                    <a:gd name="T13" fmla="*/ 1 h 64"/>
                    <a:gd name="T14" fmla="*/ 1 w 136"/>
                    <a:gd name="T15" fmla="*/ 1 h 64"/>
                    <a:gd name="T16" fmla="*/ 1 w 136"/>
                    <a:gd name="T17" fmla="*/ 1 h 64"/>
                    <a:gd name="T18" fmla="*/ 1 w 136"/>
                    <a:gd name="T19" fmla="*/ 1 h 64"/>
                    <a:gd name="T20" fmla="*/ 0 w 136"/>
                    <a:gd name="T21" fmla="*/ 1 h 64"/>
                    <a:gd name="T22" fmla="*/ 1 w 136"/>
                    <a:gd name="T23" fmla="*/ 1 h 64"/>
                    <a:gd name="T24" fmla="*/ 1 w 136"/>
                    <a:gd name="T25" fmla="*/ 1 h 64"/>
                    <a:gd name="T26" fmla="*/ 1 w 136"/>
                    <a:gd name="T27" fmla="*/ 1 h 64"/>
                    <a:gd name="T28" fmla="*/ 1 w 136"/>
                    <a:gd name="T29" fmla="*/ 1 h 64"/>
                    <a:gd name="T30" fmla="*/ 1 w 136"/>
                    <a:gd name="T31" fmla="*/ 1 h 64"/>
                    <a:gd name="T32" fmla="*/ 1 w 136"/>
                    <a:gd name="T33" fmla="*/ 1 h 64"/>
                    <a:gd name="T34" fmla="*/ 1 w 136"/>
                    <a:gd name="T35" fmla="*/ 0 h 64"/>
                    <a:gd name="T36" fmla="*/ 1 w 136"/>
                    <a:gd name="T37" fmla="*/ 0 h 64"/>
                    <a:gd name="T38" fmla="*/ 1 w 136"/>
                    <a:gd name="T39" fmla="*/ 1 h 64"/>
                    <a:gd name="T40" fmla="*/ 1 w 136"/>
                    <a:gd name="T41" fmla="*/ 1 h 64"/>
                    <a:gd name="T42" fmla="*/ 1 w 136"/>
                    <a:gd name="T43" fmla="*/ 1 h 64"/>
                    <a:gd name="T44" fmla="*/ 1 w 136"/>
                    <a:gd name="T45" fmla="*/ 1 h 64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36"/>
                    <a:gd name="T70" fmla="*/ 0 h 64"/>
                    <a:gd name="T71" fmla="*/ 136 w 136"/>
                    <a:gd name="T72" fmla="*/ 64 h 64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36" h="64">
                      <a:moveTo>
                        <a:pt x="136" y="32"/>
                      </a:moveTo>
                      <a:lnTo>
                        <a:pt x="120" y="40"/>
                      </a:lnTo>
                      <a:lnTo>
                        <a:pt x="120" y="48"/>
                      </a:lnTo>
                      <a:lnTo>
                        <a:pt x="128" y="56"/>
                      </a:lnTo>
                      <a:lnTo>
                        <a:pt x="88" y="56"/>
                      </a:lnTo>
                      <a:lnTo>
                        <a:pt x="72" y="56"/>
                      </a:lnTo>
                      <a:lnTo>
                        <a:pt x="64" y="64"/>
                      </a:lnTo>
                      <a:lnTo>
                        <a:pt x="40" y="64"/>
                      </a:lnTo>
                      <a:lnTo>
                        <a:pt x="24" y="56"/>
                      </a:lnTo>
                      <a:lnTo>
                        <a:pt x="8" y="56"/>
                      </a:lnTo>
                      <a:lnTo>
                        <a:pt x="0" y="48"/>
                      </a:lnTo>
                      <a:lnTo>
                        <a:pt x="8" y="40"/>
                      </a:lnTo>
                      <a:lnTo>
                        <a:pt x="24" y="40"/>
                      </a:lnTo>
                      <a:lnTo>
                        <a:pt x="32" y="40"/>
                      </a:lnTo>
                      <a:lnTo>
                        <a:pt x="24" y="32"/>
                      </a:lnTo>
                      <a:lnTo>
                        <a:pt x="40" y="24"/>
                      </a:lnTo>
                      <a:lnTo>
                        <a:pt x="80" y="8"/>
                      </a:lnTo>
                      <a:lnTo>
                        <a:pt x="80" y="0"/>
                      </a:lnTo>
                      <a:lnTo>
                        <a:pt x="96" y="0"/>
                      </a:lnTo>
                      <a:lnTo>
                        <a:pt x="104" y="8"/>
                      </a:lnTo>
                      <a:lnTo>
                        <a:pt x="112" y="16"/>
                      </a:lnTo>
                      <a:lnTo>
                        <a:pt x="136" y="24"/>
                      </a:lnTo>
                      <a:lnTo>
                        <a:pt x="136" y="32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01" name="Freeform 297"/>
                <p:cNvSpPr>
                  <a:spLocks noChangeAspect="1"/>
                </p:cNvSpPr>
                <p:nvPr/>
              </p:nvSpPr>
              <p:spPr bwMode="auto">
                <a:xfrm>
                  <a:off x="4066" y="1227"/>
                  <a:ext cx="40" cy="16"/>
                </a:xfrm>
                <a:custGeom>
                  <a:avLst/>
                  <a:gdLst>
                    <a:gd name="T0" fmla="*/ 1 w 56"/>
                    <a:gd name="T1" fmla="*/ 1 h 24"/>
                    <a:gd name="T2" fmla="*/ 1 w 56"/>
                    <a:gd name="T3" fmla="*/ 1 h 24"/>
                    <a:gd name="T4" fmla="*/ 1 w 56"/>
                    <a:gd name="T5" fmla="*/ 1 h 24"/>
                    <a:gd name="T6" fmla="*/ 1 w 56"/>
                    <a:gd name="T7" fmla="*/ 0 h 24"/>
                    <a:gd name="T8" fmla="*/ 0 w 56"/>
                    <a:gd name="T9" fmla="*/ 0 h 24"/>
                    <a:gd name="T10" fmla="*/ 1 w 56"/>
                    <a:gd name="T11" fmla="*/ 0 h 24"/>
                    <a:gd name="T12" fmla="*/ 1 w 56"/>
                    <a:gd name="T13" fmla="*/ 1 h 24"/>
                    <a:gd name="T14" fmla="*/ 1 w 56"/>
                    <a:gd name="T15" fmla="*/ 1 h 24"/>
                    <a:gd name="T16" fmla="*/ 1 w 56"/>
                    <a:gd name="T17" fmla="*/ 1 h 24"/>
                    <a:gd name="T18" fmla="*/ 1 w 56"/>
                    <a:gd name="T19" fmla="*/ 1 h 24"/>
                    <a:gd name="T20" fmla="*/ 1 w 56"/>
                    <a:gd name="T21" fmla="*/ 1 h 24"/>
                    <a:gd name="T22" fmla="*/ 1 w 56"/>
                    <a:gd name="T23" fmla="*/ 1 h 24"/>
                    <a:gd name="T24" fmla="*/ 1 w 56"/>
                    <a:gd name="T25" fmla="*/ 1 h 24"/>
                    <a:gd name="T26" fmla="*/ 1 w 56"/>
                    <a:gd name="T27" fmla="*/ 1 h 24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56"/>
                    <a:gd name="T43" fmla="*/ 0 h 24"/>
                    <a:gd name="T44" fmla="*/ 56 w 56"/>
                    <a:gd name="T45" fmla="*/ 24 h 24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56" h="24">
                      <a:moveTo>
                        <a:pt x="56" y="8"/>
                      </a:moveTo>
                      <a:lnTo>
                        <a:pt x="48" y="8"/>
                      </a:lnTo>
                      <a:lnTo>
                        <a:pt x="40" y="8"/>
                      </a:lnTo>
                      <a:lnTo>
                        <a:pt x="24" y="0"/>
                      </a:lnTo>
                      <a:lnTo>
                        <a:pt x="0" y="0"/>
                      </a:lnTo>
                      <a:lnTo>
                        <a:pt x="8" y="0"/>
                      </a:lnTo>
                      <a:lnTo>
                        <a:pt x="16" y="8"/>
                      </a:lnTo>
                      <a:lnTo>
                        <a:pt x="16" y="16"/>
                      </a:lnTo>
                      <a:lnTo>
                        <a:pt x="24" y="16"/>
                      </a:lnTo>
                      <a:lnTo>
                        <a:pt x="32" y="16"/>
                      </a:lnTo>
                      <a:lnTo>
                        <a:pt x="24" y="16"/>
                      </a:lnTo>
                      <a:lnTo>
                        <a:pt x="32" y="24"/>
                      </a:lnTo>
                      <a:lnTo>
                        <a:pt x="40" y="16"/>
                      </a:lnTo>
                      <a:lnTo>
                        <a:pt x="56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02" name="Freeform 298"/>
                <p:cNvSpPr>
                  <a:spLocks noChangeAspect="1"/>
                </p:cNvSpPr>
                <p:nvPr/>
              </p:nvSpPr>
              <p:spPr bwMode="auto">
                <a:xfrm>
                  <a:off x="3656" y="1176"/>
                  <a:ext cx="39" cy="22"/>
                </a:xfrm>
                <a:custGeom>
                  <a:avLst/>
                  <a:gdLst>
                    <a:gd name="T0" fmla="*/ 1 w 56"/>
                    <a:gd name="T1" fmla="*/ 0 h 32"/>
                    <a:gd name="T2" fmla="*/ 1 w 56"/>
                    <a:gd name="T3" fmla="*/ 1 h 32"/>
                    <a:gd name="T4" fmla="*/ 1 w 56"/>
                    <a:gd name="T5" fmla="*/ 1 h 32"/>
                    <a:gd name="T6" fmla="*/ 1 w 56"/>
                    <a:gd name="T7" fmla="*/ 1 h 32"/>
                    <a:gd name="T8" fmla="*/ 0 w 56"/>
                    <a:gd name="T9" fmla="*/ 1 h 32"/>
                    <a:gd name="T10" fmla="*/ 1 w 56"/>
                    <a:gd name="T11" fmla="*/ 1 h 32"/>
                    <a:gd name="T12" fmla="*/ 1 w 56"/>
                    <a:gd name="T13" fmla="*/ 1 h 32"/>
                    <a:gd name="T14" fmla="*/ 1 w 56"/>
                    <a:gd name="T15" fmla="*/ 1 h 32"/>
                    <a:gd name="T16" fmla="*/ 1 w 56"/>
                    <a:gd name="T17" fmla="*/ 1 h 32"/>
                    <a:gd name="T18" fmla="*/ 1 w 56"/>
                    <a:gd name="T19" fmla="*/ 1 h 32"/>
                    <a:gd name="T20" fmla="*/ 1 w 56"/>
                    <a:gd name="T21" fmla="*/ 1 h 32"/>
                    <a:gd name="T22" fmla="*/ 1 w 56"/>
                    <a:gd name="T23" fmla="*/ 1 h 32"/>
                    <a:gd name="T24" fmla="*/ 1 w 56"/>
                    <a:gd name="T25" fmla="*/ 0 h 32"/>
                    <a:gd name="T26" fmla="*/ 1 w 56"/>
                    <a:gd name="T27" fmla="*/ 0 h 32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56"/>
                    <a:gd name="T43" fmla="*/ 0 h 32"/>
                    <a:gd name="T44" fmla="*/ 56 w 56"/>
                    <a:gd name="T45" fmla="*/ 32 h 32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56" h="32">
                      <a:moveTo>
                        <a:pt x="32" y="0"/>
                      </a:moveTo>
                      <a:lnTo>
                        <a:pt x="32" y="8"/>
                      </a:lnTo>
                      <a:lnTo>
                        <a:pt x="16" y="8"/>
                      </a:lnTo>
                      <a:lnTo>
                        <a:pt x="8" y="16"/>
                      </a:lnTo>
                      <a:lnTo>
                        <a:pt x="0" y="24"/>
                      </a:lnTo>
                      <a:lnTo>
                        <a:pt x="8" y="24"/>
                      </a:lnTo>
                      <a:lnTo>
                        <a:pt x="16" y="32"/>
                      </a:lnTo>
                      <a:lnTo>
                        <a:pt x="24" y="32"/>
                      </a:lnTo>
                      <a:lnTo>
                        <a:pt x="32" y="24"/>
                      </a:lnTo>
                      <a:lnTo>
                        <a:pt x="56" y="24"/>
                      </a:lnTo>
                      <a:lnTo>
                        <a:pt x="56" y="16"/>
                      </a:lnTo>
                      <a:lnTo>
                        <a:pt x="40" y="8"/>
                      </a:lnTo>
                      <a:lnTo>
                        <a:pt x="48" y="0"/>
                      </a:lnTo>
                      <a:lnTo>
                        <a:pt x="32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03" name="Freeform 299"/>
                <p:cNvSpPr>
                  <a:spLocks noChangeAspect="1"/>
                </p:cNvSpPr>
                <p:nvPr/>
              </p:nvSpPr>
              <p:spPr bwMode="auto">
                <a:xfrm>
                  <a:off x="3611" y="1198"/>
                  <a:ext cx="39" cy="17"/>
                </a:xfrm>
                <a:custGeom>
                  <a:avLst/>
                  <a:gdLst>
                    <a:gd name="T0" fmla="*/ 1 w 56"/>
                    <a:gd name="T1" fmla="*/ 0 h 24"/>
                    <a:gd name="T2" fmla="*/ 1 w 56"/>
                    <a:gd name="T3" fmla="*/ 1 h 24"/>
                    <a:gd name="T4" fmla="*/ 1 w 56"/>
                    <a:gd name="T5" fmla="*/ 1 h 24"/>
                    <a:gd name="T6" fmla="*/ 1 w 56"/>
                    <a:gd name="T7" fmla="*/ 1 h 24"/>
                    <a:gd name="T8" fmla="*/ 1 w 56"/>
                    <a:gd name="T9" fmla="*/ 1 h 24"/>
                    <a:gd name="T10" fmla="*/ 0 w 56"/>
                    <a:gd name="T11" fmla="*/ 1 h 24"/>
                    <a:gd name="T12" fmla="*/ 0 w 56"/>
                    <a:gd name="T13" fmla="*/ 1 h 24"/>
                    <a:gd name="T14" fmla="*/ 1 w 56"/>
                    <a:gd name="T15" fmla="*/ 1 h 24"/>
                    <a:gd name="T16" fmla="*/ 1 w 56"/>
                    <a:gd name="T17" fmla="*/ 0 h 24"/>
                    <a:gd name="T18" fmla="*/ 1 w 56"/>
                    <a:gd name="T19" fmla="*/ 0 h 24"/>
                    <a:gd name="T20" fmla="*/ 1 w 56"/>
                    <a:gd name="T21" fmla="*/ 0 h 24"/>
                    <a:gd name="T22" fmla="*/ 1 w 56"/>
                    <a:gd name="T23" fmla="*/ 0 h 24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56"/>
                    <a:gd name="T37" fmla="*/ 0 h 24"/>
                    <a:gd name="T38" fmla="*/ 56 w 56"/>
                    <a:gd name="T39" fmla="*/ 24 h 24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56" h="24">
                      <a:moveTo>
                        <a:pt x="56" y="0"/>
                      </a:moveTo>
                      <a:lnTo>
                        <a:pt x="40" y="8"/>
                      </a:lnTo>
                      <a:lnTo>
                        <a:pt x="48" y="16"/>
                      </a:lnTo>
                      <a:lnTo>
                        <a:pt x="40" y="24"/>
                      </a:lnTo>
                      <a:lnTo>
                        <a:pt x="8" y="16"/>
                      </a:lnTo>
                      <a:lnTo>
                        <a:pt x="0" y="16"/>
                      </a:lnTo>
                      <a:lnTo>
                        <a:pt x="0" y="8"/>
                      </a:lnTo>
                      <a:lnTo>
                        <a:pt x="8" y="8"/>
                      </a:lnTo>
                      <a:lnTo>
                        <a:pt x="8" y="0"/>
                      </a:lnTo>
                      <a:lnTo>
                        <a:pt x="40" y="0"/>
                      </a:lnTo>
                      <a:lnTo>
                        <a:pt x="48" y="0"/>
                      </a:lnTo>
                      <a:lnTo>
                        <a:pt x="56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04" name="Freeform 300"/>
                <p:cNvSpPr>
                  <a:spLocks noChangeAspect="1"/>
                </p:cNvSpPr>
                <p:nvPr/>
              </p:nvSpPr>
              <p:spPr bwMode="auto">
                <a:xfrm>
                  <a:off x="3571" y="1170"/>
                  <a:ext cx="23" cy="6"/>
                </a:xfrm>
                <a:custGeom>
                  <a:avLst/>
                  <a:gdLst>
                    <a:gd name="T0" fmla="*/ 1 w 32"/>
                    <a:gd name="T1" fmla="*/ 0 h 8"/>
                    <a:gd name="T2" fmla="*/ 1 w 32"/>
                    <a:gd name="T3" fmla="*/ 0 h 8"/>
                    <a:gd name="T4" fmla="*/ 1 w 32"/>
                    <a:gd name="T5" fmla="*/ 2 h 8"/>
                    <a:gd name="T6" fmla="*/ 0 w 32"/>
                    <a:gd name="T7" fmla="*/ 2 h 8"/>
                    <a:gd name="T8" fmla="*/ 0 w 32"/>
                    <a:gd name="T9" fmla="*/ 0 h 8"/>
                    <a:gd name="T10" fmla="*/ 1 w 32"/>
                    <a:gd name="T11" fmla="*/ 0 h 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2"/>
                    <a:gd name="T19" fmla="*/ 0 h 8"/>
                    <a:gd name="T20" fmla="*/ 32 w 32"/>
                    <a:gd name="T21" fmla="*/ 8 h 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2" h="8">
                      <a:moveTo>
                        <a:pt x="16" y="0"/>
                      </a:moveTo>
                      <a:lnTo>
                        <a:pt x="32" y="0"/>
                      </a:lnTo>
                      <a:lnTo>
                        <a:pt x="16" y="8"/>
                      </a:ln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05" name="Freeform 301"/>
                <p:cNvSpPr>
                  <a:spLocks noChangeAspect="1"/>
                </p:cNvSpPr>
                <p:nvPr/>
              </p:nvSpPr>
              <p:spPr bwMode="auto">
                <a:xfrm>
                  <a:off x="3554" y="1176"/>
                  <a:ext cx="28" cy="6"/>
                </a:xfrm>
                <a:custGeom>
                  <a:avLst/>
                  <a:gdLst>
                    <a:gd name="T0" fmla="*/ 1 w 40"/>
                    <a:gd name="T1" fmla="*/ 0 h 8"/>
                    <a:gd name="T2" fmla="*/ 1 w 40"/>
                    <a:gd name="T3" fmla="*/ 0 h 8"/>
                    <a:gd name="T4" fmla="*/ 1 w 40"/>
                    <a:gd name="T5" fmla="*/ 0 h 8"/>
                    <a:gd name="T6" fmla="*/ 1 w 40"/>
                    <a:gd name="T7" fmla="*/ 2 h 8"/>
                    <a:gd name="T8" fmla="*/ 1 w 40"/>
                    <a:gd name="T9" fmla="*/ 2 h 8"/>
                    <a:gd name="T10" fmla="*/ 0 w 40"/>
                    <a:gd name="T11" fmla="*/ 2 h 8"/>
                    <a:gd name="T12" fmla="*/ 1 w 40"/>
                    <a:gd name="T13" fmla="*/ 2 h 8"/>
                    <a:gd name="T14" fmla="*/ 1 w 40"/>
                    <a:gd name="T15" fmla="*/ 2 h 8"/>
                    <a:gd name="T16" fmla="*/ 1 w 40"/>
                    <a:gd name="T17" fmla="*/ 0 h 8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40"/>
                    <a:gd name="T28" fmla="*/ 0 h 8"/>
                    <a:gd name="T29" fmla="*/ 40 w 40"/>
                    <a:gd name="T30" fmla="*/ 8 h 8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40" h="8">
                      <a:moveTo>
                        <a:pt x="16" y="0"/>
                      </a:moveTo>
                      <a:lnTo>
                        <a:pt x="32" y="0"/>
                      </a:lnTo>
                      <a:lnTo>
                        <a:pt x="40" y="0"/>
                      </a:lnTo>
                      <a:lnTo>
                        <a:pt x="40" y="8"/>
                      </a:lnTo>
                      <a:lnTo>
                        <a:pt x="24" y="8"/>
                      </a:lnTo>
                      <a:lnTo>
                        <a:pt x="0" y="8"/>
                      </a:lnTo>
                      <a:lnTo>
                        <a:pt x="8" y="8"/>
                      </a:lnTo>
                      <a:lnTo>
                        <a:pt x="16" y="8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06" name="Freeform 302"/>
                <p:cNvSpPr>
                  <a:spLocks noChangeAspect="1"/>
                </p:cNvSpPr>
                <p:nvPr/>
              </p:nvSpPr>
              <p:spPr bwMode="auto">
                <a:xfrm>
                  <a:off x="3566" y="1187"/>
                  <a:ext cx="22" cy="11"/>
                </a:xfrm>
                <a:custGeom>
                  <a:avLst/>
                  <a:gdLst>
                    <a:gd name="T0" fmla="*/ 0 w 32"/>
                    <a:gd name="T1" fmla="*/ 0 h 16"/>
                    <a:gd name="T2" fmla="*/ 1 w 32"/>
                    <a:gd name="T3" fmla="*/ 0 h 16"/>
                    <a:gd name="T4" fmla="*/ 1 w 32"/>
                    <a:gd name="T5" fmla="*/ 1 h 16"/>
                    <a:gd name="T6" fmla="*/ 1 w 32"/>
                    <a:gd name="T7" fmla="*/ 1 h 16"/>
                    <a:gd name="T8" fmla="*/ 1 w 32"/>
                    <a:gd name="T9" fmla="*/ 1 h 16"/>
                    <a:gd name="T10" fmla="*/ 1 w 32"/>
                    <a:gd name="T11" fmla="*/ 1 h 16"/>
                    <a:gd name="T12" fmla="*/ 1 w 32"/>
                    <a:gd name="T13" fmla="*/ 1 h 16"/>
                    <a:gd name="T14" fmla="*/ 0 w 32"/>
                    <a:gd name="T15" fmla="*/ 0 h 1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32"/>
                    <a:gd name="T25" fmla="*/ 0 h 16"/>
                    <a:gd name="T26" fmla="*/ 32 w 32"/>
                    <a:gd name="T27" fmla="*/ 16 h 1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32" h="16">
                      <a:moveTo>
                        <a:pt x="0" y="0"/>
                      </a:moveTo>
                      <a:lnTo>
                        <a:pt x="16" y="0"/>
                      </a:lnTo>
                      <a:lnTo>
                        <a:pt x="24" y="8"/>
                      </a:lnTo>
                      <a:lnTo>
                        <a:pt x="32" y="8"/>
                      </a:lnTo>
                      <a:lnTo>
                        <a:pt x="32" y="16"/>
                      </a:lnTo>
                      <a:lnTo>
                        <a:pt x="24" y="16"/>
                      </a:lnTo>
                      <a:lnTo>
                        <a:pt x="8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07" name="Freeform 303"/>
                <p:cNvSpPr>
                  <a:spLocks noChangeAspect="1"/>
                </p:cNvSpPr>
                <p:nvPr/>
              </p:nvSpPr>
              <p:spPr bwMode="auto">
                <a:xfrm>
                  <a:off x="3537" y="1187"/>
                  <a:ext cx="51" cy="17"/>
                </a:xfrm>
                <a:custGeom>
                  <a:avLst/>
                  <a:gdLst>
                    <a:gd name="T0" fmla="*/ 1 w 72"/>
                    <a:gd name="T1" fmla="*/ 0 h 24"/>
                    <a:gd name="T2" fmla="*/ 1 w 72"/>
                    <a:gd name="T3" fmla="*/ 1 h 24"/>
                    <a:gd name="T4" fmla="*/ 1 w 72"/>
                    <a:gd name="T5" fmla="*/ 1 h 24"/>
                    <a:gd name="T6" fmla="*/ 1 w 72"/>
                    <a:gd name="T7" fmla="*/ 1 h 24"/>
                    <a:gd name="T8" fmla="*/ 1 w 72"/>
                    <a:gd name="T9" fmla="*/ 1 h 24"/>
                    <a:gd name="T10" fmla="*/ 1 w 72"/>
                    <a:gd name="T11" fmla="*/ 1 h 24"/>
                    <a:gd name="T12" fmla="*/ 1 w 72"/>
                    <a:gd name="T13" fmla="*/ 1 h 24"/>
                    <a:gd name="T14" fmla="*/ 1 w 72"/>
                    <a:gd name="T15" fmla="*/ 1 h 24"/>
                    <a:gd name="T16" fmla="*/ 1 w 72"/>
                    <a:gd name="T17" fmla="*/ 1 h 24"/>
                    <a:gd name="T18" fmla="*/ 1 w 72"/>
                    <a:gd name="T19" fmla="*/ 1 h 24"/>
                    <a:gd name="T20" fmla="*/ 1 w 72"/>
                    <a:gd name="T21" fmla="*/ 1 h 24"/>
                    <a:gd name="T22" fmla="*/ 1 w 72"/>
                    <a:gd name="T23" fmla="*/ 1 h 24"/>
                    <a:gd name="T24" fmla="*/ 1 w 72"/>
                    <a:gd name="T25" fmla="*/ 1 h 24"/>
                    <a:gd name="T26" fmla="*/ 0 w 72"/>
                    <a:gd name="T27" fmla="*/ 0 h 24"/>
                    <a:gd name="T28" fmla="*/ 1 w 72"/>
                    <a:gd name="T29" fmla="*/ 0 h 24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72"/>
                    <a:gd name="T46" fmla="*/ 0 h 24"/>
                    <a:gd name="T47" fmla="*/ 72 w 72"/>
                    <a:gd name="T48" fmla="*/ 24 h 24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72" h="24">
                      <a:moveTo>
                        <a:pt x="8" y="0"/>
                      </a:moveTo>
                      <a:lnTo>
                        <a:pt x="24" y="8"/>
                      </a:lnTo>
                      <a:lnTo>
                        <a:pt x="32" y="8"/>
                      </a:lnTo>
                      <a:lnTo>
                        <a:pt x="40" y="8"/>
                      </a:lnTo>
                      <a:lnTo>
                        <a:pt x="56" y="16"/>
                      </a:lnTo>
                      <a:lnTo>
                        <a:pt x="72" y="16"/>
                      </a:lnTo>
                      <a:lnTo>
                        <a:pt x="64" y="24"/>
                      </a:lnTo>
                      <a:lnTo>
                        <a:pt x="56" y="24"/>
                      </a:lnTo>
                      <a:lnTo>
                        <a:pt x="48" y="16"/>
                      </a:lnTo>
                      <a:lnTo>
                        <a:pt x="32" y="16"/>
                      </a:lnTo>
                      <a:lnTo>
                        <a:pt x="24" y="16"/>
                      </a:lnTo>
                      <a:lnTo>
                        <a:pt x="24" y="8"/>
                      </a:lnTo>
                      <a:lnTo>
                        <a:pt x="8" y="8"/>
                      </a:lnTo>
                      <a:lnTo>
                        <a:pt x="0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08" name="Freeform 304"/>
                <p:cNvSpPr>
                  <a:spLocks noChangeAspect="1"/>
                </p:cNvSpPr>
                <p:nvPr/>
              </p:nvSpPr>
              <p:spPr bwMode="auto">
                <a:xfrm>
                  <a:off x="3532" y="1193"/>
                  <a:ext cx="17" cy="5"/>
                </a:xfrm>
                <a:custGeom>
                  <a:avLst/>
                  <a:gdLst>
                    <a:gd name="T0" fmla="*/ 1 w 24"/>
                    <a:gd name="T1" fmla="*/ 1 h 8"/>
                    <a:gd name="T2" fmla="*/ 1 w 24"/>
                    <a:gd name="T3" fmla="*/ 1 h 8"/>
                    <a:gd name="T4" fmla="*/ 1 w 24"/>
                    <a:gd name="T5" fmla="*/ 1 h 8"/>
                    <a:gd name="T6" fmla="*/ 0 w 24"/>
                    <a:gd name="T7" fmla="*/ 0 h 8"/>
                    <a:gd name="T8" fmla="*/ 1 w 24"/>
                    <a:gd name="T9" fmla="*/ 0 h 8"/>
                    <a:gd name="T10" fmla="*/ 1 w 24"/>
                    <a:gd name="T11" fmla="*/ 1 h 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4"/>
                    <a:gd name="T19" fmla="*/ 0 h 8"/>
                    <a:gd name="T20" fmla="*/ 24 w 24"/>
                    <a:gd name="T21" fmla="*/ 8 h 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4" h="8">
                      <a:moveTo>
                        <a:pt x="24" y="8"/>
                      </a:moveTo>
                      <a:lnTo>
                        <a:pt x="16" y="8"/>
                      </a:lnTo>
                      <a:lnTo>
                        <a:pt x="8" y="8"/>
                      </a:lnTo>
                      <a:lnTo>
                        <a:pt x="0" y="0"/>
                      </a:lnTo>
                      <a:lnTo>
                        <a:pt x="16" y="0"/>
                      </a:lnTo>
                      <a:lnTo>
                        <a:pt x="24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09" name="Freeform 305"/>
                <p:cNvSpPr>
                  <a:spLocks noChangeAspect="1"/>
                </p:cNvSpPr>
                <p:nvPr/>
              </p:nvSpPr>
              <p:spPr bwMode="auto">
                <a:xfrm>
                  <a:off x="3582" y="1210"/>
                  <a:ext cx="23" cy="17"/>
                </a:xfrm>
                <a:custGeom>
                  <a:avLst/>
                  <a:gdLst>
                    <a:gd name="T0" fmla="*/ 1 w 32"/>
                    <a:gd name="T1" fmla="*/ 0 h 24"/>
                    <a:gd name="T2" fmla="*/ 0 w 32"/>
                    <a:gd name="T3" fmla="*/ 0 h 24"/>
                    <a:gd name="T4" fmla="*/ 0 w 32"/>
                    <a:gd name="T5" fmla="*/ 1 h 24"/>
                    <a:gd name="T6" fmla="*/ 0 w 32"/>
                    <a:gd name="T7" fmla="*/ 1 h 24"/>
                    <a:gd name="T8" fmla="*/ 1 w 32"/>
                    <a:gd name="T9" fmla="*/ 1 h 24"/>
                    <a:gd name="T10" fmla="*/ 1 w 32"/>
                    <a:gd name="T11" fmla="*/ 1 h 24"/>
                    <a:gd name="T12" fmla="*/ 1 w 32"/>
                    <a:gd name="T13" fmla="*/ 1 h 24"/>
                    <a:gd name="T14" fmla="*/ 1 w 32"/>
                    <a:gd name="T15" fmla="*/ 1 h 24"/>
                    <a:gd name="T16" fmla="*/ 1 w 32"/>
                    <a:gd name="T17" fmla="*/ 1 h 24"/>
                    <a:gd name="T18" fmla="*/ 1 w 32"/>
                    <a:gd name="T19" fmla="*/ 0 h 2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32"/>
                    <a:gd name="T31" fmla="*/ 0 h 24"/>
                    <a:gd name="T32" fmla="*/ 32 w 32"/>
                    <a:gd name="T33" fmla="*/ 24 h 2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32" h="24">
                      <a:moveTo>
                        <a:pt x="8" y="0"/>
                      </a:moveTo>
                      <a:lnTo>
                        <a:pt x="0" y="0"/>
                      </a:lnTo>
                      <a:lnTo>
                        <a:pt x="0" y="8"/>
                      </a:lnTo>
                      <a:lnTo>
                        <a:pt x="0" y="16"/>
                      </a:lnTo>
                      <a:lnTo>
                        <a:pt x="8" y="24"/>
                      </a:lnTo>
                      <a:lnTo>
                        <a:pt x="8" y="16"/>
                      </a:lnTo>
                      <a:lnTo>
                        <a:pt x="24" y="8"/>
                      </a:lnTo>
                      <a:lnTo>
                        <a:pt x="32" y="8"/>
                      </a:lnTo>
                      <a:lnTo>
                        <a:pt x="24" y="8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10" name="Freeform 306"/>
                <p:cNvSpPr>
                  <a:spLocks noChangeAspect="1"/>
                </p:cNvSpPr>
                <p:nvPr/>
              </p:nvSpPr>
              <p:spPr bwMode="auto">
                <a:xfrm>
                  <a:off x="3599" y="1227"/>
                  <a:ext cx="17" cy="5"/>
                </a:xfrm>
                <a:custGeom>
                  <a:avLst/>
                  <a:gdLst>
                    <a:gd name="T0" fmla="*/ 1 w 24"/>
                    <a:gd name="T1" fmla="*/ 0 h 8"/>
                    <a:gd name="T2" fmla="*/ 0 w 24"/>
                    <a:gd name="T3" fmla="*/ 0 h 8"/>
                    <a:gd name="T4" fmla="*/ 1 w 24"/>
                    <a:gd name="T5" fmla="*/ 1 h 8"/>
                    <a:gd name="T6" fmla="*/ 1 w 24"/>
                    <a:gd name="T7" fmla="*/ 1 h 8"/>
                    <a:gd name="T8" fmla="*/ 1 w 24"/>
                    <a:gd name="T9" fmla="*/ 1 h 8"/>
                    <a:gd name="T10" fmla="*/ 1 w 24"/>
                    <a:gd name="T11" fmla="*/ 0 h 8"/>
                    <a:gd name="T12" fmla="*/ 1 w 24"/>
                    <a:gd name="T13" fmla="*/ 0 h 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4"/>
                    <a:gd name="T22" fmla="*/ 0 h 8"/>
                    <a:gd name="T23" fmla="*/ 24 w 24"/>
                    <a:gd name="T24" fmla="*/ 8 h 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4" h="8">
                      <a:moveTo>
                        <a:pt x="16" y="0"/>
                      </a:moveTo>
                      <a:lnTo>
                        <a:pt x="0" y="0"/>
                      </a:lnTo>
                      <a:lnTo>
                        <a:pt x="8" y="8"/>
                      </a:lnTo>
                      <a:lnTo>
                        <a:pt x="16" y="8"/>
                      </a:lnTo>
                      <a:lnTo>
                        <a:pt x="24" y="8"/>
                      </a:lnTo>
                      <a:lnTo>
                        <a:pt x="24" y="0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11" name="Freeform 307"/>
                <p:cNvSpPr>
                  <a:spLocks noChangeAspect="1"/>
                </p:cNvSpPr>
                <p:nvPr/>
              </p:nvSpPr>
              <p:spPr bwMode="auto">
                <a:xfrm>
                  <a:off x="3560" y="1215"/>
                  <a:ext cx="11" cy="12"/>
                </a:xfrm>
                <a:custGeom>
                  <a:avLst/>
                  <a:gdLst>
                    <a:gd name="T0" fmla="*/ 1 w 16"/>
                    <a:gd name="T1" fmla="*/ 0 h 16"/>
                    <a:gd name="T2" fmla="*/ 1 w 16"/>
                    <a:gd name="T3" fmla="*/ 2 h 16"/>
                    <a:gd name="T4" fmla="*/ 0 w 16"/>
                    <a:gd name="T5" fmla="*/ 2 h 16"/>
                    <a:gd name="T6" fmla="*/ 0 w 16"/>
                    <a:gd name="T7" fmla="*/ 2 h 16"/>
                    <a:gd name="T8" fmla="*/ 0 w 16"/>
                    <a:gd name="T9" fmla="*/ 0 h 16"/>
                    <a:gd name="T10" fmla="*/ 1 w 16"/>
                    <a:gd name="T11" fmla="*/ 0 h 1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6"/>
                    <a:gd name="T19" fmla="*/ 0 h 16"/>
                    <a:gd name="T20" fmla="*/ 16 w 16"/>
                    <a:gd name="T21" fmla="*/ 16 h 1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6" h="16">
                      <a:moveTo>
                        <a:pt x="16" y="0"/>
                      </a:moveTo>
                      <a:lnTo>
                        <a:pt x="16" y="8"/>
                      </a:lnTo>
                      <a:lnTo>
                        <a:pt x="0" y="16"/>
                      </a:ln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12" name="Freeform 308"/>
                <p:cNvSpPr>
                  <a:spLocks noChangeAspect="1"/>
                </p:cNvSpPr>
                <p:nvPr/>
              </p:nvSpPr>
              <p:spPr bwMode="auto">
                <a:xfrm>
                  <a:off x="3504" y="1215"/>
                  <a:ext cx="22" cy="6"/>
                </a:xfrm>
                <a:custGeom>
                  <a:avLst/>
                  <a:gdLst>
                    <a:gd name="T0" fmla="*/ 1 w 32"/>
                    <a:gd name="T1" fmla="*/ 0 h 8"/>
                    <a:gd name="T2" fmla="*/ 1 w 32"/>
                    <a:gd name="T3" fmla="*/ 0 h 8"/>
                    <a:gd name="T4" fmla="*/ 1 w 32"/>
                    <a:gd name="T5" fmla="*/ 0 h 8"/>
                    <a:gd name="T6" fmla="*/ 1 w 32"/>
                    <a:gd name="T7" fmla="*/ 2 h 8"/>
                    <a:gd name="T8" fmla="*/ 1 w 32"/>
                    <a:gd name="T9" fmla="*/ 2 h 8"/>
                    <a:gd name="T10" fmla="*/ 0 w 32"/>
                    <a:gd name="T11" fmla="*/ 2 h 8"/>
                    <a:gd name="T12" fmla="*/ 1 w 32"/>
                    <a:gd name="T13" fmla="*/ 0 h 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2"/>
                    <a:gd name="T22" fmla="*/ 0 h 8"/>
                    <a:gd name="T23" fmla="*/ 32 w 32"/>
                    <a:gd name="T24" fmla="*/ 8 h 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2" h="8">
                      <a:moveTo>
                        <a:pt x="16" y="0"/>
                      </a:moveTo>
                      <a:lnTo>
                        <a:pt x="24" y="0"/>
                      </a:lnTo>
                      <a:lnTo>
                        <a:pt x="32" y="0"/>
                      </a:lnTo>
                      <a:lnTo>
                        <a:pt x="32" y="8"/>
                      </a:lnTo>
                      <a:lnTo>
                        <a:pt x="16" y="8"/>
                      </a:lnTo>
                      <a:lnTo>
                        <a:pt x="0" y="8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13" name="Freeform 309"/>
                <p:cNvSpPr>
                  <a:spLocks noChangeAspect="1"/>
                </p:cNvSpPr>
                <p:nvPr/>
              </p:nvSpPr>
              <p:spPr bwMode="auto">
                <a:xfrm>
                  <a:off x="3425" y="1193"/>
                  <a:ext cx="67" cy="39"/>
                </a:xfrm>
                <a:custGeom>
                  <a:avLst/>
                  <a:gdLst>
                    <a:gd name="T0" fmla="*/ 1 w 96"/>
                    <a:gd name="T1" fmla="*/ 0 h 56"/>
                    <a:gd name="T2" fmla="*/ 1 w 96"/>
                    <a:gd name="T3" fmla="*/ 1 h 56"/>
                    <a:gd name="T4" fmla="*/ 1 w 96"/>
                    <a:gd name="T5" fmla="*/ 1 h 56"/>
                    <a:gd name="T6" fmla="*/ 1 w 96"/>
                    <a:gd name="T7" fmla="*/ 1 h 56"/>
                    <a:gd name="T8" fmla="*/ 1 w 96"/>
                    <a:gd name="T9" fmla="*/ 1 h 56"/>
                    <a:gd name="T10" fmla="*/ 1 w 96"/>
                    <a:gd name="T11" fmla="*/ 1 h 56"/>
                    <a:gd name="T12" fmla="*/ 1 w 96"/>
                    <a:gd name="T13" fmla="*/ 1 h 56"/>
                    <a:gd name="T14" fmla="*/ 1 w 96"/>
                    <a:gd name="T15" fmla="*/ 1 h 56"/>
                    <a:gd name="T16" fmla="*/ 1 w 96"/>
                    <a:gd name="T17" fmla="*/ 1 h 56"/>
                    <a:gd name="T18" fmla="*/ 1 w 96"/>
                    <a:gd name="T19" fmla="*/ 1 h 56"/>
                    <a:gd name="T20" fmla="*/ 1 w 96"/>
                    <a:gd name="T21" fmla="*/ 1 h 56"/>
                    <a:gd name="T22" fmla="*/ 1 w 96"/>
                    <a:gd name="T23" fmla="*/ 1 h 56"/>
                    <a:gd name="T24" fmla="*/ 1 w 96"/>
                    <a:gd name="T25" fmla="*/ 1 h 56"/>
                    <a:gd name="T26" fmla="*/ 1 w 96"/>
                    <a:gd name="T27" fmla="*/ 1 h 56"/>
                    <a:gd name="T28" fmla="*/ 1 w 96"/>
                    <a:gd name="T29" fmla="*/ 1 h 56"/>
                    <a:gd name="T30" fmla="*/ 1 w 96"/>
                    <a:gd name="T31" fmla="*/ 1 h 56"/>
                    <a:gd name="T32" fmla="*/ 1 w 96"/>
                    <a:gd name="T33" fmla="*/ 1 h 56"/>
                    <a:gd name="T34" fmla="*/ 0 w 96"/>
                    <a:gd name="T35" fmla="*/ 1 h 56"/>
                    <a:gd name="T36" fmla="*/ 1 w 96"/>
                    <a:gd name="T37" fmla="*/ 1 h 56"/>
                    <a:gd name="T38" fmla="*/ 1 w 96"/>
                    <a:gd name="T39" fmla="*/ 1 h 56"/>
                    <a:gd name="T40" fmla="*/ 0 w 96"/>
                    <a:gd name="T41" fmla="*/ 1 h 56"/>
                    <a:gd name="T42" fmla="*/ 1 w 96"/>
                    <a:gd name="T43" fmla="*/ 1 h 56"/>
                    <a:gd name="T44" fmla="*/ 1 w 96"/>
                    <a:gd name="T45" fmla="*/ 1 h 56"/>
                    <a:gd name="T46" fmla="*/ 1 w 96"/>
                    <a:gd name="T47" fmla="*/ 1 h 56"/>
                    <a:gd name="T48" fmla="*/ 1 w 96"/>
                    <a:gd name="T49" fmla="*/ 1 h 56"/>
                    <a:gd name="T50" fmla="*/ 1 w 96"/>
                    <a:gd name="T51" fmla="*/ 0 h 56"/>
                    <a:gd name="T52" fmla="*/ 1 w 96"/>
                    <a:gd name="T53" fmla="*/ 0 h 5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96"/>
                    <a:gd name="T82" fmla="*/ 0 h 56"/>
                    <a:gd name="T83" fmla="*/ 96 w 96"/>
                    <a:gd name="T84" fmla="*/ 56 h 56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96" h="56">
                      <a:moveTo>
                        <a:pt x="88" y="0"/>
                      </a:moveTo>
                      <a:lnTo>
                        <a:pt x="80" y="8"/>
                      </a:lnTo>
                      <a:lnTo>
                        <a:pt x="96" y="8"/>
                      </a:lnTo>
                      <a:lnTo>
                        <a:pt x="96" y="16"/>
                      </a:lnTo>
                      <a:lnTo>
                        <a:pt x="96" y="24"/>
                      </a:lnTo>
                      <a:lnTo>
                        <a:pt x="80" y="24"/>
                      </a:lnTo>
                      <a:lnTo>
                        <a:pt x="72" y="24"/>
                      </a:lnTo>
                      <a:lnTo>
                        <a:pt x="80" y="32"/>
                      </a:lnTo>
                      <a:lnTo>
                        <a:pt x="72" y="32"/>
                      </a:lnTo>
                      <a:lnTo>
                        <a:pt x="48" y="32"/>
                      </a:lnTo>
                      <a:lnTo>
                        <a:pt x="48" y="40"/>
                      </a:lnTo>
                      <a:lnTo>
                        <a:pt x="40" y="40"/>
                      </a:lnTo>
                      <a:lnTo>
                        <a:pt x="24" y="56"/>
                      </a:lnTo>
                      <a:lnTo>
                        <a:pt x="16" y="48"/>
                      </a:lnTo>
                      <a:lnTo>
                        <a:pt x="24" y="48"/>
                      </a:lnTo>
                      <a:lnTo>
                        <a:pt x="24" y="40"/>
                      </a:lnTo>
                      <a:lnTo>
                        <a:pt x="8" y="40"/>
                      </a:lnTo>
                      <a:lnTo>
                        <a:pt x="0" y="40"/>
                      </a:lnTo>
                      <a:lnTo>
                        <a:pt x="8" y="32"/>
                      </a:lnTo>
                      <a:lnTo>
                        <a:pt x="16" y="32"/>
                      </a:lnTo>
                      <a:lnTo>
                        <a:pt x="0" y="16"/>
                      </a:lnTo>
                      <a:lnTo>
                        <a:pt x="48" y="16"/>
                      </a:lnTo>
                      <a:lnTo>
                        <a:pt x="56" y="8"/>
                      </a:lnTo>
                      <a:lnTo>
                        <a:pt x="64" y="8"/>
                      </a:lnTo>
                      <a:lnTo>
                        <a:pt x="72" y="8"/>
                      </a:lnTo>
                      <a:lnTo>
                        <a:pt x="64" y="0"/>
                      </a:lnTo>
                      <a:lnTo>
                        <a:pt x="88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14" name="Freeform 310"/>
                <p:cNvSpPr>
                  <a:spLocks noChangeAspect="1"/>
                </p:cNvSpPr>
                <p:nvPr/>
              </p:nvSpPr>
              <p:spPr bwMode="auto">
                <a:xfrm>
                  <a:off x="3391" y="1193"/>
                  <a:ext cx="68" cy="17"/>
                </a:xfrm>
                <a:custGeom>
                  <a:avLst/>
                  <a:gdLst>
                    <a:gd name="T0" fmla="*/ 1 w 96"/>
                    <a:gd name="T1" fmla="*/ 1 h 24"/>
                    <a:gd name="T2" fmla="*/ 1 w 96"/>
                    <a:gd name="T3" fmla="*/ 1 h 24"/>
                    <a:gd name="T4" fmla="*/ 1 w 96"/>
                    <a:gd name="T5" fmla="*/ 0 h 24"/>
                    <a:gd name="T6" fmla="*/ 1 w 96"/>
                    <a:gd name="T7" fmla="*/ 0 h 24"/>
                    <a:gd name="T8" fmla="*/ 1 w 96"/>
                    <a:gd name="T9" fmla="*/ 1 h 24"/>
                    <a:gd name="T10" fmla="*/ 0 w 96"/>
                    <a:gd name="T11" fmla="*/ 1 h 24"/>
                    <a:gd name="T12" fmla="*/ 0 w 96"/>
                    <a:gd name="T13" fmla="*/ 1 h 24"/>
                    <a:gd name="T14" fmla="*/ 0 w 96"/>
                    <a:gd name="T15" fmla="*/ 1 h 24"/>
                    <a:gd name="T16" fmla="*/ 1 w 96"/>
                    <a:gd name="T17" fmla="*/ 1 h 24"/>
                    <a:gd name="T18" fmla="*/ 1 w 96"/>
                    <a:gd name="T19" fmla="*/ 1 h 24"/>
                    <a:gd name="T20" fmla="*/ 1 w 96"/>
                    <a:gd name="T21" fmla="*/ 1 h 24"/>
                    <a:gd name="T22" fmla="*/ 1 w 96"/>
                    <a:gd name="T23" fmla="*/ 1 h 24"/>
                    <a:gd name="T24" fmla="*/ 1 w 96"/>
                    <a:gd name="T25" fmla="*/ 1 h 24"/>
                    <a:gd name="T26" fmla="*/ 1 w 96"/>
                    <a:gd name="T27" fmla="*/ 1 h 24"/>
                    <a:gd name="T28" fmla="*/ 1 w 96"/>
                    <a:gd name="T29" fmla="*/ 1 h 24"/>
                    <a:gd name="T30" fmla="*/ 1 w 96"/>
                    <a:gd name="T31" fmla="*/ 1 h 24"/>
                    <a:gd name="T32" fmla="*/ 1 w 96"/>
                    <a:gd name="T33" fmla="*/ 1 h 24"/>
                    <a:gd name="T34" fmla="*/ 1 w 96"/>
                    <a:gd name="T35" fmla="*/ 1 h 24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96"/>
                    <a:gd name="T55" fmla="*/ 0 h 24"/>
                    <a:gd name="T56" fmla="*/ 96 w 96"/>
                    <a:gd name="T57" fmla="*/ 24 h 24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96" h="24">
                      <a:moveTo>
                        <a:pt x="96" y="8"/>
                      </a:moveTo>
                      <a:lnTo>
                        <a:pt x="88" y="8"/>
                      </a:lnTo>
                      <a:lnTo>
                        <a:pt x="72" y="0"/>
                      </a:lnTo>
                      <a:lnTo>
                        <a:pt x="40" y="0"/>
                      </a:lnTo>
                      <a:lnTo>
                        <a:pt x="32" y="8"/>
                      </a:lnTo>
                      <a:lnTo>
                        <a:pt x="0" y="8"/>
                      </a:lnTo>
                      <a:lnTo>
                        <a:pt x="0" y="16"/>
                      </a:lnTo>
                      <a:lnTo>
                        <a:pt x="0" y="24"/>
                      </a:lnTo>
                      <a:lnTo>
                        <a:pt x="8" y="24"/>
                      </a:lnTo>
                      <a:lnTo>
                        <a:pt x="24" y="24"/>
                      </a:lnTo>
                      <a:lnTo>
                        <a:pt x="32" y="24"/>
                      </a:lnTo>
                      <a:lnTo>
                        <a:pt x="40" y="24"/>
                      </a:lnTo>
                      <a:lnTo>
                        <a:pt x="32" y="24"/>
                      </a:lnTo>
                      <a:lnTo>
                        <a:pt x="32" y="16"/>
                      </a:lnTo>
                      <a:lnTo>
                        <a:pt x="48" y="8"/>
                      </a:lnTo>
                      <a:lnTo>
                        <a:pt x="72" y="8"/>
                      </a:lnTo>
                      <a:lnTo>
                        <a:pt x="80" y="16"/>
                      </a:lnTo>
                      <a:lnTo>
                        <a:pt x="96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15" name="Freeform 311"/>
                <p:cNvSpPr>
                  <a:spLocks noChangeAspect="1"/>
                </p:cNvSpPr>
                <p:nvPr/>
              </p:nvSpPr>
              <p:spPr bwMode="auto">
                <a:xfrm>
                  <a:off x="3526" y="1322"/>
                  <a:ext cx="225" cy="107"/>
                </a:xfrm>
                <a:custGeom>
                  <a:avLst/>
                  <a:gdLst>
                    <a:gd name="T0" fmla="*/ 1 w 320"/>
                    <a:gd name="T1" fmla="*/ 1 h 152"/>
                    <a:gd name="T2" fmla="*/ 1 w 320"/>
                    <a:gd name="T3" fmla="*/ 1 h 152"/>
                    <a:gd name="T4" fmla="*/ 1 w 320"/>
                    <a:gd name="T5" fmla="*/ 1 h 152"/>
                    <a:gd name="T6" fmla="*/ 1 w 320"/>
                    <a:gd name="T7" fmla="*/ 1 h 152"/>
                    <a:gd name="T8" fmla="*/ 1 w 320"/>
                    <a:gd name="T9" fmla="*/ 1 h 152"/>
                    <a:gd name="T10" fmla="*/ 1 w 320"/>
                    <a:gd name="T11" fmla="*/ 1 h 152"/>
                    <a:gd name="T12" fmla="*/ 1 w 320"/>
                    <a:gd name="T13" fmla="*/ 1 h 152"/>
                    <a:gd name="T14" fmla="*/ 1 w 320"/>
                    <a:gd name="T15" fmla="*/ 1 h 152"/>
                    <a:gd name="T16" fmla="*/ 1 w 320"/>
                    <a:gd name="T17" fmla="*/ 1 h 152"/>
                    <a:gd name="T18" fmla="*/ 1 w 320"/>
                    <a:gd name="T19" fmla="*/ 1 h 152"/>
                    <a:gd name="T20" fmla="*/ 1 w 320"/>
                    <a:gd name="T21" fmla="*/ 1 h 152"/>
                    <a:gd name="T22" fmla="*/ 1 w 320"/>
                    <a:gd name="T23" fmla="*/ 1 h 152"/>
                    <a:gd name="T24" fmla="*/ 1 w 320"/>
                    <a:gd name="T25" fmla="*/ 1 h 152"/>
                    <a:gd name="T26" fmla="*/ 1 w 320"/>
                    <a:gd name="T27" fmla="*/ 1 h 152"/>
                    <a:gd name="T28" fmla="*/ 1 w 320"/>
                    <a:gd name="T29" fmla="*/ 1 h 152"/>
                    <a:gd name="T30" fmla="*/ 1 w 320"/>
                    <a:gd name="T31" fmla="*/ 1 h 152"/>
                    <a:gd name="T32" fmla="*/ 1 w 320"/>
                    <a:gd name="T33" fmla="*/ 1 h 152"/>
                    <a:gd name="T34" fmla="*/ 1 w 320"/>
                    <a:gd name="T35" fmla="*/ 1 h 152"/>
                    <a:gd name="T36" fmla="*/ 1 w 320"/>
                    <a:gd name="T37" fmla="*/ 1 h 152"/>
                    <a:gd name="T38" fmla="*/ 1 w 320"/>
                    <a:gd name="T39" fmla="*/ 1 h 152"/>
                    <a:gd name="T40" fmla="*/ 1 w 320"/>
                    <a:gd name="T41" fmla="*/ 1 h 152"/>
                    <a:gd name="T42" fmla="*/ 1 w 320"/>
                    <a:gd name="T43" fmla="*/ 1 h 152"/>
                    <a:gd name="T44" fmla="*/ 1 w 320"/>
                    <a:gd name="T45" fmla="*/ 1 h 152"/>
                    <a:gd name="T46" fmla="*/ 1 w 320"/>
                    <a:gd name="T47" fmla="*/ 1 h 152"/>
                    <a:gd name="T48" fmla="*/ 1 w 320"/>
                    <a:gd name="T49" fmla="*/ 1 h 152"/>
                    <a:gd name="T50" fmla="*/ 1 w 320"/>
                    <a:gd name="T51" fmla="*/ 1 h 152"/>
                    <a:gd name="T52" fmla="*/ 1 w 320"/>
                    <a:gd name="T53" fmla="*/ 1 h 152"/>
                    <a:gd name="T54" fmla="*/ 1 w 320"/>
                    <a:gd name="T55" fmla="*/ 1 h 152"/>
                    <a:gd name="T56" fmla="*/ 1 w 320"/>
                    <a:gd name="T57" fmla="*/ 1 h 152"/>
                    <a:gd name="T58" fmla="*/ 1 w 320"/>
                    <a:gd name="T59" fmla="*/ 1 h 152"/>
                    <a:gd name="T60" fmla="*/ 1 w 320"/>
                    <a:gd name="T61" fmla="*/ 1 h 152"/>
                    <a:gd name="T62" fmla="*/ 1 w 320"/>
                    <a:gd name="T63" fmla="*/ 1 h 152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320"/>
                    <a:gd name="T97" fmla="*/ 0 h 152"/>
                    <a:gd name="T98" fmla="*/ 320 w 320"/>
                    <a:gd name="T99" fmla="*/ 152 h 152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320" h="152">
                      <a:moveTo>
                        <a:pt x="288" y="0"/>
                      </a:moveTo>
                      <a:lnTo>
                        <a:pt x="312" y="8"/>
                      </a:lnTo>
                      <a:lnTo>
                        <a:pt x="320" y="16"/>
                      </a:lnTo>
                      <a:lnTo>
                        <a:pt x="312" y="24"/>
                      </a:lnTo>
                      <a:lnTo>
                        <a:pt x="312" y="32"/>
                      </a:lnTo>
                      <a:lnTo>
                        <a:pt x="288" y="32"/>
                      </a:lnTo>
                      <a:lnTo>
                        <a:pt x="264" y="40"/>
                      </a:lnTo>
                      <a:lnTo>
                        <a:pt x="240" y="48"/>
                      </a:lnTo>
                      <a:lnTo>
                        <a:pt x="224" y="48"/>
                      </a:lnTo>
                      <a:lnTo>
                        <a:pt x="208" y="48"/>
                      </a:lnTo>
                      <a:lnTo>
                        <a:pt x="200" y="56"/>
                      </a:lnTo>
                      <a:lnTo>
                        <a:pt x="184" y="56"/>
                      </a:lnTo>
                      <a:lnTo>
                        <a:pt x="176" y="64"/>
                      </a:lnTo>
                      <a:lnTo>
                        <a:pt x="168" y="72"/>
                      </a:lnTo>
                      <a:lnTo>
                        <a:pt x="144" y="80"/>
                      </a:lnTo>
                      <a:lnTo>
                        <a:pt x="144" y="88"/>
                      </a:lnTo>
                      <a:lnTo>
                        <a:pt x="136" y="88"/>
                      </a:lnTo>
                      <a:lnTo>
                        <a:pt x="128" y="96"/>
                      </a:lnTo>
                      <a:lnTo>
                        <a:pt x="112" y="96"/>
                      </a:lnTo>
                      <a:lnTo>
                        <a:pt x="112" y="104"/>
                      </a:lnTo>
                      <a:lnTo>
                        <a:pt x="104" y="104"/>
                      </a:lnTo>
                      <a:lnTo>
                        <a:pt x="104" y="112"/>
                      </a:lnTo>
                      <a:lnTo>
                        <a:pt x="96" y="120"/>
                      </a:lnTo>
                      <a:lnTo>
                        <a:pt x="88" y="120"/>
                      </a:lnTo>
                      <a:lnTo>
                        <a:pt x="80" y="128"/>
                      </a:lnTo>
                      <a:lnTo>
                        <a:pt x="64" y="152"/>
                      </a:lnTo>
                      <a:lnTo>
                        <a:pt x="48" y="152"/>
                      </a:lnTo>
                      <a:lnTo>
                        <a:pt x="40" y="144"/>
                      </a:lnTo>
                      <a:lnTo>
                        <a:pt x="16" y="152"/>
                      </a:lnTo>
                      <a:lnTo>
                        <a:pt x="16" y="144"/>
                      </a:lnTo>
                      <a:lnTo>
                        <a:pt x="24" y="136"/>
                      </a:lnTo>
                      <a:lnTo>
                        <a:pt x="40" y="136"/>
                      </a:lnTo>
                      <a:lnTo>
                        <a:pt x="32" y="136"/>
                      </a:lnTo>
                      <a:lnTo>
                        <a:pt x="16" y="136"/>
                      </a:lnTo>
                      <a:lnTo>
                        <a:pt x="0" y="128"/>
                      </a:lnTo>
                      <a:lnTo>
                        <a:pt x="8" y="128"/>
                      </a:lnTo>
                      <a:lnTo>
                        <a:pt x="16" y="128"/>
                      </a:lnTo>
                      <a:lnTo>
                        <a:pt x="24" y="120"/>
                      </a:lnTo>
                      <a:lnTo>
                        <a:pt x="24" y="112"/>
                      </a:lnTo>
                      <a:lnTo>
                        <a:pt x="40" y="120"/>
                      </a:lnTo>
                      <a:lnTo>
                        <a:pt x="48" y="112"/>
                      </a:lnTo>
                      <a:lnTo>
                        <a:pt x="40" y="104"/>
                      </a:lnTo>
                      <a:lnTo>
                        <a:pt x="56" y="96"/>
                      </a:lnTo>
                      <a:lnTo>
                        <a:pt x="48" y="96"/>
                      </a:lnTo>
                      <a:lnTo>
                        <a:pt x="48" y="88"/>
                      </a:lnTo>
                      <a:lnTo>
                        <a:pt x="56" y="88"/>
                      </a:lnTo>
                      <a:lnTo>
                        <a:pt x="48" y="80"/>
                      </a:lnTo>
                      <a:lnTo>
                        <a:pt x="40" y="72"/>
                      </a:lnTo>
                      <a:lnTo>
                        <a:pt x="48" y="72"/>
                      </a:lnTo>
                      <a:lnTo>
                        <a:pt x="56" y="72"/>
                      </a:lnTo>
                      <a:lnTo>
                        <a:pt x="72" y="64"/>
                      </a:lnTo>
                      <a:lnTo>
                        <a:pt x="88" y="64"/>
                      </a:lnTo>
                      <a:lnTo>
                        <a:pt x="96" y="48"/>
                      </a:lnTo>
                      <a:lnTo>
                        <a:pt x="104" y="48"/>
                      </a:lnTo>
                      <a:lnTo>
                        <a:pt x="120" y="48"/>
                      </a:lnTo>
                      <a:lnTo>
                        <a:pt x="136" y="40"/>
                      </a:lnTo>
                      <a:lnTo>
                        <a:pt x="144" y="40"/>
                      </a:lnTo>
                      <a:lnTo>
                        <a:pt x="160" y="40"/>
                      </a:lnTo>
                      <a:lnTo>
                        <a:pt x="152" y="32"/>
                      </a:lnTo>
                      <a:lnTo>
                        <a:pt x="176" y="32"/>
                      </a:lnTo>
                      <a:lnTo>
                        <a:pt x="200" y="24"/>
                      </a:lnTo>
                      <a:lnTo>
                        <a:pt x="256" y="16"/>
                      </a:lnTo>
                      <a:lnTo>
                        <a:pt x="256" y="8"/>
                      </a:lnTo>
                      <a:lnTo>
                        <a:pt x="272" y="8"/>
                      </a:lnTo>
                      <a:lnTo>
                        <a:pt x="288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16" name="Freeform 312"/>
                <p:cNvSpPr>
                  <a:spLocks noChangeAspect="1"/>
                </p:cNvSpPr>
                <p:nvPr/>
              </p:nvSpPr>
              <p:spPr bwMode="auto">
                <a:xfrm>
                  <a:off x="3498" y="1429"/>
                  <a:ext cx="84" cy="79"/>
                </a:xfrm>
                <a:custGeom>
                  <a:avLst/>
                  <a:gdLst>
                    <a:gd name="T0" fmla="*/ 1 w 120"/>
                    <a:gd name="T1" fmla="*/ 1 h 112"/>
                    <a:gd name="T2" fmla="*/ 1 w 120"/>
                    <a:gd name="T3" fmla="*/ 0 h 112"/>
                    <a:gd name="T4" fmla="*/ 1 w 120"/>
                    <a:gd name="T5" fmla="*/ 0 h 112"/>
                    <a:gd name="T6" fmla="*/ 1 w 120"/>
                    <a:gd name="T7" fmla="*/ 1 h 112"/>
                    <a:gd name="T8" fmla="*/ 1 w 120"/>
                    <a:gd name="T9" fmla="*/ 1 h 112"/>
                    <a:gd name="T10" fmla="*/ 1 w 120"/>
                    <a:gd name="T11" fmla="*/ 1 h 112"/>
                    <a:gd name="T12" fmla="*/ 1 w 120"/>
                    <a:gd name="T13" fmla="*/ 1 h 112"/>
                    <a:gd name="T14" fmla="*/ 1 w 120"/>
                    <a:gd name="T15" fmla="*/ 1 h 112"/>
                    <a:gd name="T16" fmla="*/ 1 w 120"/>
                    <a:gd name="T17" fmla="*/ 1 h 112"/>
                    <a:gd name="T18" fmla="*/ 0 w 120"/>
                    <a:gd name="T19" fmla="*/ 1 h 112"/>
                    <a:gd name="T20" fmla="*/ 0 w 120"/>
                    <a:gd name="T21" fmla="*/ 1 h 112"/>
                    <a:gd name="T22" fmla="*/ 0 w 120"/>
                    <a:gd name="T23" fmla="*/ 1 h 112"/>
                    <a:gd name="T24" fmla="*/ 1 w 120"/>
                    <a:gd name="T25" fmla="*/ 1 h 112"/>
                    <a:gd name="T26" fmla="*/ 1 w 120"/>
                    <a:gd name="T27" fmla="*/ 1 h 112"/>
                    <a:gd name="T28" fmla="*/ 1 w 120"/>
                    <a:gd name="T29" fmla="*/ 1 h 112"/>
                    <a:gd name="T30" fmla="*/ 1 w 120"/>
                    <a:gd name="T31" fmla="*/ 1 h 112"/>
                    <a:gd name="T32" fmla="*/ 1 w 120"/>
                    <a:gd name="T33" fmla="*/ 1 h 112"/>
                    <a:gd name="T34" fmla="*/ 1 w 120"/>
                    <a:gd name="T35" fmla="*/ 1 h 112"/>
                    <a:gd name="T36" fmla="*/ 1 w 120"/>
                    <a:gd name="T37" fmla="*/ 1 h 112"/>
                    <a:gd name="T38" fmla="*/ 1 w 120"/>
                    <a:gd name="T39" fmla="*/ 1 h 112"/>
                    <a:gd name="T40" fmla="*/ 1 w 120"/>
                    <a:gd name="T41" fmla="*/ 1 h 112"/>
                    <a:gd name="T42" fmla="*/ 1 w 120"/>
                    <a:gd name="T43" fmla="*/ 1 h 112"/>
                    <a:gd name="T44" fmla="*/ 1 w 120"/>
                    <a:gd name="T45" fmla="*/ 1 h 112"/>
                    <a:gd name="T46" fmla="*/ 1 w 120"/>
                    <a:gd name="T47" fmla="*/ 1 h 112"/>
                    <a:gd name="T48" fmla="*/ 1 w 120"/>
                    <a:gd name="T49" fmla="*/ 1 h 112"/>
                    <a:gd name="T50" fmla="*/ 1 w 120"/>
                    <a:gd name="T51" fmla="*/ 1 h 112"/>
                    <a:gd name="T52" fmla="*/ 1 w 120"/>
                    <a:gd name="T53" fmla="*/ 1 h 112"/>
                    <a:gd name="T54" fmla="*/ 1 w 120"/>
                    <a:gd name="T55" fmla="*/ 1 h 112"/>
                    <a:gd name="T56" fmla="*/ 1 w 120"/>
                    <a:gd name="T57" fmla="*/ 1 h 112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20"/>
                    <a:gd name="T88" fmla="*/ 0 h 112"/>
                    <a:gd name="T89" fmla="*/ 120 w 120"/>
                    <a:gd name="T90" fmla="*/ 112 h 112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20" h="112">
                      <a:moveTo>
                        <a:pt x="96" y="8"/>
                      </a:moveTo>
                      <a:lnTo>
                        <a:pt x="80" y="0"/>
                      </a:lnTo>
                      <a:lnTo>
                        <a:pt x="40" y="0"/>
                      </a:lnTo>
                      <a:lnTo>
                        <a:pt x="32" y="16"/>
                      </a:lnTo>
                      <a:lnTo>
                        <a:pt x="24" y="16"/>
                      </a:lnTo>
                      <a:lnTo>
                        <a:pt x="16" y="24"/>
                      </a:lnTo>
                      <a:lnTo>
                        <a:pt x="24" y="32"/>
                      </a:lnTo>
                      <a:lnTo>
                        <a:pt x="24" y="40"/>
                      </a:lnTo>
                      <a:lnTo>
                        <a:pt x="16" y="48"/>
                      </a:lnTo>
                      <a:lnTo>
                        <a:pt x="0" y="48"/>
                      </a:lnTo>
                      <a:lnTo>
                        <a:pt x="0" y="64"/>
                      </a:lnTo>
                      <a:lnTo>
                        <a:pt x="0" y="72"/>
                      </a:lnTo>
                      <a:lnTo>
                        <a:pt x="8" y="80"/>
                      </a:lnTo>
                      <a:lnTo>
                        <a:pt x="16" y="72"/>
                      </a:lnTo>
                      <a:lnTo>
                        <a:pt x="24" y="80"/>
                      </a:lnTo>
                      <a:lnTo>
                        <a:pt x="32" y="80"/>
                      </a:lnTo>
                      <a:lnTo>
                        <a:pt x="48" y="80"/>
                      </a:lnTo>
                      <a:lnTo>
                        <a:pt x="40" y="96"/>
                      </a:lnTo>
                      <a:lnTo>
                        <a:pt x="40" y="104"/>
                      </a:lnTo>
                      <a:lnTo>
                        <a:pt x="56" y="104"/>
                      </a:lnTo>
                      <a:lnTo>
                        <a:pt x="80" y="112"/>
                      </a:lnTo>
                      <a:lnTo>
                        <a:pt x="96" y="112"/>
                      </a:lnTo>
                      <a:lnTo>
                        <a:pt x="112" y="104"/>
                      </a:lnTo>
                      <a:lnTo>
                        <a:pt x="120" y="96"/>
                      </a:lnTo>
                      <a:lnTo>
                        <a:pt x="80" y="80"/>
                      </a:lnTo>
                      <a:lnTo>
                        <a:pt x="72" y="64"/>
                      </a:lnTo>
                      <a:lnTo>
                        <a:pt x="80" y="32"/>
                      </a:lnTo>
                      <a:lnTo>
                        <a:pt x="88" y="32"/>
                      </a:lnTo>
                      <a:lnTo>
                        <a:pt x="96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17" name="Freeform 313"/>
                <p:cNvSpPr>
                  <a:spLocks noChangeAspect="1"/>
                </p:cNvSpPr>
                <p:nvPr/>
              </p:nvSpPr>
              <p:spPr bwMode="auto">
                <a:xfrm>
                  <a:off x="3442" y="1536"/>
                  <a:ext cx="34" cy="17"/>
                </a:xfrm>
                <a:custGeom>
                  <a:avLst/>
                  <a:gdLst>
                    <a:gd name="T0" fmla="*/ 1 w 48"/>
                    <a:gd name="T1" fmla="*/ 0 h 24"/>
                    <a:gd name="T2" fmla="*/ 1 w 48"/>
                    <a:gd name="T3" fmla="*/ 0 h 24"/>
                    <a:gd name="T4" fmla="*/ 1 w 48"/>
                    <a:gd name="T5" fmla="*/ 1 h 24"/>
                    <a:gd name="T6" fmla="*/ 1 w 48"/>
                    <a:gd name="T7" fmla="*/ 1 h 24"/>
                    <a:gd name="T8" fmla="*/ 1 w 48"/>
                    <a:gd name="T9" fmla="*/ 1 h 24"/>
                    <a:gd name="T10" fmla="*/ 1 w 48"/>
                    <a:gd name="T11" fmla="*/ 1 h 24"/>
                    <a:gd name="T12" fmla="*/ 0 w 48"/>
                    <a:gd name="T13" fmla="*/ 1 h 24"/>
                    <a:gd name="T14" fmla="*/ 1 w 48"/>
                    <a:gd name="T15" fmla="*/ 1 h 24"/>
                    <a:gd name="T16" fmla="*/ 1 w 48"/>
                    <a:gd name="T17" fmla="*/ 0 h 2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48"/>
                    <a:gd name="T28" fmla="*/ 0 h 24"/>
                    <a:gd name="T29" fmla="*/ 48 w 48"/>
                    <a:gd name="T30" fmla="*/ 24 h 24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48" h="24">
                      <a:moveTo>
                        <a:pt x="8" y="0"/>
                      </a:moveTo>
                      <a:lnTo>
                        <a:pt x="32" y="0"/>
                      </a:lnTo>
                      <a:lnTo>
                        <a:pt x="40" y="8"/>
                      </a:lnTo>
                      <a:lnTo>
                        <a:pt x="48" y="8"/>
                      </a:lnTo>
                      <a:lnTo>
                        <a:pt x="48" y="16"/>
                      </a:lnTo>
                      <a:lnTo>
                        <a:pt x="32" y="24"/>
                      </a:lnTo>
                      <a:lnTo>
                        <a:pt x="0" y="24"/>
                      </a:lnTo>
                      <a:lnTo>
                        <a:pt x="8" y="16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18" name="Freeform 314"/>
                <p:cNvSpPr>
                  <a:spLocks noChangeAspect="1"/>
                </p:cNvSpPr>
                <p:nvPr/>
              </p:nvSpPr>
              <p:spPr bwMode="auto">
                <a:xfrm>
                  <a:off x="5113" y="1829"/>
                  <a:ext cx="22" cy="16"/>
                </a:xfrm>
                <a:custGeom>
                  <a:avLst/>
                  <a:gdLst>
                    <a:gd name="T0" fmla="*/ 0 w 32"/>
                    <a:gd name="T1" fmla="*/ 1 h 24"/>
                    <a:gd name="T2" fmla="*/ 0 w 32"/>
                    <a:gd name="T3" fmla="*/ 1 h 24"/>
                    <a:gd name="T4" fmla="*/ 1 w 32"/>
                    <a:gd name="T5" fmla="*/ 1 h 24"/>
                    <a:gd name="T6" fmla="*/ 1 w 32"/>
                    <a:gd name="T7" fmla="*/ 1 h 24"/>
                    <a:gd name="T8" fmla="*/ 1 w 32"/>
                    <a:gd name="T9" fmla="*/ 0 h 24"/>
                    <a:gd name="T10" fmla="*/ 1 w 32"/>
                    <a:gd name="T11" fmla="*/ 1 h 24"/>
                    <a:gd name="T12" fmla="*/ 1 w 32"/>
                    <a:gd name="T13" fmla="*/ 1 h 24"/>
                    <a:gd name="T14" fmla="*/ 0 w 32"/>
                    <a:gd name="T15" fmla="*/ 1 h 2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32"/>
                    <a:gd name="T25" fmla="*/ 0 h 24"/>
                    <a:gd name="T26" fmla="*/ 32 w 32"/>
                    <a:gd name="T27" fmla="*/ 24 h 2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32" h="24">
                      <a:moveTo>
                        <a:pt x="0" y="24"/>
                      </a:moveTo>
                      <a:lnTo>
                        <a:pt x="0" y="16"/>
                      </a:lnTo>
                      <a:lnTo>
                        <a:pt x="8" y="16"/>
                      </a:lnTo>
                      <a:lnTo>
                        <a:pt x="8" y="8"/>
                      </a:lnTo>
                      <a:lnTo>
                        <a:pt x="24" y="0"/>
                      </a:lnTo>
                      <a:lnTo>
                        <a:pt x="32" y="16"/>
                      </a:lnTo>
                      <a:lnTo>
                        <a:pt x="8" y="24"/>
                      </a:lnTo>
                      <a:lnTo>
                        <a:pt x="0" y="24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19" name="Freeform 315"/>
                <p:cNvSpPr>
                  <a:spLocks noChangeAspect="1"/>
                </p:cNvSpPr>
                <p:nvPr/>
              </p:nvSpPr>
              <p:spPr bwMode="auto">
                <a:xfrm>
                  <a:off x="5147" y="1930"/>
                  <a:ext cx="17" cy="17"/>
                </a:xfrm>
                <a:custGeom>
                  <a:avLst/>
                  <a:gdLst>
                    <a:gd name="T0" fmla="*/ 0 w 24"/>
                    <a:gd name="T1" fmla="*/ 1 h 24"/>
                    <a:gd name="T2" fmla="*/ 1 w 24"/>
                    <a:gd name="T3" fmla="*/ 0 h 24"/>
                    <a:gd name="T4" fmla="*/ 1 w 24"/>
                    <a:gd name="T5" fmla="*/ 0 h 24"/>
                    <a:gd name="T6" fmla="*/ 1 w 24"/>
                    <a:gd name="T7" fmla="*/ 1 h 24"/>
                    <a:gd name="T8" fmla="*/ 1 w 24"/>
                    <a:gd name="T9" fmla="*/ 1 h 24"/>
                    <a:gd name="T10" fmla="*/ 0 w 24"/>
                    <a:gd name="T11" fmla="*/ 1 h 2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4"/>
                    <a:gd name="T19" fmla="*/ 0 h 24"/>
                    <a:gd name="T20" fmla="*/ 24 w 24"/>
                    <a:gd name="T21" fmla="*/ 24 h 2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4" h="24">
                      <a:moveTo>
                        <a:pt x="0" y="8"/>
                      </a:moveTo>
                      <a:lnTo>
                        <a:pt x="8" y="0"/>
                      </a:lnTo>
                      <a:lnTo>
                        <a:pt x="16" y="0"/>
                      </a:lnTo>
                      <a:lnTo>
                        <a:pt x="24" y="24"/>
                      </a:lnTo>
                      <a:lnTo>
                        <a:pt x="16" y="24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20" name="Freeform 316"/>
                <p:cNvSpPr>
                  <a:spLocks noChangeAspect="1"/>
                </p:cNvSpPr>
                <p:nvPr/>
              </p:nvSpPr>
              <p:spPr bwMode="auto">
                <a:xfrm>
                  <a:off x="5169" y="1941"/>
                  <a:ext cx="17" cy="11"/>
                </a:xfrm>
                <a:custGeom>
                  <a:avLst/>
                  <a:gdLst>
                    <a:gd name="T0" fmla="*/ 0 w 24"/>
                    <a:gd name="T1" fmla="*/ 0 h 16"/>
                    <a:gd name="T2" fmla="*/ 1 w 24"/>
                    <a:gd name="T3" fmla="*/ 0 h 16"/>
                    <a:gd name="T4" fmla="*/ 1 w 24"/>
                    <a:gd name="T5" fmla="*/ 1 h 16"/>
                    <a:gd name="T6" fmla="*/ 1 w 24"/>
                    <a:gd name="T7" fmla="*/ 1 h 16"/>
                    <a:gd name="T8" fmla="*/ 1 w 24"/>
                    <a:gd name="T9" fmla="*/ 1 h 16"/>
                    <a:gd name="T10" fmla="*/ 0 w 24"/>
                    <a:gd name="T11" fmla="*/ 0 h 1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4"/>
                    <a:gd name="T19" fmla="*/ 0 h 16"/>
                    <a:gd name="T20" fmla="*/ 24 w 24"/>
                    <a:gd name="T21" fmla="*/ 16 h 1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4" h="16">
                      <a:moveTo>
                        <a:pt x="0" y="0"/>
                      </a:moveTo>
                      <a:lnTo>
                        <a:pt x="16" y="0"/>
                      </a:lnTo>
                      <a:lnTo>
                        <a:pt x="24" y="8"/>
                      </a:lnTo>
                      <a:lnTo>
                        <a:pt x="16" y="16"/>
                      </a:lnTo>
                      <a:lnTo>
                        <a:pt x="8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21" name="Freeform 317"/>
                <p:cNvSpPr>
                  <a:spLocks noChangeAspect="1"/>
                </p:cNvSpPr>
                <p:nvPr/>
              </p:nvSpPr>
              <p:spPr bwMode="auto">
                <a:xfrm>
                  <a:off x="5524" y="1980"/>
                  <a:ext cx="11" cy="12"/>
                </a:xfrm>
                <a:custGeom>
                  <a:avLst/>
                  <a:gdLst>
                    <a:gd name="T0" fmla="*/ 1 w 16"/>
                    <a:gd name="T1" fmla="*/ 2 h 16"/>
                    <a:gd name="T2" fmla="*/ 1 w 16"/>
                    <a:gd name="T3" fmla="*/ 0 h 16"/>
                    <a:gd name="T4" fmla="*/ 0 w 16"/>
                    <a:gd name="T5" fmla="*/ 2 h 16"/>
                    <a:gd name="T6" fmla="*/ 1 w 16"/>
                    <a:gd name="T7" fmla="*/ 2 h 16"/>
                    <a:gd name="T8" fmla="*/ 1 w 16"/>
                    <a:gd name="T9" fmla="*/ 2 h 1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6"/>
                    <a:gd name="T16" fmla="*/ 0 h 16"/>
                    <a:gd name="T17" fmla="*/ 16 w 16"/>
                    <a:gd name="T18" fmla="*/ 16 h 1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6" h="16">
                      <a:moveTo>
                        <a:pt x="16" y="8"/>
                      </a:moveTo>
                      <a:lnTo>
                        <a:pt x="16" y="0"/>
                      </a:lnTo>
                      <a:lnTo>
                        <a:pt x="0" y="16"/>
                      </a:lnTo>
                      <a:lnTo>
                        <a:pt x="8" y="16"/>
                      </a:lnTo>
                      <a:lnTo>
                        <a:pt x="16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22" name="Freeform 318"/>
                <p:cNvSpPr>
                  <a:spLocks noChangeAspect="1"/>
                </p:cNvSpPr>
                <p:nvPr/>
              </p:nvSpPr>
              <p:spPr bwMode="auto">
                <a:xfrm>
                  <a:off x="5501" y="1992"/>
                  <a:ext cx="17" cy="17"/>
                </a:xfrm>
                <a:custGeom>
                  <a:avLst/>
                  <a:gdLst>
                    <a:gd name="T0" fmla="*/ 1 w 24"/>
                    <a:gd name="T1" fmla="*/ 0 h 24"/>
                    <a:gd name="T2" fmla="*/ 0 w 24"/>
                    <a:gd name="T3" fmla="*/ 1 h 24"/>
                    <a:gd name="T4" fmla="*/ 0 w 24"/>
                    <a:gd name="T5" fmla="*/ 1 h 24"/>
                    <a:gd name="T6" fmla="*/ 0 w 24"/>
                    <a:gd name="T7" fmla="*/ 1 h 24"/>
                    <a:gd name="T8" fmla="*/ 1 w 24"/>
                    <a:gd name="T9" fmla="*/ 0 h 24"/>
                    <a:gd name="T10" fmla="*/ 1 w 24"/>
                    <a:gd name="T11" fmla="*/ 0 h 24"/>
                    <a:gd name="T12" fmla="*/ 1 w 24"/>
                    <a:gd name="T13" fmla="*/ 0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4"/>
                    <a:gd name="T22" fmla="*/ 0 h 24"/>
                    <a:gd name="T23" fmla="*/ 24 w 24"/>
                    <a:gd name="T24" fmla="*/ 24 h 2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4" h="24">
                      <a:moveTo>
                        <a:pt x="24" y="0"/>
                      </a:moveTo>
                      <a:lnTo>
                        <a:pt x="0" y="24"/>
                      </a:lnTo>
                      <a:lnTo>
                        <a:pt x="0" y="16"/>
                      </a:lnTo>
                      <a:lnTo>
                        <a:pt x="0" y="8"/>
                      </a:lnTo>
                      <a:lnTo>
                        <a:pt x="8" y="0"/>
                      </a:lnTo>
                      <a:lnTo>
                        <a:pt x="16" y="0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23" name="Freeform 319"/>
                <p:cNvSpPr>
                  <a:spLocks noChangeAspect="1"/>
                </p:cNvSpPr>
                <p:nvPr/>
              </p:nvSpPr>
              <p:spPr bwMode="auto">
                <a:xfrm>
                  <a:off x="5406" y="2020"/>
                  <a:ext cx="16" cy="11"/>
                </a:xfrm>
                <a:custGeom>
                  <a:avLst/>
                  <a:gdLst>
                    <a:gd name="T0" fmla="*/ 1 w 24"/>
                    <a:gd name="T1" fmla="*/ 0 h 16"/>
                    <a:gd name="T2" fmla="*/ 1 w 24"/>
                    <a:gd name="T3" fmla="*/ 1 h 16"/>
                    <a:gd name="T4" fmla="*/ 1 w 24"/>
                    <a:gd name="T5" fmla="*/ 1 h 16"/>
                    <a:gd name="T6" fmla="*/ 0 w 24"/>
                    <a:gd name="T7" fmla="*/ 1 h 16"/>
                    <a:gd name="T8" fmla="*/ 1 w 24"/>
                    <a:gd name="T9" fmla="*/ 1 h 16"/>
                    <a:gd name="T10" fmla="*/ 1 w 24"/>
                    <a:gd name="T11" fmla="*/ 0 h 16"/>
                    <a:gd name="T12" fmla="*/ 1 w 24"/>
                    <a:gd name="T13" fmla="*/ 0 h 16"/>
                    <a:gd name="T14" fmla="*/ 1 w 24"/>
                    <a:gd name="T15" fmla="*/ 0 h 1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4"/>
                    <a:gd name="T25" fmla="*/ 0 h 16"/>
                    <a:gd name="T26" fmla="*/ 24 w 24"/>
                    <a:gd name="T27" fmla="*/ 16 h 1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4" h="16">
                      <a:moveTo>
                        <a:pt x="24" y="0"/>
                      </a:moveTo>
                      <a:lnTo>
                        <a:pt x="24" y="8"/>
                      </a:lnTo>
                      <a:lnTo>
                        <a:pt x="8" y="16"/>
                      </a:lnTo>
                      <a:lnTo>
                        <a:pt x="0" y="8"/>
                      </a:lnTo>
                      <a:lnTo>
                        <a:pt x="8" y="8"/>
                      </a:lnTo>
                      <a:lnTo>
                        <a:pt x="16" y="0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24" name="Freeform 320"/>
                <p:cNvSpPr>
                  <a:spLocks noChangeAspect="1"/>
                </p:cNvSpPr>
                <p:nvPr/>
              </p:nvSpPr>
              <p:spPr bwMode="auto">
                <a:xfrm>
                  <a:off x="5422" y="2025"/>
                  <a:ext cx="12" cy="6"/>
                </a:xfrm>
                <a:custGeom>
                  <a:avLst/>
                  <a:gdLst>
                    <a:gd name="T0" fmla="*/ 0 w 16"/>
                    <a:gd name="T1" fmla="*/ 2 h 8"/>
                    <a:gd name="T2" fmla="*/ 2 w 16"/>
                    <a:gd name="T3" fmla="*/ 0 h 8"/>
                    <a:gd name="T4" fmla="*/ 2 w 16"/>
                    <a:gd name="T5" fmla="*/ 0 h 8"/>
                    <a:gd name="T6" fmla="*/ 0 w 16"/>
                    <a:gd name="T7" fmla="*/ 2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6"/>
                    <a:gd name="T13" fmla="*/ 0 h 8"/>
                    <a:gd name="T14" fmla="*/ 16 w 16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6" h="8">
                      <a:moveTo>
                        <a:pt x="0" y="8"/>
                      </a:moveTo>
                      <a:lnTo>
                        <a:pt x="8" y="0"/>
                      </a:lnTo>
                      <a:lnTo>
                        <a:pt x="16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25" name="Freeform 321"/>
                <p:cNvSpPr>
                  <a:spLocks noChangeAspect="1"/>
                </p:cNvSpPr>
                <p:nvPr/>
              </p:nvSpPr>
              <p:spPr bwMode="auto">
                <a:xfrm>
                  <a:off x="5366" y="2031"/>
                  <a:ext cx="11" cy="6"/>
                </a:xfrm>
                <a:custGeom>
                  <a:avLst/>
                  <a:gdLst>
                    <a:gd name="T0" fmla="*/ 0 w 16"/>
                    <a:gd name="T1" fmla="*/ 0 h 8"/>
                    <a:gd name="T2" fmla="*/ 1 w 16"/>
                    <a:gd name="T3" fmla="*/ 0 h 8"/>
                    <a:gd name="T4" fmla="*/ 1 w 16"/>
                    <a:gd name="T5" fmla="*/ 0 h 8"/>
                    <a:gd name="T6" fmla="*/ 1 w 16"/>
                    <a:gd name="T7" fmla="*/ 2 h 8"/>
                    <a:gd name="T8" fmla="*/ 0 w 16"/>
                    <a:gd name="T9" fmla="*/ 2 h 8"/>
                    <a:gd name="T10" fmla="*/ 0 w 16"/>
                    <a:gd name="T11" fmla="*/ 0 h 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6"/>
                    <a:gd name="T19" fmla="*/ 0 h 8"/>
                    <a:gd name="T20" fmla="*/ 16 w 16"/>
                    <a:gd name="T21" fmla="*/ 8 h 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6" h="8">
                      <a:moveTo>
                        <a:pt x="0" y="0"/>
                      </a:moveTo>
                      <a:lnTo>
                        <a:pt x="8" y="0"/>
                      </a:lnTo>
                      <a:lnTo>
                        <a:pt x="16" y="0"/>
                      </a:lnTo>
                      <a:lnTo>
                        <a:pt x="16" y="8"/>
                      </a:lnTo>
                      <a:lnTo>
                        <a:pt x="0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26" name="Freeform 322"/>
                <p:cNvSpPr>
                  <a:spLocks noChangeAspect="1"/>
                </p:cNvSpPr>
                <p:nvPr/>
              </p:nvSpPr>
              <p:spPr bwMode="auto">
                <a:xfrm>
                  <a:off x="5383" y="2031"/>
                  <a:ext cx="6" cy="6"/>
                </a:xfrm>
                <a:custGeom>
                  <a:avLst/>
                  <a:gdLst>
                    <a:gd name="T0" fmla="*/ 0 w 8"/>
                    <a:gd name="T1" fmla="*/ 0 h 8"/>
                    <a:gd name="T2" fmla="*/ 0 w 8"/>
                    <a:gd name="T3" fmla="*/ 2 h 8"/>
                    <a:gd name="T4" fmla="*/ 2 w 8"/>
                    <a:gd name="T5" fmla="*/ 0 h 8"/>
                    <a:gd name="T6" fmla="*/ 0 w 8"/>
                    <a:gd name="T7" fmla="*/ 0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8"/>
                    <a:gd name="T14" fmla="*/ 8 w 8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8">
                      <a:moveTo>
                        <a:pt x="0" y="0"/>
                      </a:moveTo>
                      <a:lnTo>
                        <a:pt x="0" y="8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27" name="Freeform 323"/>
                <p:cNvSpPr>
                  <a:spLocks noChangeAspect="1"/>
                </p:cNvSpPr>
                <p:nvPr/>
              </p:nvSpPr>
              <p:spPr bwMode="auto">
                <a:xfrm>
                  <a:off x="5321" y="2031"/>
                  <a:ext cx="11" cy="11"/>
                </a:xfrm>
                <a:custGeom>
                  <a:avLst/>
                  <a:gdLst>
                    <a:gd name="T0" fmla="*/ 1 w 16"/>
                    <a:gd name="T1" fmla="*/ 0 h 16"/>
                    <a:gd name="T2" fmla="*/ 1 w 16"/>
                    <a:gd name="T3" fmla="*/ 1 h 16"/>
                    <a:gd name="T4" fmla="*/ 1 w 16"/>
                    <a:gd name="T5" fmla="*/ 1 h 16"/>
                    <a:gd name="T6" fmla="*/ 0 w 16"/>
                    <a:gd name="T7" fmla="*/ 1 h 16"/>
                    <a:gd name="T8" fmla="*/ 0 w 16"/>
                    <a:gd name="T9" fmla="*/ 0 h 16"/>
                    <a:gd name="T10" fmla="*/ 1 w 16"/>
                    <a:gd name="T11" fmla="*/ 0 h 1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6"/>
                    <a:gd name="T19" fmla="*/ 0 h 16"/>
                    <a:gd name="T20" fmla="*/ 16 w 16"/>
                    <a:gd name="T21" fmla="*/ 16 h 1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6" h="16">
                      <a:moveTo>
                        <a:pt x="8" y="0"/>
                      </a:moveTo>
                      <a:lnTo>
                        <a:pt x="16" y="8"/>
                      </a:lnTo>
                      <a:lnTo>
                        <a:pt x="8" y="16"/>
                      </a:ln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28" name="Freeform 324"/>
                <p:cNvSpPr>
                  <a:spLocks noChangeAspect="1"/>
                </p:cNvSpPr>
                <p:nvPr/>
              </p:nvSpPr>
              <p:spPr bwMode="auto">
                <a:xfrm>
                  <a:off x="5299" y="2020"/>
                  <a:ext cx="11" cy="11"/>
                </a:xfrm>
                <a:custGeom>
                  <a:avLst/>
                  <a:gdLst>
                    <a:gd name="T0" fmla="*/ 1 w 16"/>
                    <a:gd name="T1" fmla="*/ 0 h 16"/>
                    <a:gd name="T2" fmla="*/ 1 w 16"/>
                    <a:gd name="T3" fmla="*/ 0 h 16"/>
                    <a:gd name="T4" fmla="*/ 1 w 16"/>
                    <a:gd name="T5" fmla="*/ 1 h 16"/>
                    <a:gd name="T6" fmla="*/ 1 w 16"/>
                    <a:gd name="T7" fmla="*/ 1 h 16"/>
                    <a:gd name="T8" fmla="*/ 0 w 16"/>
                    <a:gd name="T9" fmla="*/ 1 h 16"/>
                    <a:gd name="T10" fmla="*/ 1 w 16"/>
                    <a:gd name="T11" fmla="*/ 1 h 16"/>
                    <a:gd name="T12" fmla="*/ 1 w 16"/>
                    <a:gd name="T13" fmla="*/ 0 h 1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6"/>
                    <a:gd name="T22" fmla="*/ 0 h 16"/>
                    <a:gd name="T23" fmla="*/ 16 w 16"/>
                    <a:gd name="T24" fmla="*/ 16 h 1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6" h="16">
                      <a:moveTo>
                        <a:pt x="8" y="0"/>
                      </a:moveTo>
                      <a:lnTo>
                        <a:pt x="16" y="0"/>
                      </a:lnTo>
                      <a:lnTo>
                        <a:pt x="8" y="8"/>
                      </a:lnTo>
                      <a:lnTo>
                        <a:pt x="8" y="16"/>
                      </a:lnTo>
                      <a:lnTo>
                        <a:pt x="0" y="8"/>
                      </a:lnTo>
                      <a:lnTo>
                        <a:pt x="8" y="8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29" name="Freeform 325"/>
                <p:cNvSpPr>
                  <a:spLocks noChangeAspect="1"/>
                </p:cNvSpPr>
                <p:nvPr/>
              </p:nvSpPr>
              <p:spPr bwMode="auto">
                <a:xfrm>
                  <a:off x="5231" y="2003"/>
                  <a:ext cx="11" cy="6"/>
                </a:xfrm>
                <a:custGeom>
                  <a:avLst/>
                  <a:gdLst>
                    <a:gd name="T0" fmla="*/ 0 w 16"/>
                    <a:gd name="T1" fmla="*/ 0 h 8"/>
                    <a:gd name="T2" fmla="*/ 1 w 16"/>
                    <a:gd name="T3" fmla="*/ 0 h 8"/>
                    <a:gd name="T4" fmla="*/ 1 w 16"/>
                    <a:gd name="T5" fmla="*/ 2 h 8"/>
                    <a:gd name="T6" fmla="*/ 1 w 16"/>
                    <a:gd name="T7" fmla="*/ 2 h 8"/>
                    <a:gd name="T8" fmla="*/ 1 w 16"/>
                    <a:gd name="T9" fmla="*/ 0 h 8"/>
                    <a:gd name="T10" fmla="*/ 0 w 16"/>
                    <a:gd name="T11" fmla="*/ 0 h 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6"/>
                    <a:gd name="T19" fmla="*/ 0 h 8"/>
                    <a:gd name="T20" fmla="*/ 16 w 16"/>
                    <a:gd name="T21" fmla="*/ 8 h 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6" h="8">
                      <a:moveTo>
                        <a:pt x="0" y="0"/>
                      </a:moveTo>
                      <a:lnTo>
                        <a:pt x="8" y="0"/>
                      </a:lnTo>
                      <a:lnTo>
                        <a:pt x="16" y="8"/>
                      </a:lnTo>
                      <a:lnTo>
                        <a:pt x="8" y="8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30" name="Freeform 326"/>
                <p:cNvSpPr>
                  <a:spLocks noChangeAspect="1"/>
                </p:cNvSpPr>
                <p:nvPr/>
              </p:nvSpPr>
              <p:spPr bwMode="auto">
                <a:xfrm>
                  <a:off x="5242" y="2014"/>
                  <a:ext cx="12" cy="6"/>
                </a:xfrm>
                <a:custGeom>
                  <a:avLst/>
                  <a:gdLst>
                    <a:gd name="T0" fmla="*/ 0 w 16"/>
                    <a:gd name="T1" fmla="*/ 0 h 8"/>
                    <a:gd name="T2" fmla="*/ 2 w 16"/>
                    <a:gd name="T3" fmla="*/ 0 h 8"/>
                    <a:gd name="T4" fmla="*/ 2 w 16"/>
                    <a:gd name="T5" fmla="*/ 2 h 8"/>
                    <a:gd name="T6" fmla="*/ 0 w 16"/>
                    <a:gd name="T7" fmla="*/ 2 h 8"/>
                    <a:gd name="T8" fmla="*/ 0 w 16"/>
                    <a:gd name="T9" fmla="*/ 0 h 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6"/>
                    <a:gd name="T16" fmla="*/ 0 h 8"/>
                    <a:gd name="T17" fmla="*/ 16 w 16"/>
                    <a:gd name="T18" fmla="*/ 8 h 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6" h="8">
                      <a:moveTo>
                        <a:pt x="0" y="0"/>
                      </a:moveTo>
                      <a:lnTo>
                        <a:pt x="8" y="0"/>
                      </a:lnTo>
                      <a:lnTo>
                        <a:pt x="16" y="8"/>
                      </a:lnTo>
                      <a:lnTo>
                        <a:pt x="0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31" name="Freeform 327"/>
                <p:cNvSpPr>
                  <a:spLocks noChangeAspect="1"/>
                </p:cNvSpPr>
                <p:nvPr/>
              </p:nvSpPr>
              <p:spPr bwMode="auto">
                <a:xfrm>
                  <a:off x="3374" y="2234"/>
                  <a:ext cx="57" cy="45"/>
                </a:xfrm>
                <a:custGeom>
                  <a:avLst/>
                  <a:gdLst>
                    <a:gd name="T0" fmla="*/ 1 w 80"/>
                    <a:gd name="T1" fmla="*/ 1 h 64"/>
                    <a:gd name="T2" fmla="*/ 1 w 80"/>
                    <a:gd name="T3" fmla="*/ 1 h 64"/>
                    <a:gd name="T4" fmla="*/ 1 w 80"/>
                    <a:gd name="T5" fmla="*/ 1 h 64"/>
                    <a:gd name="T6" fmla="*/ 1 w 80"/>
                    <a:gd name="T7" fmla="*/ 1 h 64"/>
                    <a:gd name="T8" fmla="*/ 1 w 80"/>
                    <a:gd name="T9" fmla="*/ 1 h 64"/>
                    <a:gd name="T10" fmla="*/ 0 w 80"/>
                    <a:gd name="T11" fmla="*/ 0 h 64"/>
                    <a:gd name="T12" fmla="*/ 1 w 80"/>
                    <a:gd name="T13" fmla="*/ 1 h 64"/>
                    <a:gd name="T14" fmla="*/ 1 w 80"/>
                    <a:gd name="T15" fmla="*/ 1 h 64"/>
                    <a:gd name="T16" fmla="*/ 1 w 80"/>
                    <a:gd name="T17" fmla="*/ 1 h 64"/>
                    <a:gd name="T18" fmla="*/ 1 w 80"/>
                    <a:gd name="T19" fmla="*/ 1 h 64"/>
                    <a:gd name="T20" fmla="*/ 1 w 80"/>
                    <a:gd name="T21" fmla="*/ 1 h 64"/>
                    <a:gd name="T22" fmla="*/ 1 w 80"/>
                    <a:gd name="T23" fmla="*/ 1 h 64"/>
                    <a:gd name="T24" fmla="*/ 1 w 80"/>
                    <a:gd name="T25" fmla="*/ 1 h 64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0"/>
                    <a:gd name="T40" fmla="*/ 0 h 64"/>
                    <a:gd name="T41" fmla="*/ 80 w 80"/>
                    <a:gd name="T42" fmla="*/ 64 h 64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0" h="64">
                      <a:moveTo>
                        <a:pt x="80" y="64"/>
                      </a:moveTo>
                      <a:lnTo>
                        <a:pt x="64" y="40"/>
                      </a:lnTo>
                      <a:lnTo>
                        <a:pt x="56" y="32"/>
                      </a:lnTo>
                      <a:lnTo>
                        <a:pt x="48" y="16"/>
                      </a:lnTo>
                      <a:lnTo>
                        <a:pt x="24" y="8"/>
                      </a:lnTo>
                      <a:lnTo>
                        <a:pt x="0" y="0"/>
                      </a:lnTo>
                      <a:lnTo>
                        <a:pt x="16" y="24"/>
                      </a:lnTo>
                      <a:lnTo>
                        <a:pt x="16" y="40"/>
                      </a:lnTo>
                      <a:lnTo>
                        <a:pt x="32" y="48"/>
                      </a:lnTo>
                      <a:lnTo>
                        <a:pt x="32" y="56"/>
                      </a:lnTo>
                      <a:lnTo>
                        <a:pt x="48" y="56"/>
                      </a:lnTo>
                      <a:lnTo>
                        <a:pt x="72" y="64"/>
                      </a:lnTo>
                      <a:lnTo>
                        <a:pt x="80" y="64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32" name="Freeform 328"/>
                <p:cNvSpPr>
                  <a:spLocks noChangeAspect="1"/>
                </p:cNvSpPr>
                <p:nvPr/>
              </p:nvSpPr>
              <p:spPr bwMode="auto">
                <a:xfrm>
                  <a:off x="3554" y="2155"/>
                  <a:ext cx="248" cy="157"/>
                </a:xfrm>
                <a:custGeom>
                  <a:avLst/>
                  <a:gdLst>
                    <a:gd name="T0" fmla="*/ 1 w 352"/>
                    <a:gd name="T1" fmla="*/ 1 h 224"/>
                    <a:gd name="T2" fmla="*/ 1 w 352"/>
                    <a:gd name="T3" fmla="*/ 1 h 224"/>
                    <a:gd name="T4" fmla="*/ 1 w 352"/>
                    <a:gd name="T5" fmla="*/ 1 h 224"/>
                    <a:gd name="T6" fmla="*/ 1 w 352"/>
                    <a:gd name="T7" fmla="*/ 1 h 224"/>
                    <a:gd name="T8" fmla="*/ 1 w 352"/>
                    <a:gd name="T9" fmla="*/ 1 h 224"/>
                    <a:gd name="T10" fmla="*/ 1 w 352"/>
                    <a:gd name="T11" fmla="*/ 1 h 224"/>
                    <a:gd name="T12" fmla="*/ 1 w 352"/>
                    <a:gd name="T13" fmla="*/ 1 h 224"/>
                    <a:gd name="T14" fmla="*/ 1 w 352"/>
                    <a:gd name="T15" fmla="*/ 1 h 224"/>
                    <a:gd name="T16" fmla="*/ 1 w 352"/>
                    <a:gd name="T17" fmla="*/ 1 h 224"/>
                    <a:gd name="T18" fmla="*/ 1 w 352"/>
                    <a:gd name="T19" fmla="*/ 1 h 224"/>
                    <a:gd name="T20" fmla="*/ 1 w 352"/>
                    <a:gd name="T21" fmla="*/ 1 h 224"/>
                    <a:gd name="T22" fmla="*/ 1 w 352"/>
                    <a:gd name="T23" fmla="*/ 1 h 224"/>
                    <a:gd name="T24" fmla="*/ 1 w 352"/>
                    <a:gd name="T25" fmla="*/ 1 h 224"/>
                    <a:gd name="T26" fmla="*/ 1 w 352"/>
                    <a:gd name="T27" fmla="*/ 1 h 224"/>
                    <a:gd name="T28" fmla="*/ 1 w 352"/>
                    <a:gd name="T29" fmla="*/ 1 h 224"/>
                    <a:gd name="T30" fmla="*/ 1 w 352"/>
                    <a:gd name="T31" fmla="*/ 1 h 224"/>
                    <a:gd name="T32" fmla="*/ 1 w 352"/>
                    <a:gd name="T33" fmla="*/ 1 h 224"/>
                    <a:gd name="T34" fmla="*/ 1 w 352"/>
                    <a:gd name="T35" fmla="*/ 1 h 224"/>
                    <a:gd name="T36" fmla="*/ 1 w 352"/>
                    <a:gd name="T37" fmla="*/ 1 h 224"/>
                    <a:gd name="T38" fmla="*/ 1 w 352"/>
                    <a:gd name="T39" fmla="*/ 1 h 224"/>
                    <a:gd name="T40" fmla="*/ 1 w 352"/>
                    <a:gd name="T41" fmla="*/ 1 h 224"/>
                    <a:gd name="T42" fmla="*/ 1 w 352"/>
                    <a:gd name="T43" fmla="*/ 1 h 224"/>
                    <a:gd name="T44" fmla="*/ 1 w 352"/>
                    <a:gd name="T45" fmla="*/ 1 h 224"/>
                    <a:gd name="T46" fmla="*/ 1 w 352"/>
                    <a:gd name="T47" fmla="*/ 1 h 224"/>
                    <a:gd name="T48" fmla="*/ 1 w 352"/>
                    <a:gd name="T49" fmla="*/ 1 h 224"/>
                    <a:gd name="T50" fmla="*/ 1 w 352"/>
                    <a:gd name="T51" fmla="*/ 1 h 224"/>
                    <a:gd name="T52" fmla="*/ 1 w 352"/>
                    <a:gd name="T53" fmla="*/ 1 h 224"/>
                    <a:gd name="T54" fmla="*/ 1 w 352"/>
                    <a:gd name="T55" fmla="*/ 1 h 224"/>
                    <a:gd name="T56" fmla="*/ 1 w 352"/>
                    <a:gd name="T57" fmla="*/ 1 h 224"/>
                    <a:gd name="T58" fmla="*/ 1 w 352"/>
                    <a:gd name="T59" fmla="*/ 1 h 224"/>
                    <a:gd name="T60" fmla="*/ 1 w 352"/>
                    <a:gd name="T61" fmla="*/ 1 h 224"/>
                    <a:gd name="T62" fmla="*/ 1 w 352"/>
                    <a:gd name="T63" fmla="*/ 1 h 224"/>
                    <a:gd name="T64" fmla="*/ 1 w 352"/>
                    <a:gd name="T65" fmla="*/ 1 h 224"/>
                    <a:gd name="T66" fmla="*/ 1 w 352"/>
                    <a:gd name="T67" fmla="*/ 1 h 224"/>
                    <a:gd name="T68" fmla="*/ 1 w 352"/>
                    <a:gd name="T69" fmla="*/ 1 h 224"/>
                    <a:gd name="T70" fmla="*/ 1 w 352"/>
                    <a:gd name="T71" fmla="*/ 1 h 224"/>
                    <a:gd name="T72" fmla="*/ 1 w 352"/>
                    <a:gd name="T73" fmla="*/ 1 h 224"/>
                    <a:gd name="T74" fmla="*/ 1 w 352"/>
                    <a:gd name="T75" fmla="*/ 1 h 224"/>
                    <a:gd name="T76" fmla="*/ 1 w 352"/>
                    <a:gd name="T77" fmla="*/ 0 h 224"/>
                    <a:gd name="T78" fmla="*/ 0 w 352"/>
                    <a:gd name="T79" fmla="*/ 1 h 224"/>
                    <a:gd name="T80" fmla="*/ 1 w 352"/>
                    <a:gd name="T81" fmla="*/ 1 h 224"/>
                    <a:gd name="T82" fmla="*/ 1 w 352"/>
                    <a:gd name="T83" fmla="*/ 1 h 224"/>
                    <a:gd name="T84" fmla="*/ 1 w 352"/>
                    <a:gd name="T85" fmla="*/ 1 h 224"/>
                    <a:gd name="T86" fmla="*/ 1 w 352"/>
                    <a:gd name="T87" fmla="*/ 1 h 224"/>
                    <a:gd name="T88" fmla="*/ 1 w 352"/>
                    <a:gd name="T89" fmla="*/ 1 h 224"/>
                    <a:gd name="T90" fmla="*/ 1 w 352"/>
                    <a:gd name="T91" fmla="*/ 1 h 224"/>
                    <a:gd name="T92" fmla="*/ 1 w 352"/>
                    <a:gd name="T93" fmla="*/ 1 h 224"/>
                    <a:gd name="T94" fmla="*/ 1 w 352"/>
                    <a:gd name="T95" fmla="*/ 1 h 224"/>
                    <a:gd name="T96" fmla="*/ 1 w 352"/>
                    <a:gd name="T97" fmla="*/ 1 h 224"/>
                    <a:gd name="T98" fmla="*/ 1 w 352"/>
                    <a:gd name="T99" fmla="*/ 1 h 224"/>
                    <a:gd name="T100" fmla="*/ 1 w 352"/>
                    <a:gd name="T101" fmla="*/ 1 h 224"/>
                    <a:gd name="T102" fmla="*/ 1 w 352"/>
                    <a:gd name="T103" fmla="*/ 1 h 224"/>
                    <a:gd name="T104" fmla="*/ 1 w 352"/>
                    <a:gd name="T105" fmla="*/ 1 h 224"/>
                    <a:gd name="T106" fmla="*/ 1 w 352"/>
                    <a:gd name="T107" fmla="*/ 1 h 224"/>
                    <a:gd name="T108" fmla="*/ 1 w 352"/>
                    <a:gd name="T109" fmla="*/ 1 h 224"/>
                    <a:gd name="T110" fmla="*/ 1 w 352"/>
                    <a:gd name="T111" fmla="*/ 1 h 224"/>
                    <a:gd name="T112" fmla="*/ 1 w 352"/>
                    <a:gd name="T113" fmla="*/ 1 h 224"/>
                    <a:gd name="T114" fmla="*/ 1 w 352"/>
                    <a:gd name="T115" fmla="*/ 1 h 224"/>
                    <a:gd name="T116" fmla="*/ 1 w 352"/>
                    <a:gd name="T117" fmla="*/ 1 h 224"/>
                    <a:gd name="T118" fmla="*/ 1 w 352"/>
                    <a:gd name="T119" fmla="*/ 1 h 224"/>
                    <a:gd name="T120" fmla="*/ 1 w 352"/>
                    <a:gd name="T121" fmla="*/ 1 h 224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352"/>
                    <a:gd name="T184" fmla="*/ 0 h 224"/>
                    <a:gd name="T185" fmla="*/ 352 w 352"/>
                    <a:gd name="T186" fmla="*/ 224 h 224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352" h="224">
                      <a:moveTo>
                        <a:pt x="256" y="224"/>
                      </a:moveTo>
                      <a:lnTo>
                        <a:pt x="256" y="208"/>
                      </a:lnTo>
                      <a:lnTo>
                        <a:pt x="264" y="192"/>
                      </a:lnTo>
                      <a:lnTo>
                        <a:pt x="256" y="184"/>
                      </a:lnTo>
                      <a:lnTo>
                        <a:pt x="248" y="160"/>
                      </a:lnTo>
                      <a:lnTo>
                        <a:pt x="264" y="160"/>
                      </a:lnTo>
                      <a:lnTo>
                        <a:pt x="280" y="152"/>
                      </a:lnTo>
                      <a:lnTo>
                        <a:pt x="280" y="136"/>
                      </a:lnTo>
                      <a:lnTo>
                        <a:pt x="304" y="128"/>
                      </a:lnTo>
                      <a:lnTo>
                        <a:pt x="320" y="128"/>
                      </a:lnTo>
                      <a:lnTo>
                        <a:pt x="312" y="136"/>
                      </a:lnTo>
                      <a:lnTo>
                        <a:pt x="312" y="152"/>
                      </a:lnTo>
                      <a:lnTo>
                        <a:pt x="328" y="144"/>
                      </a:lnTo>
                      <a:lnTo>
                        <a:pt x="352" y="136"/>
                      </a:lnTo>
                      <a:lnTo>
                        <a:pt x="352" y="128"/>
                      </a:lnTo>
                      <a:lnTo>
                        <a:pt x="336" y="120"/>
                      </a:lnTo>
                      <a:lnTo>
                        <a:pt x="328" y="112"/>
                      </a:lnTo>
                      <a:lnTo>
                        <a:pt x="304" y="112"/>
                      </a:lnTo>
                      <a:lnTo>
                        <a:pt x="296" y="104"/>
                      </a:lnTo>
                      <a:lnTo>
                        <a:pt x="304" y="96"/>
                      </a:lnTo>
                      <a:lnTo>
                        <a:pt x="312" y="96"/>
                      </a:lnTo>
                      <a:lnTo>
                        <a:pt x="320" y="88"/>
                      </a:lnTo>
                      <a:lnTo>
                        <a:pt x="288" y="96"/>
                      </a:lnTo>
                      <a:lnTo>
                        <a:pt x="280" y="104"/>
                      </a:lnTo>
                      <a:lnTo>
                        <a:pt x="272" y="120"/>
                      </a:lnTo>
                      <a:lnTo>
                        <a:pt x="264" y="120"/>
                      </a:lnTo>
                      <a:lnTo>
                        <a:pt x="256" y="128"/>
                      </a:lnTo>
                      <a:lnTo>
                        <a:pt x="248" y="128"/>
                      </a:lnTo>
                      <a:lnTo>
                        <a:pt x="240" y="120"/>
                      </a:lnTo>
                      <a:lnTo>
                        <a:pt x="232" y="112"/>
                      </a:lnTo>
                      <a:lnTo>
                        <a:pt x="216" y="80"/>
                      </a:lnTo>
                      <a:lnTo>
                        <a:pt x="200" y="88"/>
                      </a:lnTo>
                      <a:lnTo>
                        <a:pt x="192" y="64"/>
                      </a:lnTo>
                      <a:lnTo>
                        <a:pt x="176" y="56"/>
                      </a:lnTo>
                      <a:lnTo>
                        <a:pt x="168" y="56"/>
                      </a:lnTo>
                      <a:lnTo>
                        <a:pt x="144" y="48"/>
                      </a:lnTo>
                      <a:lnTo>
                        <a:pt x="136" y="56"/>
                      </a:lnTo>
                      <a:lnTo>
                        <a:pt x="120" y="32"/>
                      </a:lnTo>
                      <a:lnTo>
                        <a:pt x="64" y="0"/>
                      </a:lnTo>
                      <a:lnTo>
                        <a:pt x="0" y="32"/>
                      </a:lnTo>
                      <a:lnTo>
                        <a:pt x="8" y="104"/>
                      </a:lnTo>
                      <a:lnTo>
                        <a:pt x="40" y="112"/>
                      </a:lnTo>
                      <a:lnTo>
                        <a:pt x="48" y="88"/>
                      </a:lnTo>
                      <a:lnTo>
                        <a:pt x="56" y="80"/>
                      </a:lnTo>
                      <a:lnTo>
                        <a:pt x="64" y="88"/>
                      </a:lnTo>
                      <a:lnTo>
                        <a:pt x="64" y="80"/>
                      </a:lnTo>
                      <a:lnTo>
                        <a:pt x="72" y="80"/>
                      </a:lnTo>
                      <a:lnTo>
                        <a:pt x="80" y="88"/>
                      </a:lnTo>
                      <a:lnTo>
                        <a:pt x="88" y="96"/>
                      </a:lnTo>
                      <a:lnTo>
                        <a:pt x="88" y="104"/>
                      </a:lnTo>
                      <a:lnTo>
                        <a:pt x="88" y="112"/>
                      </a:lnTo>
                      <a:lnTo>
                        <a:pt x="120" y="120"/>
                      </a:lnTo>
                      <a:lnTo>
                        <a:pt x="128" y="128"/>
                      </a:lnTo>
                      <a:lnTo>
                        <a:pt x="144" y="144"/>
                      </a:lnTo>
                      <a:lnTo>
                        <a:pt x="152" y="168"/>
                      </a:lnTo>
                      <a:lnTo>
                        <a:pt x="168" y="192"/>
                      </a:lnTo>
                      <a:lnTo>
                        <a:pt x="184" y="200"/>
                      </a:lnTo>
                      <a:lnTo>
                        <a:pt x="208" y="208"/>
                      </a:lnTo>
                      <a:lnTo>
                        <a:pt x="216" y="208"/>
                      </a:lnTo>
                      <a:lnTo>
                        <a:pt x="224" y="224"/>
                      </a:lnTo>
                      <a:lnTo>
                        <a:pt x="256" y="224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33" name="Freeform 329"/>
                <p:cNvSpPr>
                  <a:spLocks noChangeAspect="1"/>
                </p:cNvSpPr>
                <p:nvPr/>
              </p:nvSpPr>
              <p:spPr bwMode="auto">
                <a:xfrm>
                  <a:off x="3729" y="2245"/>
                  <a:ext cx="107" cy="79"/>
                </a:xfrm>
                <a:custGeom>
                  <a:avLst/>
                  <a:gdLst>
                    <a:gd name="T0" fmla="*/ 1 w 152"/>
                    <a:gd name="T1" fmla="*/ 1 h 112"/>
                    <a:gd name="T2" fmla="*/ 1 w 152"/>
                    <a:gd name="T3" fmla="*/ 1 h 112"/>
                    <a:gd name="T4" fmla="*/ 1 w 152"/>
                    <a:gd name="T5" fmla="*/ 1 h 112"/>
                    <a:gd name="T6" fmla="*/ 1 w 152"/>
                    <a:gd name="T7" fmla="*/ 1 h 112"/>
                    <a:gd name="T8" fmla="*/ 1 w 152"/>
                    <a:gd name="T9" fmla="*/ 1 h 112"/>
                    <a:gd name="T10" fmla="*/ 1 w 152"/>
                    <a:gd name="T11" fmla="*/ 1 h 112"/>
                    <a:gd name="T12" fmla="*/ 1 w 152"/>
                    <a:gd name="T13" fmla="*/ 1 h 112"/>
                    <a:gd name="T14" fmla="*/ 1 w 152"/>
                    <a:gd name="T15" fmla="*/ 1 h 112"/>
                    <a:gd name="T16" fmla="*/ 1 w 152"/>
                    <a:gd name="T17" fmla="*/ 1 h 112"/>
                    <a:gd name="T18" fmla="*/ 1 w 152"/>
                    <a:gd name="T19" fmla="*/ 1 h 112"/>
                    <a:gd name="T20" fmla="*/ 1 w 152"/>
                    <a:gd name="T21" fmla="*/ 1 h 112"/>
                    <a:gd name="T22" fmla="*/ 1 w 152"/>
                    <a:gd name="T23" fmla="*/ 1 h 112"/>
                    <a:gd name="T24" fmla="*/ 1 w 152"/>
                    <a:gd name="T25" fmla="*/ 1 h 112"/>
                    <a:gd name="T26" fmla="*/ 1 w 152"/>
                    <a:gd name="T27" fmla="*/ 1 h 112"/>
                    <a:gd name="T28" fmla="*/ 1 w 152"/>
                    <a:gd name="T29" fmla="*/ 1 h 112"/>
                    <a:gd name="T30" fmla="*/ 1 w 152"/>
                    <a:gd name="T31" fmla="*/ 0 h 112"/>
                    <a:gd name="T32" fmla="*/ 1 w 152"/>
                    <a:gd name="T33" fmla="*/ 0 h 112"/>
                    <a:gd name="T34" fmla="*/ 1 w 152"/>
                    <a:gd name="T35" fmla="*/ 1 h 112"/>
                    <a:gd name="T36" fmla="*/ 1 w 152"/>
                    <a:gd name="T37" fmla="*/ 1 h 112"/>
                    <a:gd name="T38" fmla="*/ 1 w 152"/>
                    <a:gd name="T39" fmla="*/ 1 h 112"/>
                    <a:gd name="T40" fmla="*/ 0 w 152"/>
                    <a:gd name="T41" fmla="*/ 1 h 112"/>
                    <a:gd name="T42" fmla="*/ 1 w 152"/>
                    <a:gd name="T43" fmla="*/ 1 h 112"/>
                    <a:gd name="T44" fmla="*/ 1 w 152"/>
                    <a:gd name="T45" fmla="*/ 1 h 112"/>
                    <a:gd name="T46" fmla="*/ 1 w 152"/>
                    <a:gd name="T47" fmla="*/ 1 h 112"/>
                    <a:gd name="T48" fmla="*/ 1 w 152"/>
                    <a:gd name="T49" fmla="*/ 1 h 112"/>
                    <a:gd name="T50" fmla="*/ 1 w 152"/>
                    <a:gd name="T51" fmla="*/ 1 h 112"/>
                    <a:gd name="T52" fmla="*/ 1 w 152"/>
                    <a:gd name="T53" fmla="*/ 1 h 112"/>
                    <a:gd name="T54" fmla="*/ 1 w 152"/>
                    <a:gd name="T55" fmla="*/ 1 h 112"/>
                    <a:gd name="T56" fmla="*/ 1 w 152"/>
                    <a:gd name="T57" fmla="*/ 1 h 112"/>
                    <a:gd name="T58" fmla="*/ 1 w 152"/>
                    <a:gd name="T59" fmla="*/ 1 h 112"/>
                    <a:gd name="T60" fmla="*/ 1 w 152"/>
                    <a:gd name="T61" fmla="*/ 1 h 112"/>
                    <a:gd name="T62" fmla="*/ 1 w 152"/>
                    <a:gd name="T63" fmla="*/ 1 h 112"/>
                    <a:gd name="T64" fmla="*/ 1 w 152"/>
                    <a:gd name="T65" fmla="*/ 1 h 112"/>
                    <a:gd name="T66" fmla="*/ 1 w 152"/>
                    <a:gd name="T67" fmla="*/ 1 h 112"/>
                    <a:gd name="T68" fmla="*/ 1 w 152"/>
                    <a:gd name="T69" fmla="*/ 1 h 112"/>
                    <a:gd name="T70" fmla="*/ 1 w 152"/>
                    <a:gd name="T71" fmla="*/ 1 h 112"/>
                    <a:gd name="T72" fmla="*/ 1 w 152"/>
                    <a:gd name="T73" fmla="*/ 1 h 112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152"/>
                    <a:gd name="T112" fmla="*/ 0 h 112"/>
                    <a:gd name="T113" fmla="*/ 152 w 152"/>
                    <a:gd name="T114" fmla="*/ 112 h 112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152" h="112">
                      <a:moveTo>
                        <a:pt x="144" y="96"/>
                      </a:moveTo>
                      <a:lnTo>
                        <a:pt x="152" y="72"/>
                      </a:lnTo>
                      <a:lnTo>
                        <a:pt x="152" y="56"/>
                      </a:lnTo>
                      <a:lnTo>
                        <a:pt x="136" y="56"/>
                      </a:lnTo>
                      <a:lnTo>
                        <a:pt x="128" y="40"/>
                      </a:lnTo>
                      <a:lnTo>
                        <a:pt x="112" y="40"/>
                      </a:lnTo>
                      <a:lnTo>
                        <a:pt x="88" y="40"/>
                      </a:lnTo>
                      <a:lnTo>
                        <a:pt x="88" y="32"/>
                      </a:lnTo>
                      <a:lnTo>
                        <a:pt x="72" y="32"/>
                      </a:lnTo>
                      <a:lnTo>
                        <a:pt x="64" y="40"/>
                      </a:lnTo>
                      <a:lnTo>
                        <a:pt x="56" y="40"/>
                      </a:lnTo>
                      <a:lnTo>
                        <a:pt x="40" y="40"/>
                      </a:lnTo>
                      <a:lnTo>
                        <a:pt x="40" y="32"/>
                      </a:lnTo>
                      <a:lnTo>
                        <a:pt x="64" y="24"/>
                      </a:lnTo>
                      <a:lnTo>
                        <a:pt x="64" y="8"/>
                      </a:lnTo>
                      <a:lnTo>
                        <a:pt x="72" y="0"/>
                      </a:lnTo>
                      <a:lnTo>
                        <a:pt x="56" y="0"/>
                      </a:lnTo>
                      <a:lnTo>
                        <a:pt x="32" y="8"/>
                      </a:lnTo>
                      <a:lnTo>
                        <a:pt x="32" y="24"/>
                      </a:lnTo>
                      <a:lnTo>
                        <a:pt x="16" y="32"/>
                      </a:lnTo>
                      <a:lnTo>
                        <a:pt x="0" y="32"/>
                      </a:lnTo>
                      <a:lnTo>
                        <a:pt x="8" y="56"/>
                      </a:lnTo>
                      <a:lnTo>
                        <a:pt x="16" y="64"/>
                      </a:lnTo>
                      <a:lnTo>
                        <a:pt x="8" y="80"/>
                      </a:lnTo>
                      <a:lnTo>
                        <a:pt x="8" y="96"/>
                      </a:lnTo>
                      <a:lnTo>
                        <a:pt x="24" y="104"/>
                      </a:lnTo>
                      <a:lnTo>
                        <a:pt x="56" y="88"/>
                      </a:lnTo>
                      <a:lnTo>
                        <a:pt x="64" y="72"/>
                      </a:lnTo>
                      <a:lnTo>
                        <a:pt x="72" y="64"/>
                      </a:lnTo>
                      <a:lnTo>
                        <a:pt x="80" y="72"/>
                      </a:lnTo>
                      <a:lnTo>
                        <a:pt x="88" y="88"/>
                      </a:lnTo>
                      <a:lnTo>
                        <a:pt x="80" y="112"/>
                      </a:lnTo>
                      <a:lnTo>
                        <a:pt x="104" y="104"/>
                      </a:lnTo>
                      <a:lnTo>
                        <a:pt x="128" y="88"/>
                      </a:lnTo>
                      <a:lnTo>
                        <a:pt x="136" y="88"/>
                      </a:lnTo>
                      <a:lnTo>
                        <a:pt x="136" y="96"/>
                      </a:lnTo>
                      <a:lnTo>
                        <a:pt x="144" y="9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34" name="Freeform 330"/>
                <p:cNvSpPr>
                  <a:spLocks noChangeAspect="1"/>
                </p:cNvSpPr>
                <p:nvPr/>
              </p:nvSpPr>
              <p:spPr bwMode="auto">
                <a:xfrm>
                  <a:off x="3757" y="2194"/>
                  <a:ext cx="157" cy="79"/>
                </a:xfrm>
                <a:custGeom>
                  <a:avLst/>
                  <a:gdLst>
                    <a:gd name="T0" fmla="*/ 1 w 224"/>
                    <a:gd name="T1" fmla="*/ 1 h 112"/>
                    <a:gd name="T2" fmla="*/ 1 w 224"/>
                    <a:gd name="T3" fmla="*/ 1 h 112"/>
                    <a:gd name="T4" fmla="*/ 1 w 224"/>
                    <a:gd name="T5" fmla="*/ 1 h 112"/>
                    <a:gd name="T6" fmla="*/ 1 w 224"/>
                    <a:gd name="T7" fmla="*/ 1 h 112"/>
                    <a:gd name="T8" fmla="*/ 1 w 224"/>
                    <a:gd name="T9" fmla="*/ 1 h 112"/>
                    <a:gd name="T10" fmla="*/ 1 w 224"/>
                    <a:gd name="T11" fmla="*/ 1 h 112"/>
                    <a:gd name="T12" fmla="*/ 1 w 224"/>
                    <a:gd name="T13" fmla="*/ 1 h 112"/>
                    <a:gd name="T14" fmla="*/ 1 w 224"/>
                    <a:gd name="T15" fmla="*/ 1 h 112"/>
                    <a:gd name="T16" fmla="*/ 1 w 224"/>
                    <a:gd name="T17" fmla="*/ 1 h 112"/>
                    <a:gd name="T18" fmla="*/ 1 w 224"/>
                    <a:gd name="T19" fmla="*/ 1 h 112"/>
                    <a:gd name="T20" fmla="*/ 1 w 224"/>
                    <a:gd name="T21" fmla="*/ 1 h 112"/>
                    <a:gd name="T22" fmla="*/ 1 w 224"/>
                    <a:gd name="T23" fmla="*/ 1 h 112"/>
                    <a:gd name="T24" fmla="*/ 1 w 224"/>
                    <a:gd name="T25" fmla="*/ 1 h 112"/>
                    <a:gd name="T26" fmla="*/ 1 w 224"/>
                    <a:gd name="T27" fmla="*/ 1 h 112"/>
                    <a:gd name="T28" fmla="*/ 1 w 224"/>
                    <a:gd name="T29" fmla="*/ 1 h 112"/>
                    <a:gd name="T30" fmla="*/ 1 w 224"/>
                    <a:gd name="T31" fmla="*/ 0 h 112"/>
                    <a:gd name="T32" fmla="*/ 1 w 224"/>
                    <a:gd name="T33" fmla="*/ 1 h 112"/>
                    <a:gd name="T34" fmla="*/ 1 w 224"/>
                    <a:gd name="T35" fmla="*/ 1 h 112"/>
                    <a:gd name="T36" fmla="*/ 1 w 224"/>
                    <a:gd name="T37" fmla="*/ 1 h 112"/>
                    <a:gd name="T38" fmla="*/ 1 w 224"/>
                    <a:gd name="T39" fmla="*/ 1 h 112"/>
                    <a:gd name="T40" fmla="*/ 1 w 224"/>
                    <a:gd name="T41" fmla="*/ 1 h 112"/>
                    <a:gd name="T42" fmla="*/ 1 w 224"/>
                    <a:gd name="T43" fmla="*/ 1 h 112"/>
                    <a:gd name="T44" fmla="*/ 1 w 224"/>
                    <a:gd name="T45" fmla="*/ 1 h 112"/>
                    <a:gd name="T46" fmla="*/ 1 w 224"/>
                    <a:gd name="T47" fmla="*/ 1 h 112"/>
                    <a:gd name="T48" fmla="*/ 1 w 224"/>
                    <a:gd name="T49" fmla="*/ 1 h 112"/>
                    <a:gd name="T50" fmla="*/ 1 w 224"/>
                    <a:gd name="T51" fmla="*/ 1 h 112"/>
                    <a:gd name="T52" fmla="*/ 1 w 224"/>
                    <a:gd name="T53" fmla="*/ 1 h 112"/>
                    <a:gd name="T54" fmla="*/ 1 w 224"/>
                    <a:gd name="T55" fmla="*/ 1 h 112"/>
                    <a:gd name="T56" fmla="*/ 1 w 224"/>
                    <a:gd name="T57" fmla="*/ 1 h 112"/>
                    <a:gd name="T58" fmla="*/ 1 w 224"/>
                    <a:gd name="T59" fmla="*/ 1 h 112"/>
                    <a:gd name="T60" fmla="*/ 1 w 224"/>
                    <a:gd name="T61" fmla="*/ 1 h 112"/>
                    <a:gd name="T62" fmla="*/ 1 w 224"/>
                    <a:gd name="T63" fmla="*/ 1 h 112"/>
                    <a:gd name="T64" fmla="*/ 0 w 224"/>
                    <a:gd name="T65" fmla="*/ 1 h 112"/>
                    <a:gd name="T66" fmla="*/ 0 w 224"/>
                    <a:gd name="T67" fmla="*/ 1 h 112"/>
                    <a:gd name="T68" fmla="*/ 1 w 224"/>
                    <a:gd name="T69" fmla="*/ 1 h 112"/>
                    <a:gd name="T70" fmla="*/ 1 w 224"/>
                    <a:gd name="T71" fmla="*/ 1 h 112"/>
                    <a:gd name="T72" fmla="*/ 1 w 224"/>
                    <a:gd name="T73" fmla="*/ 1 h 112"/>
                    <a:gd name="T74" fmla="*/ 1 w 224"/>
                    <a:gd name="T75" fmla="*/ 1 h 112"/>
                    <a:gd name="T76" fmla="*/ 1 w 224"/>
                    <a:gd name="T77" fmla="*/ 1 h 112"/>
                    <a:gd name="T78" fmla="*/ 1 w 224"/>
                    <a:gd name="T79" fmla="*/ 1 h 112"/>
                    <a:gd name="T80" fmla="*/ 1 w 224"/>
                    <a:gd name="T81" fmla="*/ 1 h 112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224"/>
                    <a:gd name="T124" fmla="*/ 0 h 112"/>
                    <a:gd name="T125" fmla="*/ 224 w 224"/>
                    <a:gd name="T126" fmla="*/ 112 h 112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224" h="112">
                      <a:moveTo>
                        <a:pt x="88" y="112"/>
                      </a:moveTo>
                      <a:lnTo>
                        <a:pt x="96" y="96"/>
                      </a:lnTo>
                      <a:lnTo>
                        <a:pt x="128" y="80"/>
                      </a:lnTo>
                      <a:lnTo>
                        <a:pt x="136" y="88"/>
                      </a:lnTo>
                      <a:lnTo>
                        <a:pt x="152" y="88"/>
                      </a:lnTo>
                      <a:lnTo>
                        <a:pt x="152" y="72"/>
                      </a:lnTo>
                      <a:lnTo>
                        <a:pt x="168" y="64"/>
                      </a:lnTo>
                      <a:lnTo>
                        <a:pt x="184" y="56"/>
                      </a:lnTo>
                      <a:lnTo>
                        <a:pt x="208" y="48"/>
                      </a:lnTo>
                      <a:lnTo>
                        <a:pt x="224" y="32"/>
                      </a:lnTo>
                      <a:lnTo>
                        <a:pt x="208" y="24"/>
                      </a:lnTo>
                      <a:lnTo>
                        <a:pt x="184" y="16"/>
                      </a:lnTo>
                      <a:lnTo>
                        <a:pt x="152" y="8"/>
                      </a:lnTo>
                      <a:lnTo>
                        <a:pt x="120" y="16"/>
                      </a:lnTo>
                      <a:lnTo>
                        <a:pt x="112" y="8"/>
                      </a:lnTo>
                      <a:lnTo>
                        <a:pt x="104" y="0"/>
                      </a:lnTo>
                      <a:lnTo>
                        <a:pt x="80" y="16"/>
                      </a:lnTo>
                      <a:lnTo>
                        <a:pt x="88" y="24"/>
                      </a:lnTo>
                      <a:lnTo>
                        <a:pt x="64" y="32"/>
                      </a:lnTo>
                      <a:lnTo>
                        <a:pt x="56" y="24"/>
                      </a:lnTo>
                      <a:lnTo>
                        <a:pt x="40" y="24"/>
                      </a:lnTo>
                      <a:lnTo>
                        <a:pt x="32" y="32"/>
                      </a:lnTo>
                      <a:lnTo>
                        <a:pt x="24" y="40"/>
                      </a:lnTo>
                      <a:lnTo>
                        <a:pt x="16" y="40"/>
                      </a:lnTo>
                      <a:lnTo>
                        <a:pt x="8" y="48"/>
                      </a:lnTo>
                      <a:lnTo>
                        <a:pt x="16" y="56"/>
                      </a:lnTo>
                      <a:lnTo>
                        <a:pt x="40" y="56"/>
                      </a:lnTo>
                      <a:lnTo>
                        <a:pt x="48" y="64"/>
                      </a:lnTo>
                      <a:lnTo>
                        <a:pt x="64" y="72"/>
                      </a:lnTo>
                      <a:lnTo>
                        <a:pt x="64" y="80"/>
                      </a:lnTo>
                      <a:lnTo>
                        <a:pt x="40" y="88"/>
                      </a:lnTo>
                      <a:lnTo>
                        <a:pt x="24" y="96"/>
                      </a:lnTo>
                      <a:lnTo>
                        <a:pt x="0" y="104"/>
                      </a:lnTo>
                      <a:lnTo>
                        <a:pt x="0" y="112"/>
                      </a:lnTo>
                      <a:lnTo>
                        <a:pt x="16" y="112"/>
                      </a:lnTo>
                      <a:lnTo>
                        <a:pt x="24" y="112"/>
                      </a:lnTo>
                      <a:lnTo>
                        <a:pt x="32" y="104"/>
                      </a:lnTo>
                      <a:lnTo>
                        <a:pt x="48" y="104"/>
                      </a:lnTo>
                      <a:lnTo>
                        <a:pt x="48" y="112"/>
                      </a:lnTo>
                      <a:lnTo>
                        <a:pt x="72" y="112"/>
                      </a:lnTo>
                      <a:lnTo>
                        <a:pt x="88" y="112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35" name="Freeform 331"/>
                <p:cNvSpPr>
                  <a:spLocks noChangeAspect="1"/>
                </p:cNvSpPr>
                <p:nvPr/>
              </p:nvSpPr>
              <p:spPr bwMode="auto">
                <a:xfrm>
                  <a:off x="3149" y="1525"/>
                  <a:ext cx="535" cy="714"/>
                </a:xfrm>
                <a:custGeom>
                  <a:avLst/>
                  <a:gdLst>
                    <a:gd name="T0" fmla="*/ 1 w 760"/>
                    <a:gd name="T1" fmla="*/ 1 h 1016"/>
                    <a:gd name="T2" fmla="*/ 1 w 760"/>
                    <a:gd name="T3" fmla="*/ 1 h 1016"/>
                    <a:gd name="T4" fmla="*/ 1 w 760"/>
                    <a:gd name="T5" fmla="*/ 1 h 1016"/>
                    <a:gd name="T6" fmla="*/ 1 w 760"/>
                    <a:gd name="T7" fmla="*/ 1 h 1016"/>
                    <a:gd name="T8" fmla="*/ 1 w 760"/>
                    <a:gd name="T9" fmla="*/ 1 h 1016"/>
                    <a:gd name="T10" fmla="*/ 1 w 760"/>
                    <a:gd name="T11" fmla="*/ 1 h 1016"/>
                    <a:gd name="T12" fmla="*/ 1 w 760"/>
                    <a:gd name="T13" fmla="*/ 1 h 1016"/>
                    <a:gd name="T14" fmla="*/ 1 w 760"/>
                    <a:gd name="T15" fmla="*/ 1 h 1016"/>
                    <a:gd name="T16" fmla="*/ 1 w 760"/>
                    <a:gd name="T17" fmla="*/ 1 h 1016"/>
                    <a:gd name="T18" fmla="*/ 1 w 760"/>
                    <a:gd name="T19" fmla="*/ 1 h 1016"/>
                    <a:gd name="T20" fmla="*/ 1 w 760"/>
                    <a:gd name="T21" fmla="*/ 1 h 1016"/>
                    <a:gd name="T22" fmla="*/ 1 w 760"/>
                    <a:gd name="T23" fmla="*/ 1 h 1016"/>
                    <a:gd name="T24" fmla="*/ 1 w 760"/>
                    <a:gd name="T25" fmla="*/ 1 h 1016"/>
                    <a:gd name="T26" fmla="*/ 1 w 760"/>
                    <a:gd name="T27" fmla="*/ 1 h 1016"/>
                    <a:gd name="T28" fmla="*/ 1 w 760"/>
                    <a:gd name="T29" fmla="*/ 1 h 1016"/>
                    <a:gd name="T30" fmla="*/ 1 w 760"/>
                    <a:gd name="T31" fmla="*/ 1 h 1016"/>
                    <a:gd name="T32" fmla="*/ 1 w 760"/>
                    <a:gd name="T33" fmla="*/ 1 h 1016"/>
                    <a:gd name="T34" fmla="*/ 1 w 760"/>
                    <a:gd name="T35" fmla="*/ 1 h 1016"/>
                    <a:gd name="T36" fmla="*/ 1 w 760"/>
                    <a:gd name="T37" fmla="*/ 1 h 1016"/>
                    <a:gd name="T38" fmla="*/ 1 w 760"/>
                    <a:gd name="T39" fmla="*/ 1 h 1016"/>
                    <a:gd name="T40" fmla="*/ 1 w 760"/>
                    <a:gd name="T41" fmla="*/ 1 h 1016"/>
                    <a:gd name="T42" fmla="*/ 1 w 760"/>
                    <a:gd name="T43" fmla="*/ 1 h 1016"/>
                    <a:gd name="T44" fmla="*/ 1 w 760"/>
                    <a:gd name="T45" fmla="*/ 1 h 1016"/>
                    <a:gd name="T46" fmla="*/ 1 w 760"/>
                    <a:gd name="T47" fmla="*/ 1 h 1016"/>
                    <a:gd name="T48" fmla="*/ 1 w 760"/>
                    <a:gd name="T49" fmla="*/ 1 h 1016"/>
                    <a:gd name="T50" fmla="*/ 1 w 760"/>
                    <a:gd name="T51" fmla="*/ 1 h 1016"/>
                    <a:gd name="T52" fmla="*/ 1 w 760"/>
                    <a:gd name="T53" fmla="*/ 1 h 1016"/>
                    <a:gd name="T54" fmla="*/ 1 w 760"/>
                    <a:gd name="T55" fmla="*/ 1 h 1016"/>
                    <a:gd name="T56" fmla="*/ 1 w 760"/>
                    <a:gd name="T57" fmla="*/ 1 h 1016"/>
                    <a:gd name="T58" fmla="*/ 1 w 760"/>
                    <a:gd name="T59" fmla="*/ 1 h 1016"/>
                    <a:gd name="T60" fmla="*/ 1 w 760"/>
                    <a:gd name="T61" fmla="*/ 1 h 1016"/>
                    <a:gd name="T62" fmla="*/ 1 w 760"/>
                    <a:gd name="T63" fmla="*/ 0 h 1016"/>
                    <a:gd name="T64" fmla="*/ 1 w 760"/>
                    <a:gd name="T65" fmla="*/ 1 h 1016"/>
                    <a:gd name="T66" fmla="*/ 1 w 760"/>
                    <a:gd name="T67" fmla="*/ 1 h 1016"/>
                    <a:gd name="T68" fmla="*/ 1 w 760"/>
                    <a:gd name="T69" fmla="*/ 1 h 1016"/>
                    <a:gd name="T70" fmla="*/ 1 w 760"/>
                    <a:gd name="T71" fmla="*/ 1 h 1016"/>
                    <a:gd name="T72" fmla="*/ 1 w 760"/>
                    <a:gd name="T73" fmla="*/ 1 h 1016"/>
                    <a:gd name="T74" fmla="*/ 1 w 760"/>
                    <a:gd name="T75" fmla="*/ 1 h 1016"/>
                    <a:gd name="T76" fmla="*/ 1 w 760"/>
                    <a:gd name="T77" fmla="*/ 1 h 1016"/>
                    <a:gd name="T78" fmla="*/ 1 w 760"/>
                    <a:gd name="T79" fmla="*/ 1 h 1016"/>
                    <a:gd name="T80" fmla="*/ 1 w 760"/>
                    <a:gd name="T81" fmla="*/ 1 h 1016"/>
                    <a:gd name="T82" fmla="*/ 1 w 760"/>
                    <a:gd name="T83" fmla="*/ 1 h 1016"/>
                    <a:gd name="T84" fmla="*/ 1 w 760"/>
                    <a:gd name="T85" fmla="*/ 1 h 1016"/>
                    <a:gd name="T86" fmla="*/ 1 w 760"/>
                    <a:gd name="T87" fmla="*/ 1 h 1016"/>
                    <a:gd name="T88" fmla="*/ 1 w 760"/>
                    <a:gd name="T89" fmla="*/ 1 h 1016"/>
                    <a:gd name="T90" fmla="*/ 1 w 760"/>
                    <a:gd name="T91" fmla="*/ 1 h 1016"/>
                    <a:gd name="T92" fmla="*/ 1 w 760"/>
                    <a:gd name="T93" fmla="*/ 1 h 1016"/>
                    <a:gd name="T94" fmla="*/ 1 w 760"/>
                    <a:gd name="T95" fmla="*/ 1 h 1016"/>
                    <a:gd name="T96" fmla="*/ 1 w 760"/>
                    <a:gd name="T97" fmla="*/ 1 h 1016"/>
                    <a:gd name="T98" fmla="*/ 1 w 760"/>
                    <a:gd name="T99" fmla="*/ 1 h 1016"/>
                    <a:gd name="T100" fmla="*/ 1 w 760"/>
                    <a:gd name="T101" fmla="*/ 1 h 1016"/>
                    <a:gd name="T102" fmla="*/ 1 w 760"/>
                    <a:gd name="T103" fmla="*/ 1 h 1016"/>
                    <a:gd name="T104" fmla="*/ 1 w 760"/>
                    <a:gd name="T105" fmla="*/ 1 h 1016"/>
                    <a:gd name="T106" fmla="*/ 1 w 760"/>
                    <a:gd name="T107" fmla="*/ 1 h 1016"/>
                    <a:gd name="T108" fmla="*/ 1 w 760"/>
                    <a:gd name="T109" fmla="*/ 1 h 1016"/>
                    <a:gd name="T110" fmla="*/ 1 w 760"/>
                    <a:gd name="T111" fmla="*/ 1 h 1016"/>
                    <a:gd name="T112" fmla="*/ 1 w 760"/>
                    <a:gd name="T113" fmla="*/ 1 h 1016"/>
                    <a:gd name="T114" fmla="*/ 1 w 760"/>
                    <a:gd name="T115" fmla="*/ 1 h 1016"/>
                    <a:gd name="T116" fmla="*/ 1 w 760"/>
                    <a:gd name="T117" fmla="*/ 1 h 1016"/>
                    <a:gd name="T118" fmla="*/ 1 w 760"/>
                    <a:gd name="T119" fmla="*/ 1 h 1016"/>
                    <a:gd name="T120" fmla="*/ 1 w 760"/>
                    <a:gd name="T121" fmla="*/ 1 h 1016"/>
                    <a:gd name="T122" fmla="*/ 1 w 760"/>
                    <a:gd name="T123" fmla="*/ 1 h 1016"/>
                    <a:gd name="T124" fmla="*/ 1 w 760"/>
                    <a:gd name="T125" fmla="*/ 1 h 101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760"/>
                    <a:gd name="T190" fmla="*/ 0 h 1016"/>
                    <a:gd name="T191" fmla="*/ 760 w 760"/>
                    <a:gd name="T192" fmla="*/ 1016 h 1016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760" h="1016">
                      <a:moveTo>
                        <a:pt x="664" y="728"/>
                      </a:moveTo>
                      <a:lnTo>
                        <a:pt x="664" y="744"/>
                      </a:lnTo>
                      <a:lnTo>
                        <a:pt x="640" y="736"/>
                      </a:lnTo>
                      <a:lnTo>
                        <a:pt x="632" y="728"/>
                      </a:lnTo>
                      <a:lnTo>
                        <a:pt x="592" y="728"/>
                      </a:lnTo>
                      <a:lnTo>
                        <a:pt x="584" y="736"/>
                      </a:lnTo>
                      <a:lnTo>
                        <a:pt x="576" y="736"/>
                      </a:lnTo>
                      <a:lnTo>
                        <a:pt x="568" y="728"/>
                      </a:lnTo>
                      <a:lnTo>
                        <a:pt x="552" y="728"/>
                      </a:lnTo>
                      <a:lnTo>
                        <a:pt x="544" y="712"/>
                      </a:lnTo>
                      <a:lnTo>
                        <a:pt x="520" y="720"/>
                      </a:lnTo>
                      <a:lnTo>
                        <a:pt x="512" y="712"/>
                      </a:lnTo>
                      <a:lnTo>
                        <a:pt x="496" y="712"/>
                      </a:lnTo>
                      <a:lnTo>
                        <a:pt x="480" y="696"/>
                      </a:lnTo>
                      <a:lnTo>
                        <a:pt x="440" y="728"/>
                      </a:lnTo>
                      <a:lnTo>
                        <a:pt x="440" y="752"/>
                      </a:lnTo>
                      <a:lnTo>
                        <a:pt x="424" y="752"/>
                      </a:lnTo>
                      <a:lnTo>
                        <a:pt x="416" y="736"/>
                      </a:lnTo>
                      <a:lnTo>
                        <a:pt x="408" y="744"/>
                      </a:lnTo>
                      <a:lnTo>
                        <a:pt x="400" y="824"/>
                      </a:lnTo>
                      <a:lnTo>
                        <a:pt x="432" y="832"/>
                      </a:lnTo>
                      <a:lnTo>
                        <a:pt x="440" y="848"/>
                      </a:lnTo>
                      <a:lnTo>
                        <a:pt x="440" y="864"/>
                      </a:lnTo>
                      <a:lnTo>
                        <a:pt x="448" y="872"/>
                      </a:lnTo>
                      <a:lnTo>
                        <a:pt x="440" y="872"/>
                      </a:lnTo>
                      <a:lnTo>
                        <a:pt x="432" y="888"/>
                      </a:lnTo>
                      <a:lnTo>
                        <a:pt x="416" y="896"/>
                      </a:lnTo>
                      <a:lnTo>
                        <a:pt x="400" y="912"/>
                      </a:lnTo>
                      <a:lnTo>
                        <a:pt x="400" y="920"/>
                      </a:lnTo>
                      <a:lnTo>
                        <a:pt x="400" y="936"/>
                      </a:lnTo>
                      <a:lnTo>
                        <a:pt x="408" y="944"/>
                      </a:lnTo>
                      <a:lnTo>
                        <a:pt x="416" y="968"/>
                      </a:lnTo>
                      <a:lnTo>
                        <a:pt x="424" y="992"/>
                      </a:lnTo>
                      <a:lnTo>
                        <a:pt x="432" y="1000"/>
                      </a:lnTo>
                      <a:lnTo>
                        <a:pt x="432" y="1016"/>
                      </a:lnTo>
                      <a:lnTo>
                        <a:pt x="416" y="1016"/>
                      </a:lnTo>
                      <a:lnTo>
                        <a:pt x="392" y="1008"/>
                      </a:lnTo>
                      <a:lnTo>
                        <a:pt x="384" y="992"/>
                      </a:lnTo>
                      <a:lnTo>
                        <a:pt x="376" y="992"/>
                      </a:lnTo>
                      <a:lnTo>
                        <a:pt x="352" y="976"/>
                      </a:lnTo>
                      <a:lnTo>
                        <a:pt x="320" y="968"/>
                      </a:lnTo>
                      <a:lnTo>
                        <a:pt x="312" y="968"/>
                      </a:lnTo>
                      <a:lnTo>
                        <a:pt x="280" y="968"/>
                      </a:lnTo>
                      <a:lnTo>
                        <a:pt x="256" y="960"/>
                      </a:lnTo>
                      <a:lnTo>
                        <a:pt x="240" y="952"/>
                      </a:lnTo>
                      <a:lnTo>
                        <a:pt x="224" y="928"/>
                      </a:lnTo>
                      <a:lnTo>
                        <a:pt x="216" y="928"/>
                      </a:lnTo>
                      <a:lnTo>
                        <a:pt x="208" y="920"/>
                      </a:lnTo>
                      <a:lnTo>
                        <a:pt x="200" y="920"/>
                      </a:lnTo>
                      <a:lnTo>
                        <a:pt x="192" y="912"/>
                      </a:lnTo>
                      <a:lnTo>
                        <a:pt x="192" y="904"/>
                      </a:lnTo>
                      <a:lnTo>
                        <a:pt x="208" y="904"/>
                      </a:lnTo>
                      <a:lnTo>
                        <a:pt x="208" y="896"/>
                      </a:lnTo>
                      <a:lnTo>
                        <a:pt x="216" y="888"/>
                      </a:lnTo>
                      <a:lnTo>
                        <a:pt x="216" y="880"/>
                      </a:lnTo>
                      <a:lnTo>
                        <a:pt x="216" y="864"/>
                      </a:lnTo>
                      <a:lnTo>
                        <a:pt x="232" y="856"/>
                      </a:lnTo>
                      <a:lnTo>
                        <a:pt x="208" y="864"/>
                      </a:lnTo>
                      <a:lnTo>
                        <a:pt x="224" y="840"/>
                      </a:lnTo>
                      <a:lnTo>
                        <a:pt x="240" y="824"/>
                      </a:lnTo>
                      <a:lnTo>
                        <a:pt x="248" y="824"/>
                      </a:lnTo>
                      <a:lnTo>
                        <a:pt x="248" y="800"/>
                      </a:lnTo>
                      <a:lnTo>
                        <a:pt x="256" y="784"/>
                      </a:lnTo>
                      <a:lnTo>
                        <a:pt x="240" y="768"/>
                      </a:lnTo>
                      <a:lnTo>
                        <a:pt x="232" y="760"/>
                      </a:lnTo>
                      <a:lnTo>
                        <a:pt x="216" y="760"/>
                      </a:lnTo>
                      <a:lnTo>
                        <a:pt x="200" y="744"/>
                      </a:lnTo>
                      <a:lnTo>
                        <a:pt x="168" y="752"/>
                      </a:lnTo>
                      <a:lnTo>
                        <a:pt x="160" y="736"/>
                      </a:lnTo>
                      <a:lnTo>
                        <a:pt x="160" y="728"/>
                      </a:lnTo>
                      <a:lnTo>
                        <a:pt x="144" y="720"/>
                      </a:lnTo>
                      <a:lnTo>
                        <a:pt x="136" y="688"/>
                      </a:lnTo>
                      <a:lnTo>
                        <a:pt x="104" y="688"/>
                      </a:lnTo>
                      <a:lnTo>
                        <a:pt x="88" y="696"/>
                      </a:lnTo>
                      <a:lnTo>
                        <a:pt x="88" y="680"/>
                      </a:lnTo>
                      <a:lnTo>
                        <a:pt x="80" y="672"/>
                      </a:lnTo>
                      <a:lnTo>
                        <a:pt x="72" y="656"/>
                      </a:lnTo>
                      <a:lnTo>
                        <a:pt x="88" y="656"/>
                      </a:lnTo>
                      <a:lnTo>
                        <a:pt x="96" y="664"/>
                      </a:lnTo>
                      <a:lnTo>
                        <a:pt x="104" y="664"/>
                      </a:lnTo>
                      <a:lnTo>
                        <a:pt x="104" y="648"/>
                      </a:lnTo>
                      <a:lnTo>
                        <a:pt x="88" y="632"/>
                      </a:lnTo>
                      <a:lnTo>
                        <a:pt x="72" y="608"/>
                      </a:lnTo>
                      <a:lnTo>
                        <a:pt x="72" y="576"/>
                      </a:lnTo>
                      <a:lnTo>
                        <a:pt x="64" y="568"/>
                      </a:lnTo>
                      <a:lnTo>
                        <a:pt x="48" y="568"/>
                      </a:lnTo>
                      <a:lnTo>
                        <a:pt x="40" y="568"/>
                      </a:lnTo>
                      <a:lnTo>
                        <a:pt x="32" y="560"/>
                      </a:lnTo>
                      <a:lnTo>
                        <a:pt x="16" y="552"/>
                      </a:lnTo>
                      <a:lnTo>
                        <a:pt x="16" y="528"/>
                      </a:lnTo>
                      <a:lnTo>
                        <a:pt x="8" y="520"/>
                      </a:lnTo>
                      <a:lnTo>
                        <a:pt x="8" y="496"/>
                      </a:lnTo>
                      <a:lnTo>
                        <a:pt x="8" y="480"/>
                      </a:lnTo>
                      <a:lnTo>
                        <a:pt x="0" y="464"/>
                      </a:lnTo>
                      <a:lnTo>
                        <a:pt x="8" y="432"/>
                      </a:lnTo>
                      <a:lnTo>
                        <a:pt x="16" y="424"/>
                      </a:lnTo>
                      <a:lnTo>
                        <a:pt x="16" y="416"/>
                      </a:lnTo>
                      <a:lnTo>
                        <a:pt x="32" y="416"/>
                      </a:lnTo>
                      <a:lnTo>
                        <a:pt x="32" y="408"/>
                      </a:lnTo>
                      <a:lnTo>
                        <a:pt x="56" y="408"/>
                      </a:lnTo>
                      <a:lnTo>
                        <a:pt x="56" y="400"/>
                      </a:lnTo>
                      <a:lnTo>
                        <a:pt x="48" y="392"/>
                      </a:lnTo>
                      <a:lnTo>
                        <a:pt x="32" y="400"/>
                      </a:lnTo>
                      <a:lnTo>
                        <a:pt x="24" y="392"/>
                      </a:lnTo>
                      <a:lnTo>
                        <a:pt x="24" y="376"/>
                      </a:lnTo>
                      <a:lnTo>
                        <a:pt x="32" y="360"/>
                      </a:lnTo>
                      <a:lnTo>
                        <a:pt x="56" y="328"/>
                      </a:lnTo>
                      <a:lnTo>
                        <a:pt x="88" y="280"/>
                      </a:lnTo>
                      <a:lnTo>
                        <a:pt x="72" y="264"/>
                      </a:lnTo>
                      <a:lnTo>
                        <a:pt x="56" y="256"/>
                      </a:lnTo>
                      <a:lnTo>
                        <a:pt x="56" y="248"/>
                      </a:lnTo>
                      <a:lnTo>
                        <a:pt x="64" y="232"/>
                      </a:lnTo>
                      <a:lnTo>
                        <a:pt x="64" y="216"/>
                      </a:lnTo>
                      <a:lnTo>
                        <a:pt x="56" y="200"/>
                      </a:lnTo>
                      <a:lnTo>
                        <a:pt x="64" y="192"/>
                      </a:lnTo>
                      <a:lnTo>
                        <a:pt x="48" y="184"/>
                      </a:lnTo>
                      <a:lnTo>
                        <a:pt x="56" y="168"/>
                      </a:lnTo>
                      <a:lnTo>
                        <a:pt x="56" y="152"/>
                      </a:lnTo>
                      <a:lnTo>
                        <a:pt x="56" y="128"/>
                      </a:lnTo>
                      <a:lnTo>
                        <a:pt x="32" y="96"/>
                      </a:lnTo>
                      <a:lnTo>
                        <a:pt x="48" y="80"/>
                      </a:lnTo>
                      <a:lnTo>
                        <a:pt x="40" y="64"/>
                      </a:lnTo>
                      <a:lnTo>
                        <a:pt x="24" y="48"/>
                      </a:lnTo>
                      <a:lnTo>
                        <a:pt x="24" y="40"/>
                      </a:lnTo>
                      <a:lnTo>
                        <a:pt x="40" y="24"/>
                      </a:lnTo>
                      <a:lnTo>
                        <a:pt x="48" y="16"/>
                      </a:lnTo>
                      <a:lnTo>
                        <a:pt x="72" y="0"/>
                      </a:lnTo>
                      <a:lnTo>
                        <a:pt x="88" y="0"/>
                      </a:lnTo>
                      <a:lnTo>
                        <a:pt x="96" y="0"/>
                      </a:lnTo>
                      <a:lnTo>
                        <a:pt x="112" y="0"/>
                      </a:lnTo>
                      <a:lnTo>
                        <a:pt x="112" y="8"/>
                      </a:lnTo>
                      <a:lnTo>
                        <a:pt x="96" y="8"/>
                      </a:lnTo>
                      <a:lnTo>
                        <a:pt x="104" y="16"/>
                      </a:lnTo>
                      <a:lnTo>
                        <a:pt x="120" y="16"/>
                      </a:lnTo>
                      <a:lnTo>
                        <a:pt x="128" y="24"/>
                      </a:lnTo>
                      <a:lnTo>
                        <a:pt x="144" y="16"/>
                      </a:lnTo>
                      <a:lnTo>
                        <a:pt x="176" y="24"/>
                      </a:lnTo>
                      <a:lnTo>
                        <a:pt x="208" y="40"/>
                      </a:lnTo>
                      <a:lnTo>
                        <a:pt x="232" y="48"/>
                      </a:lnTo>
                      <a:lnTo>
                        <a:pt x="240" y="56"/>
                      </a:lnTo>
                      <a:lnTo>
                        <a:pt x="248" y="64"/>
                      </a:lnTo>
                      <a:lnTo>
                        <a:pt x="256" y="64"/>
                      </a:lnTo>
                      <a:lnTo>
                        <a:pt x="272" y="72"/>
                      </a:lnTo>
                      <a:lnTo>
                        <a:pt x="280" y="72"/>
                      </a:lnTo>
                      <a:lnTo>
                        <a:pt x="280" y="104"/>
                      </a:lnTo>
                      <a:lnTo>
                        <a:pt x="240" y="128"/>
                      </a:lnTo>
                      <a:lnTo>
                        <a:pt x="216" y="128"/>
                      </a:lnTo>
                      <a:lnTo>
                        <a:pt x="184" y="120"/>
                      </a:lnTo>
                      <a:lnTo>
                        <a:pt x="160" y="112"/>
                      </a:lnTo>
                      <a:lnTo>
                        <a:pt x="136" y="104"/>
                      </a:lnTo>
                      <a:lnTo>
                        <a:pt x="128" y="104"/>
                      </a:lnTo>
                      <a:lnTo>
                        <a:pt x="104" y="88"/>
                      </a:lnTo>
                      <a:lnTo>
                        <a:pt x="96" y="96"/>
                      </a:lnTo>
                      <a:lnTo>
                        <a:pt x="128" y="112"/>
                      </a:lnTo>
                      <a:lnTo>
                        <a:pt x="152" y="136"/>
                      </a:lnTo>
                      <a:lnTo>
                        <a:pt x="152" y="152"/>
                      </a:lnTo>
                      <a:lnTo>
                        <a:pt x="136" y="168"/>
                      </a:lnTo>
                      <a:lnTo>
                        <a:pt x="152" y="184"/>
                      </a:lnTo>
                      <a:lnTo>
                        <a:pt x="152" y="208"/>
                      </a:lnTo>
                      <a:lnTo>
                        <a:pt x="152" y="216"/>
                      </a:lnTo>
                      <a:lnTo>
                        <a:pt x="168" y="216"/>
                      </a:lnTo>
                      <a:lnTo>
                        <a:pt x="184" y="232"/>
                      </a:lnTo>
                      <a:lnTo>
                        <a:pt x="208" y="232"/>
                      </a:lnTo>
                      <a:lnTo>
                        <a:pt x="216" y="224"/>
                      </a:lnTo>
                      <a:lnTo>
                        <a:pt x="208" y="216"/>
                      </a:lnTo>
                      <a:lnTo>
                        <a:pt x="200" y="216"/>
                      </a:lnTo>
                      <a:lnTo>
                        <a:pt x="184" y="192"/>
                      </a:lnTo>
                      <a:lnTo>
                        <a:pt x="192" y="176"/>
                      </a:lnTo>
                      <a:lnTo>
                        <a:pt x="200" y="176"/>
                      </a:lnTo>
                      <a:lnTo>
                        <a:pt x="208" y="192"/>
                      </a:lnTo>
                      <a:lnTo>
                        <a:pt x="240" y="200"/>
                      </a:lnTo>
                      <a:lnTo>
                        <a:pt x="256" y="200"/>
                      </a:lnTo>
                      <a:lnTo>
                        <a:pt x="264" y="192"/>
                      </a:lnTo>
                      <a:lnTo>
                        <a:pt x="248" y="160"/>
                      </a:lnTo>
                      <a:lnTo>
                        <a:pt x="272" y="136"/>
                      </a:lnTo>
                      <a:lnTo>
                        <a:pt x="288" y="128"/>
                      </a:lnTo>
                      <a:lnTo>
                        <a:pt x="296" y="112"/>
                      </a:lnTo>
                      <a:lnTo>
                        <a:pt x="312" y="112"/>
                      </a:lnTo>
                      <a:lnTo>
                        <a:pt x="336" y="128"/>
                      </a:lnTo>
                      <a:lnTo>
                        <a:pt x="352" y="96"/>
                      </a:lnTo>
                      <a:lnTo>
                        <a:pt x="336" y="88"/>
                      </a:lnTo>
                      <a:lnTo>
                        <a:pt x="336" y="80"/>
                      </a:lnTo>
                      <a:lnTo>
                        <a:pt x="344" y="72"/>
                      </a:lnTo>
                      <a:lnTo>
                        <a:pt x="344" y="56"/>
                      </a:lnTo>
                      <a:lnTo>
                        <a:pt x="336" y="56"/>
                      </a:lnTo>
                      <a:lnTo>
                        <a:pt x="320" y="48"/>
                      </a:lnTo>
                      <a:lnTo>
                        <a:pt x="320" y="40"/>
                      </a:lnTo>
                      <a:lnTo>
                        <a:pt x="328" y="40"/>
                      </a:lnTo>
                      <a:lnTo>
                        <a:pt x="360" y="40"/>
                      </a:lnTo>
                      <a:lnTo>
                        <a:pt x="384" y="48"/>
                      </a:lnTo>
                      <a:lnTo>
                        <a:pt x="392" y="64"/>
                      </a:lnTo>
                      <a:lnTo>
                        <a:pt x="368" y="72"/>
                      </a:lnTo>
                      <a:lnTo>
                        <a:pt x="360" y="80"/>
                      </a:lnTo>
                      <a:lnTo>
                        <a:pt x="368" y="88"/>
                      </a:lnTo>
                      <a:lnTo>
                        <a:pt x="368" y="96"/>
                      </a:lnTo>
                      <a:lnTo>
                        <a:pt x="392" y="96"/>
                      </a:lnTo>
                      <a:lnTo>
                        <a:pt x="416" y="96"/>
                      </a:lnTo>
                      <a:lnTo>
                        <a:pt x="416" y="80"/>
                      </a:lnTo>
                      <a:lnTo>
                        <a:pt x="416" y="72"/>
                      </a:lnTo>
                      <a:lnTo>
                        <a:pt x="432" y="72"/>
                      </a:lnTo>
                      <a:lnTo>
                        <a:pt x="432" y="64"/>
                      </a:lnTo>
                      <a:lnTo>
                        <a:pt x="448" y="64"/>
                      </a:lnTo>
                      <a:lnTo>
                        <a:pt x="464" y="56"/>
                      </a:lnTo>
                      <a:lnTo>
                        <a:pt x="472" y="48"/>
                      </a:lnTo>
                      <a:lnTo>
                        <a:pt x="496" y="48"/>
                      </a:lnTo>
                      <a:lnTo>
                        <a:pt x="504" y="48"/>
                      </a:lnTo>
                      <a:lnTo>
                        <a:pt x="512" y="48"/>
                      </a:lnTo>
                      <a:lnTo>
                        <a:pt x="512" y="40"/>
                      </a:lnTo>
                      <a:lnTo>
                        <a:pt x="520" y="40"/>
                      </a:lnTo>
                      <a:lnTo>
                        <a:pt x="536" y="32"/>
                      </a:lnTo>
                      <a:lnTo>
                        <a:pt x="544" y="32"/>
                      </a:lnTo>
                      <a:lnTo>
                        <a:pt x="536" y="40"/>
                      </a:lnTo>
                      <a:lnTo>
                        <a:pt x="544" y="48"/>
                      </a:lnTo>
                      <a:lnTo>
                        <a:pt x="536" y="56"/>
                      </a:lnTo>
                      <a:lnTo>
                        <a:pt x="552" y="56"/>
                      </a:lnTo>
                      <a:lnTo>
                        <a:pt x="568" y="56"/>
                      </a:lnTo>
                      <a:lnTo>
                        <a:pt x="568" y="48"/>
                      </a:lnTo>
                      <a:lnTo>
                        <a:pt x="576" y="40"/>
                      </a:lnTo>
                      <a:lnTo>
                        <a:pt x="584" y="40"/>
                      </a:lnTo>
                      <a:lnTo>
                        <a:pt x="584" y="48"/>
                      </a:lnTo>
                      <a:lnTo>
                        <a:pt x="600" y="48"/>
                      </a:lnTo>
                      <a:lnTo>
                        <a:pt x="616" y="40"/>
                      </a:lnTo>
                      <a:lnTo>
                        <a:pt x="624" y="40"/>
                      </a:lnTo>
                      <a:lnTo>
                        <a:pt x="640" y="32"/>
                      </a:lnTo>
                      <a:lnTo>
                        <a:pt x="648" y="32"/>
                      </a:lnTo>
                      <a:lnTo>
                        <a:pt x="648" y="48"/>
                      </a:lnTo>
                      <a:lnTo>
                        <a:pt x="656" y="48"/>
                      </a:lnTo>
                      <a:lnTo>
                        <a:pt x="664" y="48"/>
                      </a:lnTo>
                      <a:lnTo>
                        <a:pt x="664" y="40"/>
                      </a:lnTo>
                      <a:lnTo>
                        <a:pt x="680" y="32"/>
                      </a:lnTo>
                      <a:lnTo>
                        <a:pt x="680" y="16"/>
                      </a:lnTo>
                      <a:lnTo>
                        <a:pt x="672" y="8"/>
                      </a:lnTo>
                      <a:lnTo>
                        <a:pt x="688" y="0"/>
                      </a:lnTo>
                      <a:lnTo>
                        <a:pt x="744" y="8"/>
                      </a:lnTo>
                      <a:lnTo>
                        <a:pt x="760" y="40"/>
                      </a:lnTo>
                      <a:lnTo>
                        <a:pt x="744" y="48"/>
                      </a:lnTo>
                      <a:lnTo>
                        <a:pt x="760" y="104"/>
                      </a:lnTo>
                      <a:lnTo>
                        <a:pt x="752" y="128"/>
                      </a:lnTo>
                      <a:lnTo>
                        <a:pt x="736" y="136"/>
                      </a:lnTo>
                      <a:lnTo>
                        <a:pt x="680" y="200"/>
                      </a:lnTo>
                      <a:lnTo>
                        <a:pt x="672" y="272"/>
                      </a:lnTo>
                      <a:lnTo>
                        <a:pt x="680" y="288"/>
                      </a:lnTo>
                      <a:lnTo>
                        <a:pt x="672" y="344"/>
                      </a:lnTo>
                      <a:lnTo>
                        <a:pt x="664" y="416"/>
                      </a:lnTo>
                      <a:lnTo>
                        <a:pt x="664" y="456"/>
                      </a:lnTo>
                      <a:lnTo>
                        <a:pt x="672" y="504"/>
                      </a:lnTo>
                      <a:lnTo>
                        <a:pt x="664" y="536"/>
                      </a:lnTo>
                      <a:lnTo>
                        <a:pt x="640" y="552"/>
                      </a:lnTo>
                      <a:lnTo>
                        <a:pt x="632" y="576"/>
                      </a:lnTo>
                      <a:lnTo>
                        <a:pt x="648" y="592"/>
                      </a:lnTo>
                      <a:lnTo>
                        <a:pt x="616" y="648"/>
                      </a:lnTo>
                      <a:lnTo>
                        <a:pt x="616" y="672"/>
                      </a:lnTo>
                      <a:lnTo>
                        <a:pt x="648" y="704"/>
                      </a:lnTo>
                      <a:lnTo>
                        <a:pt x="664" y="72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36" name="Freeform 332"/>
                <p:cNvSpPr>
                  <a:spLocks noChangeAspect="1"/>
                </p:cNvSpPr>
                <p:nvPr/>
              </p:nvSpPr>
              <p:spPr bwMode="auto">
                <a:xfrm>
                  <a:off x="3329" y="2200"/>
                  <a:ext cx="102" cy="51"/>
                </a:xfrm>
                <a:custGeom>
                  <a:avLst/>
                  <a:gdLst>
                    <a:gd name="T0" fmla="*/ 1 w 144"/>
                    <a:gd name="T1" fmla="*/ 1 h 72"/>
                    <a:gd name="T2" fmla="*/ 1 w 144"/>
                    <a:gd name="T3" fmla="*/ 1 h 72"/>
                    <a:gd name="T4" fmla="*/ 1 w 144"/>
                    <a:gd name="T5" fmla="*/ 1 h 72"/>
                    <a:gd name="T6" fmla="*/ 1 w 144"/>
                    <a:gd name="T7" fmla="*/ 1 h 72"/>
                    <a:gd name="T8" fmla="*/ 1 w 144"/>
                    <a:gd name="T9" fmla="*/ 1 h 72"/>
                    <a:gd name="T10" fmla="*/ 1 w 144"/>
                    <a:gd name="T11" fmla="*/ 1 h 72"/>
                    <a:gd name="T12" fmla="*/ 1 w 144"/>
                    <a:gd name="T13" fmla="*/ 1 h 72"/>
                    <a:gd name="T14" fmla="*/ 1 w 144"/>
                    <a:gd name="T15" fmla="*/ 1 h 72"/>
                    <a:gd name="T16" fmla="*/ 0 w 144"/>
                    <a:gd name="T17" fmla="*/ 0 h 72"/>
                    <a:gd name="T18" fmla="*/ 1 w 144"/>
                    <a:gd name="T19" fmla="*/ 1 h 72"/>
                    <a:gd name="T20" fmla="*/ 1 w 144"/>
                    <a:gd name="T21" fmla="*/ 1 h 72"/>
                    <a:gd name="T22" fmla="*/ 1 w 144"/>
                    <a:gd name="T23" fmla="*/ 1 h 72"/>
                    <a:gd name="T24" fmla="*/ 1 w 144"/>
                    <a:gd name="T25" fmla="*/ 1 h 72"/>
                    <a:gd name="T26" fmla="*/ 1 w 144"/>
                    <a:gd name="T27" fmla="*/ 1 h 72"/>
                    <a:gd name="T28" fmla="*/ 1 w 144"/>
                    <a:gd name="T29" fmla="*/ 1 h 72"/>
                    <a:gd name="T30" fmla="*/ 1 w 144"/>
                    <a:gd name="T31" fmla="*/ 1 h 72"/>
                    <a:gd name="T32" fmla="*/ 1 w 144"/>
                    <a:gd name="T33" fmla="*/ 1 h 72"/>
                    <a:gd name="T34" fmla="*/ 1 w 144"/>
                    <a:gd name="T35" fmla="*/ 1 h 72"/>
                    <a:gd name="T36" fmla="*/ 1 w 144"/>
                    <a:gd name="T37" fmla="*/ 1 h 72"/>
                    <a:gd name="T38" fmla="*/ 1 w 144"/>
                    <a:gd name="T39" fmla="*/ 1 h 72"/>
                    <a:gd name="T40" fmla="*/ 1 w 144"/>
                    <a:gd name="T41" fmla="*/ 1 h 72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44"/>
                    <a:gd name="T64" fmla="*/ 0 h 72"/>
                    <a:gd name="T65" fmla="*/ 144 w 144"/>
                    <a:gd name="T66" fmla="*/ 72 h 72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44" h="72">
                      <a:moveTo>
                        <a:pt x="64" y="48"/>
                      </a:moveTo>
                      <a:lnTo>
                        <a:pt x="48" y="48"/>
                      </a:lnTo>
                      <a:lnTo>
                        <a:pt x="32" y="48"/>
                      </a:lnTo>
                      <a:lnTo>
                        <a:pt x="40" y="40"/>
                      </a:lnTo>
                      <a:lnTo>
                        <a:pt x="32" y="32"/>
                      </a:lnTo>
                      <a:lnTo>
                        <a:pt x="32" y="16"/>
                      </a:lnTo>
                      <a:lnTo>
                        <a:pt x="24" y="16"/>
                      </a:lnTo>
                      <a:lnTo>
                        <a:pt x="16" y="8"/>
                      </a:lnTo>
                      <a:lnTo>
                        <a:pt x="0" y="0"/>
                      </a:lnTo>
                      <a:lnTo>
                        <a:pt x="24" y="8"/>
                      </a:lnTo>
                      <a:lnTo>
                        <a:pt x="56" y="8"/>
                      </a:lnTo>
                      <a:lnTo>
                        <a:pt x="64" y="8"/>
                      </a:lnTo>
                      <a:lnTo>
                        <a:pt x="96" y="16"/>
                      </a:lnTo>
                      <a:lnTo>
                        <a:pt x="120" y="32"/>
                      </a:lnTo>
                      <a:lnTo>
                        <a:pt x="128" y="32"/>
                      </a:lnTo>
                      <a:lnTo>
                        <a:pt x="136" y="48"/>
                      </a:lnTo>
                      <a:lnTo>
                        <a:pt x="144" y="64"/>
                      </a:lnTo>
                      <a:lnTo>
                        <a:pt x="144" y="72"/>
                      </a:lnTo>
                      <a:lnTo>
                        <a:pt x="112" y="64"/>
                      </a:lnTo>
                      <a:lnTo>
                        <a:pt x="88" y="56"/>
                      </a:lnTo>
                      <a:lnTo>
                        <a:pt x="64" y="4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37" name="Freeform 333"/>
                <p:cNvSpPr>
                  <a:spLocks noChangeAspect="1"/>
                </p:cNvSpPr>
                <p:nvPr/>
              </p:nvSpPr>
              <p:spPr bwMode="auto">
                <a:xfrm>
                  <a:off x="3515" y="2211"/>
                  <a:ext cx="197" cy="141"/>
                </a:xfrm>
                <a:custGeom>
                  <a:avLst/>
                  <a:gdLst>
                    <a:gd name="T0" fmla="*/ 1 w 280"/>
                    <a:gd name="T1" fmla="*/ 1 h 200"/>
                    <a:gd name="T2" fmla="*/ 1 w 280"/>
                    <a:gd name="T3" fmla="*/ 1 h 200"/>
                    <a:gd name="T4" fmla="*/ 1 w 280"/>
                    <a:gd name="T5" fmla="*/ 1 h 200"/>
                    <a:gd name="T6" fmla="*/ 1 w 280"/>
                    <a:gd name="T7" fmla="*/ 1 h 200"/>
                    <a:gd name="T8" fmla="*/ 1 w 280"/>
                    <a:gd name="T9" fmla="*/ 1 h 200"/>
                    <a:gd name="T10" fmla="*/ 0 w 280"/>
                    <a:gd name="T11" fmla="*/ 1 h 200"/>
                    <a:gd name="T12" fmla="*/ 0 w 280"/>
                    <a:gd name="T13" fmla="*/ 1 h 200"/>
                    <a:gd name="T14" fmla="*/ 1 w 280"/>
                    <a:gd name="T15" fmla="*/ 1 h 200"/>
                    <a:gd name="T16" fmla="*/ 1 w 280"/>
                    <a:gd name="T17" fmla="*/ 1 h 200"/>
                    <a:gd name="T18" fmla="*/ 1 w 280"/>
                    <a:gd name="T19" fmla="*/ 1 h 200"/>
                    <a:gd name="T20" fmla="*/ 1 w 280"/>
                    <a:gd name="T21" fmla="*/ 1 h 200"/>
                    <a:gd name="T22" fmla="*/ 1 w 280"/>
                    <a:gd name="T23" fmla="*/ 1 h 200"/>
                    <a:gd name="T24" fmla="*/ 1 w 280"/>
                    <a:gd name="T25" fmla="*/ 1 h 200"/>
                    <a:gd name="T26" fmla="*/ 1 w 280"/>
                    <a:gd name="T27" fmla="*/ 1 h 200"/>
                    <a:gd name="T28" fmla="*/ 0 w 280"/>
                    <a:gd name="T29" fmla="*/ 1 h 200"/>
                    <a:gd name="T30" fmla="*/ 1 w 280"/>
                    <a:gd name="T31" fmla="*/ 1 h 200"/>
                    <a:gd name="T32" fmla="*/ 1 w 280"/>
                    <a:gd name="T33" fmla="*/ 1 h 200"/>
                    <a:gd name="T34" fmla="*/ 1 w 280"/>
                    <a:gd name="T35" fmla="*/ 1 h 200"/>
                    <a:gd name="T36" fmla="*/ 1 w 280"/>
                    <a:gd name="T37" fmla="*/ 1 h 200"/>
                    <a:gd name="T38" fmla="*/ 1 w 280"/>
                    <a:gd name="T39" fmla="*/ 1 h 200"/>
                    <a:gd name="T40" fmla="*/ 1 w 280"/>
                    <a:gd name="T41" fmla="*/ 1 h 200"/>
                    <a:gd name="T42" fmla="*/ 1 w 280"/>
                    <a:gd name="T43" fmla="*/ 1 h 200"/>
                    <a:gd name="T44" fmla="*/ 1 w 280"/>
                    <a:gd name="T45" fmla="*/ 1 h 200"/>
                    <a:gd name="T46" fmla="*/ 1 w 280"/>
                    <a:gd name="T47" fmla="*/ 1 h 200"/>
                    <a:gd name="T48" fmla="*/ 1 w 280"/>
                    <a:gd name="T49" fmla="*/ 1 h 200"/>
                    <a:gd name="T50" fmla="*/ 1 w 280"/>
                    <a:gd name="T51" fmla="*/ 1 h 200"/>
                    <a:gd name="T52" fmla="*/ 1 w 280"/>
                    <a:gd name="T53" fmla="*/ 1 h 200"/>
                    <a:gd name="T54" fmla="*/ 1 w 280"/>
                    <a:gd name="T55" fmla="*/ 1 h 200"/>
                    <a:gd name="T56" fmla="*/ 1 w 280"/>
                    <a:gd name="T57" fmla="*/ 1 h 200"/>
                    <a:gd name="T58" fmla="*/ 1 w 280"/>
                    <a:gd name="T59" fmla="*/ 1 h 200"/>
                    <a:gd name="T60" fmla="*/ 1 w 280"/>
                    <a:gd name="T61" fmla="*/ 1 h 200"/>
                    <a:gd name="T62" fmla="*/ 1 w 280"/>
                    <a:gd name="T63" fmla="*/ 1 h 200"/>
                    <a:gd name="T64" fmla="*/ 1 w 280"/>
                    <a:gd name="T65" fmla="*/ 1 h 200"/>
                    <a:gd name="T66" fmla="*/ 1 w 280"/>
                    <a:gd name="T67" fmla="*/ 1 h 200"/>
                    <a:gd name="T68" fmla="*/ 1 w 280"/>
                    <a:gd name="T69" fmla="*/ 1 h 200"/>
                    <a:gd name="T70" fmla="*/ 1 w 280"/>
                    <a:gd name="T71" fmla="*/ 1 h 200"/>
                    <a:gd name="T72" fmla="*/ 1 w 280"/>
                    <a:gd name="T73" fmla="*/ 1 h 200"/>
                    <a:gd name="T74" fmla="*/ 1 w 280"/>
                    <a:gd name="T75" fmla="*/ 1 h 200"/>
                    <a:gd name="T76" fmla="*/ 1 w 280"/>
                    <a:gd name="T77" fmla="*/ 1 h 200"/>
                    <a:gd name="T78" fmla="*/ 1 w 280"/>
                    <a:gd name="T79" fmla="*/ 1 h 200"/>
                    <a:gd name="T80" fmla="*/ 1 w 280"/>
                    <a:gd name="T81" fmla="*/ 1 h 200"/>
                    <a:gd name="T82" fmla="*/ 1 w 280"/>
                    <a:gd name="T83" fmla="*/ 1 h 200"/>
                    <a:gd name="T84" fmla="*/ 1 w 280"/>
                    <a:gd name="T85" fmla="*/ 1 h 200"/>
                    <a:gd name="T86" fmla="*/ 1 w 280"/>
                    <a:gd name="T87" fmla="*/ 1 h 200"/>
                    <a:gd name="T88" fmla="*/ 1 w 280"/>
                    <a:gd name="T89" fmla="*/ 1 h 200"/>
                    <a:gd name="T90" fmla="*/ 1 w 280"/>
                    <a:gd name="T91" fmla="*/ 1 h 200"/>
                    <a:gd name="T92" fmla="*/ 1 w 280"/>
                    <a:gd name="T93" fmla="*/ 0 h 200"/>
                    <a:gd name="T94" fmla="*/ 1 w 280"/>
                    <a:gd name="T95" fmla="*/ 0 h 200"/>
                    <a:gd name="T96" fmla="*/ 1 w 280"/>
                    <a:gd name="T97" fmla="*/ 1 h 200"/>
                    <a:gd name="T98" fmla="*/ 1 w 280"/>
                    <a:gd name="T99" fmla="*/ 0 h 200"/>
                    <a:gd name="T100" fmla="*/ 1 w 280"/>
                    <a:gd name="T101" fmla="*/ 1 h 200"/>
                    <a:gd name="T102" fmla="*/ 1 w 280"/>
                    <a:gd name="T103" fmla="*/ 1 h 200"/>
                    <a:gd name="T104" fmla="*/ 1 w 280"/>
                    <a:gd name="T105" fmla="*/ 1 h 200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280"/>
                    <a:gd name="T160" fmla="*/ 0 h 200"/>
                    <a:gd name="T161" fmla="*/ 280 w 280"/>
                    <a:gd name="T162" fmla="*/ 200 h 200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280" h="200">
                      <a:moveTo>
                        <a:pt x="64" y="24"/>
                      </a:moveTo>
                      <a:lnTo>
                        <a:pt x="40" y="24"/>
                      </a:lnTo>
                      <a:lnTo>
                        <a:pt x="32" y="16"/>
                      </a:lnTo>
                      <a:lnTo>
                        <a:pt x="16" y="8"/>
                      </a:lnTo>
                      <a:lnTo>
                        <a:pt x="8" y="8"/>
                      </a:lnTo>
                      <a:lnTo>
                        <a:pt x="0" y="16"/>
                      </a:lnTo>
                      <a:lnTo>
                        <a:pt x="0" y="24"/>
                      </a:lnTo>
                      <a:lnTo>
                        <a:pt x="8" y="16"/>
                      </a:lnTo>
                      <a:lnTo>
                        <a:pt x="24" y="24"/>
                      </a:lnTo>
                      <a:lnTo>
                        <a:pt x="32" y="32"/>
                      </a:lnTo>
                      <a:lnTo>
                        <a:pt x="40" y="40"/>
                      </a:lnTo>
                      <a:lnTo>
                        <a:pt x="40" y="48"/>
                      </a:lnTo>
                      <a:lnTo>
                        <a:pt x="24" y="56"/>
                      </a:lnTo>
                      <a:lnTo>
                        <a:pt x="8" y="56"/>
                      </a:lnTo>
                      <a:lnTo>
                        <a:pt x="0" y="72"/>
                      </a:lnTo>
                      <a:lnTo>
                        <a:pt x="8" y="72"/>
                      </a:lnTo>
                      <a:lnTo>
                        <a:pt x="16" y="72"/>
                      </a:lnTo>
                      <a:lnTo>
                        <a:pt x="24" y="88"/>
                      </a:lnTo>
                      <a:lnTo>
                        <a:pt x="16" y="88"/>
                      </a:lnTo>
                      <a:lnTo>
                        <a:pt x="24" y="104"/>
                      </a:lnTo>
                      <a:lnTo>
                        <a:pt x="32" y="144"/>
                      </a:lnTo>
                      <a:lnTo>
                        <a:pt x="48" y="144"/>
                      </a:lnTo>
                      <a:lnTo>
                        <a:pt x="64" y="120"/>
                      </a:lnTo>
                      <a:lnTo>
                        <a:pt x="112" y="128"/>
                      </a:lnTo>
                      <a:lnTo>
                        <a:pt x="120" y="136"/>
                      </a:lnTo>
                      <a:lnTo>
                        <a:pt x="136" y="136"/>
                      </a:lnTo>
                      <a:lnTo>
                        <a:pt x="176" y="168"/>
                      </a:lnTo>
                      <a:lnTo>
                        <a:pt x="176" y="184"/>
                      </a:lnTo>
                      <a:lnTo>
                        <a:pt x="192" y="192"/>
                      </a:lnTo>
                      <a:lnTo>
                        <a:pt x="208" y="200"/>
                      </a:lnTo>
                      <a:lnTo>
                        <a:pt x="208" y="184"/>
                      </a:lnTo>
                      <a:lnTo>
                        <a:pt x="248" y="160"/>
                      </a:lnTo>
                      <a:lnTo>
                        <a:pt x="256" y="144"/>
                      </a:lnTo>
                      <a:lnTo>
                        <a:pt x="280" y="144"/>
                      </a:lnTo>
                      <a:lnTo>
                        <a:pt x="272" y="128"/>
                      </a:lnTo>
                      <a:lnTo>
                        <a:pt x="264" y="128"/>
                      </a:lnTo>
                      <a:lnTo>
                        <a:pt x="240" y="120"/>
                      </a:lnTo>
                      <a:lnTo>
                        <a:pt x="224" y="112"/>
                      </a:lnTo>
                      <a:lnTo>
                        <a:pt x="208" y="88"/>
                      </a:lnTo>
                      <a:lnTo>
                        <a:pt x="200" y="64"/>
                      </a:lnTo>
                      <a:lnTo>
                        <a:pt x="184" y="48"/>
                      </a:lnTo>
                      <a:lnTo>
                        <a:pt x="176" y="40"/>
                      </a:lnTo>
                      <a:lnTo>
                        <a:pt x="144" y="32"/>
                      </a:lnTo>
                      <a:lnTo>
                        <a:pt x="144" y="24"/>
                      </a:lnTo>
                      <a:lnTo>
                        <a:pt x="144" y="16"/>
                      </a:lnTo>
                      <a:lnTo>
                        <a:pt x="136" y="8"/>
                      </a:lnTo>
                      <a:lnTo>
                        <a:pt x="128" y="0"/>
                      </a:lnTo>
                      <a:lnTo>
                        <a:pt x="120" y="0"/>
                      </a:lnTo>
                      <a:lnTo>
                        <a:pt x="120" y="8"/>
                      </a:lnTo>
                      <a:lnTo>
                        <a:pt x="112" y="0"/>
                      </a:lnTo>
                      <a:lnTo>
                        <a:pt x="104" y="8"/>
                      </a:lnTo>
                      <a:lnTo>
                        <a:pt x="96" y="32"/>
                      </a:lnTo>
                      <a:lnTo>
                        <a:pt x="64" y="24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38" name="Freeform 334"/>
                <p:cNvSpPr>
                  <a:spLocks noChangeAspect="1"/>
                </p:cNvSpPr>
                <p:nvPr/>
              </p:nvSpPr>
              <p:spPr bwMode="auto">
                <a:xfrm>
                  <a:off x="3431" y="1935"/>
                  <a:ext cx="585" cy="310"/>
                </a:xfrm>
                <a:custGeom>
                  <a:avLst/>
                  <a:gdLst>
                    <a:gd name="T0" fmla="*/ 1 w 832"/>
                    <a:gd name="T1" fmla="*/ 1 h 440"/>
                    <a:gd name="T2" fmla="*/ 1 w 832"/>
                    <a:gd name="T3" fmla="*/ 1 h 440"/>
                    <a:gd name="T4" fmla="*/ 1 w 832"/>
                    <a:gd name="T5" fmla="*/ 1 h 440"/>
                    <a:gd name="T6" fmla="*/ 1 w 832"/>
                    <a:gd name="T7" fmla="*/ 1 h 440"/>
                    <a:gd name="T8" fmla="*/ 1 w 832"/>
                    <a:gd name="T9" fmla="*/ 1 h 440"/>
                    <a:gd name="T10" fmla="*/ 1 w 832"/>
                    <a:gd name="T11" fmla="*/ 1 h 440"/>
                    <a:gd name="T12" fmla="*/ 1 w 832"/>
                    <a:gd name="T13" fmla="*/ 1 h 440"/>
                    <a:gd name="T14" fmla="*/ 1 w 832"/>
                    <a:gd name="T15" fmla="*/ 1 h 440"/>
                    <a:gd name="T16" fmla="*/ 1 w 832"/>
                    <a:gd name="T17" fmla="*/ 1 h 440"/>
                    <a:gd name="T18" fmla="*/ 1 w 832"/>
                    <a:gd name="T19" fmla="*/ 1 h 440"/>
                    <a:gd name="T20" fmla="*/ 1 w 832"/>
                    <a:gd name="T21" fmla="*/ 1 h 440"/>
                    <a:gd name="T22" fmla="*/ 1 w 832"/>
                    <a:gd name="T23" fmla="*/ 1 h 440"/>
                    <a:gd name="T24" fmla="*/ 1 w 832"/>
                    <a:gd name="T25" fmla="*/ 1 h 440"/>
                    <a:gd name="T26" fmla="*/ 1 w 832"/>
                    <a:gd name="T27" fmla="*/ 1 h 440"/>
                    <a:gd name="T28" fmla="*/ 1 w 832"/>
                    <a:gd name="T29" fmla="*/ 1 h 440"/>
                    <a:gd name="T30" fmla="*/ 1 w 832"/>
                    <a:gd name="T31" fmla="*/ 1 h 440"/>
                    <a:gd name="T32" fmla="*/ 1 w 832"/>
                    <a:gd name="T33" fmla="*/ 0 h 440"/>
                    <a:gd name="T34" fmla="*/ 1 w 832"/>
                    <a:gd name="T35" fmla="*/ 1 h 440"/>
                    <a:gd name="T36" fmla="*/ 1 w 832"/>
                    <a:gd name="T37" fmla="*/ 1 h 440"/>
                    <a:gd name="T38" fmla="*/ 1 w 832"/>
                    <a:gd name="T39" fmla="*/ 1 h 440"/>
                    <a:gd name="T40" fmla="*/ 1 w 832"/>
                    <a:gd name="T41" fmla="*/ 1 h 440"/>
                    <a:gd name="T42" fmla="*/ 1 w 832"/>
                    <a:gd name="T43" fmla="*/ 1 h 440"/>
                    <a:gd name="T44" fmla="*/ 1 w 832"/>
                    <a:gd name="T45" fmla="*/ 1 h 440"/>
                    <a:gd name="T46" fmla="*/ 1 w 832"/>
                    <a:gd name="T47" fmla="*/ 1 h 440"/>
                    <a:gd name="T48" fmla="*/ 1 w 832"/>
                    <a:gd name="T49" fmla="*/ 1 h 440"/>
                    <a:gd name="T50" fmla="*/ 1 w 832"/>
                    <a:gd name="T51" fmla="*/ 1 h 440"/>
                    <a:gd name="T52" fmla="*/ 1 w 832"/>
                    <a:gd name="T53" fmla="*/ 1 h 440"/>
                    <a:gd name="T54" fmla="*/ 1 w 832"/>
                    <a:gd name="T55" fmla="*/ 1 h 440"/>
                    <a:gd name="T56" fmla="*/ 0 w 832"/>
                    <a:gd name="T57" fmla="*/ 1 h 440"/>
                    <a:gd name="T58" fmla="*/ 1 w 832"/>
                    <a:gd name="T59" fmla="*/ 1 h 440"/>
                    <a:gd name="T60" fmla="*/ 1 w 832"/>
                    <a:gd name="T61" fmla="*/ 1 h 440"/>
                    <a:gd name="T62" fmla="*/ 1 w 832"/>
                    <a:gd name="T63" fmla="*/ 1 h 440"/>
                    <a:gd name="T64" fmla="*/ 1 w 832"/>
                    <a:gd name="T65" fmla="*/ 1 h 440"/>
                    <a:gd name="T66" fmla="*/ 1 w 832"/>
                    <a:gd name="T67" fmla="*/ 1 h 440"/>
                    <a:gd name="T68" fmla="*/ 1 w 832"/>
                    <a:gd name="T69" fmla="*/ 1 h 440"/>
                    <a:gd name="T70" fmla="*/ 1 w 832"/>
                    <a:gd name="T71" fmla="*/ 1 h 440"/>
                    <a:gd name="T72" fmla="*/ 1 w 832"/>
                    <a:gd name="T73" fmla="*/ 1 h 440"/>
                    <a:gd name="T74" fmla="*/ 1 w 832"/>
                    <a:gd name="T75" fmla="*/ 1 h 440"/>
                    <a:gd name="T76" fmla="*/ 1 w 832"/>
                    <a:gd name="T77" fmla="*/ 1 h 440"/>
                    <a:gd name="T78" fmla="*/ 1 w 832"/>
                    <a:gd name="T79" fmla="*/ 1 h 440"/>
                    <a:gd name="T80" fmla="*/ 1 w 832"/>
                    <a:gd name="T81" fmla="*/ 1 h 440"/>
                    <a:gd name="T82" fmla="*/ 1 w 832"/>
                    <a:gd name="T83" fmla="*/ 1 h 440"/>
                    <a:gd name="T84" fmla="*/ 1 w 832"/>
                    <a:gd name="T85" fmla="*/ 1 h 440"/>
                    <a:gd name="T86" fmla="*/ 1 w 832"/>
                    <a:gd name="T87" fmla="*/ 1 h 440"/>
                    <a:gd name="T88" fmla="*/ 1 w 832"/>
                    <a:gd name="T89" fmla="*/ 1 h 440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832"/>
                    <a:gd name="T136" fmla="*/ 0 h 440"/>
                    <a:gd name="T137" fmla="*/ 832 w 832"/>
                    <a:gd name="T138" fmla="*/ 440 h 440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832" h="440">
                      <a:moveTo>
                        <a:pt x="448" y="432"/>
                      </a:moveTo>
                      <a:lnTo>
                        <a:pt x="456" y="416"/>
                      </a:lnTo>
                      <a:lnTo>
                        <a:pt x="464" y="408"/>
                      </a:lnTo>
                      <a:lnTo>
                        <a:pt x="496" y="400"/>
                      </a:lnTo>
                      <a:lnTo>
                        <a:pt x="504" y="392"/>
                      </a:lnTo>
                      <a:lnTo>
                        <a:pt x="520" y="392"/>
                      </a:lnTo>
                      <a:lnTo>
                        <a:pt x="528" y="400"/>
                      </a:lnTo>
                      <a:lnTo>
                        <a:pt x="552" y="392"/>
                      </a:lnTo>
                      <a:lnTo>
                        <a:pt x="544" y="384"/>
                      </a:lnTo>
                      <a:lnTo>
                        <a:pt x="568" y="368"/>
                      </a:lnTo>
                      <a:lnTo>
                        <a:pt x="576" y="376"/>
                      </a:lnTo>
                      <a:lnTo>
                        <a:pt x="584" y="384"/>
                      </a:lnTo>
                      <a:lnTo>
                        <a:pt x="616" y="376"/>
                      </a:lnTo>
                      <a:lnTo>
                        <a:pt x="648" y="384"/>
                      </a:lnTo>
                      <a:lnTo>
                        <a:pt x="672" y="392"/>
                      </a:lnTo>
                      <a:lnTo>
                        <a:pt x="688" y="400"/>
                      </a:lnTo>
                      <a:lnTo>
                        <a:pt x="696" y="376"/>
                      </a:lnTo>
                      <a:lnTo>
                        <a:pt x="688" y="368"/>
                      </a:lnTo>
                      <a:lnTo>
                        <a:pt x="688" y="344"/>
                      </a:lnTo>
                      <a:lnTo>
                        <a:pt x="672" y="328"/>
                      </a:lnTo>
                      <a:lnTo>
                        <a:pt x="712" y="312"/>
                      </a:lnTo>
                      <a:lnTo>
                        <a:pt x="728" y="328"/>
                      </a:lnTo>
                      <a:lnTo>
                        <a:pt x="736" y="320"/>
                      </a:lnTo>
                      <a:lnTo>
                        <a:pt x="736" y="304"/>
                      </a:lnTo>
                      <a:lnTo>
                        <a:pt x="752" y="264"/>
                      </a:lnTo>
                      <a:lnTo>
                        <a:pt x="776" y="264"/>
                      </a:lnTo>
                      <a:lnTo>
                        <a:pt x="792" y="272"/>
                      </a:lnTo>
                      <a:lnTo>
                        <a:pt x="800" y="264"/>
                      </a:lnTo>
                      <a:lnTo>
                        <a:pt x="792" y="232"/>
                      </a:lnTo>
                      <a:lnTo>
                        <a:pt x="832" y="200"/>
                      </a:lnTo>
                      <a:lnTo>
                        <a:pt x="832" y="192"/>
                      </a:lnTo>
                      <a:lnTo>
                        <a:pt x="792" y="184"/>
                      </a:lnTo>
                      <a:lnTo>
                        <a:pt x="760" y="144"/>
                      </a:lnTo>
                      <a:lnTo>
                        <a:pt x="736" y="144"/>
                      </a:lnTo>
                      <a:lnTo>
                        <a:pt x="680" y="144"/>
                      </a:lnTo>
                      <a:lnTo>
                        <a:pt x="664" y="112"/>
                      </a:lnTo>
                      <a:lnTo>
                        <a:pt x="648" y="88"/>
                      </a:lnTo>
                      <a:lnTo>
                        <a:pt x="624" y="64"/>
                      </a:lnTo>
                      <a:lnTo>
                        <a:pt x="616" y="48"/>
                      </a:lnTo>
                      <a:lnTo>
                        <a:pt x="616" y="32"/>
                      </a:lnTo>
                      <a:lnTo>
                        <a:pt x="584" y="24"/>
                      </a:lnTo>
                      <a:lnTo>
                        <a:pt x="576" y="40"/>
                      </a:lnTo>
                      <a:lnTo>
                        <a:pt x="568" y="56"/>
                      </a:lnTo>
                      <a:lnTo>
                        <a:pt x="544" y="56"/>
                      </a:lnTo>
                      <a:lnTo>
                        <a:pt x="544" y="40"/>
                      </a:lnTo>
                      <a:lnTo>
                        <a:pt x="512" y="24"/>
                      </a:lnTo>
                      <a:lnTo>
                        <a:pt x="496" y="32"/>
                      </a:lnTo>
                      <a:lnTo>
                        <a:pt x="488" y="8"/>
                      </a:lnTo>
                      <a:lnTo>
                        <a:pt x="480" y="0"/>
                      </a:lnTo>
                      <a:lnTo>
                        <a:pt x="448" y="0"/>
                      </a:lnTo>
                      <a:lnTo>
                        <a:pt x="424" y="0"/>
                      </a:lnTo>
                      <a:lnTo>
                        <a:pt x="400" y="16"/>
                      </a:lnTo>
                      <a:lnTo>
                        <a:pt x="344" y="40"/>
                      </a:lnTo>
                      <a:lnTo>
                        <a:pt x="312" y="48"/>
                      </a:lnTo>
                      <a:lnTo>
                        <a:pt x="288" y="56"/>
                      </a:lnTo>
                      <a:lnTo>
                        <a:pt x="288" y="72"/>
                      </a:lnTo>
                      <a:lnTo>
                        <a:pt x="304" y="72"/>
                      </a:lnTo>
                      <a:lnTo>
                        <a:pt x="288" y="80"/>
                      </a:lnTo>
                      <a:lnTo>
                        <a:pt x="280" y="88"/>
                      </a:lnTo>
                      <a:lnTo>
                        <a:pt x="296" y="96"/>
                      </a:lnTo>
                      <a:lnTo>
                        <a:pt x="288" y="104"/>
                      </a:lnTo>
                      <a:lnTo>
                        <a:pt x="280" y="112"/>
                      </a:lnTo>
                      <a:lnTo>
                        <a:pt x="280" y="120"/>
                      </a:lnTo>
                      <a:lnTo>
                        <a:pt x="288" y="136"/>
                      </a:lnTo>
                      <a:lnTo>
                        <a:pt x="296" y="152"/>
                      </a:lnTo>
                      <a:lnTo>
                        <a:pt x="280" y="160"/>
                      </a:lnTo>
                      <a:lnTo>
                        <a:pt x="272" y="144"/>
                      </a:lnTo>
                      <a:lnTo>
                        <a:pt x="264" y="144"/>
                      </a:lnTo>
                      <a:lnTo>
                        <a:pt x="264" y="160"/>
                      </a:lnTo>
                      <a:lnTo>
                        <a:pt x="240" y="152"/>
                      </a:lnTo>
                      <a:lnTo>
                        <a:pt x="232" y="144"/>
                      </a:lnTo>
                      <a:lnTo>
                        <a:pt x="192" y="144"/>
                      </a:lnTo>
                      <a:lnTo>
                        <a:pt x="184" y="152"/>
                      </a:lnTo>
                      <a:lnTo>
                        <a:pt x="176" y="152"/>
                      </a:lnTo>
                      <a:lnTo>
                        <a:pt x="168" y="144"/>
                      </a:lnTo>
                      <a:lnTo>
                        <a:pt x="152" y="144"/>
                      </a:lnTo>
                      <a:lnTo>
                        <a:pt x="144" y="128"/>
                      </a:lnTo>
                      <a:lnTo>
                        <a:pt x="120" y="136"/>
                      </a:lnTo>
                      <a:lnTo>
                        <a:pt x="112" y="128"/>
                      </a:lnTo>
                      <a:lnTo>
                        <a:pt x="96" y="128"/>
                      </a:lnTo>
                      <a:lnTo>
                        <a:pt x="80" y="112"/>
                      </a:lnTo>
                      <a:lnTo>
                        <a:pt x="40" y="144"/>
                      </a:lnTo>
                      <a:lnTo>
                        <a:pt x="40" y="168"/>
                      </a:lnTo>
                      <a:lnTo>
                        <a:pt x="24" y="168"/>
                      </a:lnTo>
                      <a:lnTo>
                        <a:pt x="16" y="152"/>
                      </a:lnTo>
                      <a:lnTo>
                        <a:pt x="8" y="160"/>
                      </a:lnTo>
                      <a:lnTo>
                        <a:pt x="0" y="240"/>
                      </a:lnTo>
                      <a:lnTo>
                        <a:pt x="32" y="248"/>
                      </a:lnTo>
                      <a:lnTo>
                        <a:pt x="40" y="264"/>
                      </a:lnTo>
                      <a:lnTo>
                        <a:pt x="40" y="280"/>
                      </a:lnTo>
                      <a:lnTo>
                        <a:pt x="48" y="288"/>
                      </a:lnTo>
                      <a:lnTo>
                        <a:pt x="72" y="280"/>
                      </a:lnTo>
                      <a:lnTo>
                        <a:pt x="80" y="280"/>
                      </a:lnTo>
                      <a:lnTo>
                        <a:pt x="80" y="272"/>
                      </a:lnTo>
                      <a:lnTo>
                        <a:pt x="88" y="272"/>
                      </a:lnTo>
                      <a:lnTo>
                        <a:pt x="104" y="272"/>
                      </a:lnTo>
                      <a:lnTo>
                        <a:pt x="112" y="272"/>
                      </a:lnTo>
                      <a:lnTo>
                        <a:pt x="120" y="272"/>
                      </a:lnTo>
                      <a:lnTo>
                        <a:pt x="128" y="272"/>
                      </a:lnTo>
                      <a:lnTo>
                        <a:pt x="128" y="280"/>
                      </a:lnTo>
                      <a:lnTo>
                        <a:pt x="128" y="288"/>
                      </a:lnTo>
                      <a:lnTo>
                        <a:pt x="128" y="296"/>
                      </a:lnTo>
                      <a:lnTo>
                        <a:pt x="128" y="312"/>
                      </a:lnTo>
                      <a:lnTo>
                        <a:pt x="128" y="320"/>
                      </a:lnTo>
                      <a:lnTo>
                        <a:pt x="88" y="328"/>
                      </a:lnTo>
                      <a:lnTo>
                        <a:pt x="88" y="336"/>
                      </a:lnTo>
                      <a:lnTo>
                        <a:pt x="88" y="344"/>
                      </a:lnTo>
                      <a:lnTo>
                        <a:pt x="80" y="344"/>
                      </a:lnTo>
                      <a:lnTo>
                        <a:pt x="72" y="336"/>
                      </a:lnTo>
                      <a:lnTo>
                        <a:pt x="80" y="352"/>
                      </a:lnTo>
                      <a:lnTo>
                        <a:pt x="88" y="360"/>
                      </a:lnTo>
                      <a:lnTo>
                        <a:pt x="88" y="376"/>
                      </a:lnTo>
                      <a:lnTo>
                        <a:pt x="96" y="384"/>
                      </a:lnTo>
                      <a:lnTo>
                        <a:pt x="112" y="384"/>
                      </a:lnTo>
                      <a:lnTo>
                        <a:pt x="120" y="392"/>
                      </a:lnTo>
                      <a:lnTo>
                        <a:pt x="120" y="408"/>
                      </a:lnTo>
                      <a:lnTo>
                        <a:pt x="128" y="400"/>
                      </a:lnTo>
                      <a:lnTo>
                        <a:pt x="136" y="400"/>
                      </a:lnTo>
                      <a:lnTo>
                        <a:pt x="152" y="408"/>
                      </a:lnTo>
                      <a:lnTo>
                        <a:pt x="160" y="416"/>
                      </a:lnTo>
                      <a:lnTo>
                        <a:pt x="184" y="416"/>
                      </a:lnTo>
                      <a:lnTo>
                        <a:pt x="176" y="344"/>
                      </a:lnTo>
                      <a:lnTo>
                        <a:pt x="240" y="312"/>
                      </a:lnTo>
                      <a:lnTo>
                        <a:pt x="296" y="344"/>
                      </a:lnTo>
                      <a:lnTo>
                        <a:pt x="312" y="368"/>
                      </a:lnTo>
                      <a:lnTo>
                        <a:pt x="320" y="360"/>
                      </a:lnTo>
                      <a:lnTo>
                        <a:pt x="344" y="368"/>
                      </a:lnTo>
                      <a:lnTo>
                        <a:pt x="352" y="368"/>
                      </a:lnTo>
                      <a:lnTo>
                        <a:pt x="368" y="376"/>
                      </a:lnTo>
                      <a:lnTo>
                        <a:pt x="376" y="400"/>
                      </a:lnTo>
                      <a:lnTo>
                        <a:pt x="392" y="392"/>
                      </a:lnTo>
                      <a:lnTo>
                        <a:pt x="408" y="424"/>
                      </a:lnTo>
                      <a:lnTo>
                        <a:pt x="416" y="432"/>
                      </a:lnTo>
                      <a:lnTo>
                        <a:pt x="424" y="440"/>
                      </a:lnTo>
                      <a:lnTo>
                        <a:pt x="432" y="440"/>
                      </a:lnTo>
                      <a:lnTo>
                        <a:pt x="440" y="432"/>
                      </a:lnTo>
                      <a:lnTo>
                        <a:pt x="448" y="432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39" name="Freeform 335"/>
                <p:cNvSpPr>
                  <a:spLocks noChangeAspect="1"/>
                </p:cNvSpPr>
                <p:nvPr/>
              </p:nvSpPr>
              <p:spPr bwMode="auto">
                <a:xfrm>
                  <a:off x="3408" y="2228"/>
                  <a:ext cx="68" cy="73"/>
                </a:xfrm>
                <a:custGeom>
                  <a:avLst/>
                  <a:gdLst>
                    <a:gd name="T0" fmla="*/ 1 w 96"/>
                    <a:gd name="T1" fmla="*/ 1 h 104"/>
                    <a:gd name="T2" fmla="*/ 1 w 96"/>
                    <a:gd name="T3" fmla="*/ 1 h 104"/>
                    <a:gd name="T4" fmla="*/ 1 w 96"/>
                    <a:gd name="T5" fmla="*/ 1 h 104"/>
                    <a:gd name="T6" fmla="*/ 1 w 96"/>
                    <a:gd name="T7" fmla="*/ 1 h 104"/>
                    <a:gd name="T8" fmla="*/ 1 w 96"/>
                    <a:gd name="T9" fmla="*/ 1 h 104"/>
                    <a:gd name="T10" fmla="*/ 1 w 96"/>
                    <a:gd name="T11" fmla="*/ 1 h 104"/>
                    <a:gd name="T12" fmla="*/ 1 w 96"/>
                    <a:gd name="T13" fmla="*/ 1 h 104"/>
                    <a:gd name="T14" fmla="*/ 1 w 96"/>
                    <a:gd name="T15" fmla="*/ 1 h 104"/>
                    <a:gd name="T16" fmla="*/ 1 w 96"/>
                    <a:gd name="T17" fmla="*/ 1 h 104"/>
                    <a:gd name="T18" fmla="*/ 1 w 96"/>
                    <a:gd name="T19" fmla="*/ 1 h 104"/>
                    <a:gd name="T20" fmla="*/ 1 w 96"/>
                    <a:gd name="T21" fmla="*/ 1 h 104"/>
                    <a:gd name="T22" fmla="*/ 1 w 96"/>
                    <a:gd name="T23" fmla="*/ 0 h 104"/>
                    <a:gd name="T24" fmla="*/ 1 w 96"/>
                    <a:gd name="T25" fmla="*/ 1 h 104"/>
                    <a:gd name="T26" fmla="*/ 1 w 96"/>
                    <a:gd name="T27" fmla="*/ 1 h 104"/>
                    <a:gd name="T28" fmla="*/ 1 w 96"/>
                    <a:gd name="T29" fmla="*/ 1 h 104"/>
                    <a:gd name="T30" fmla="*/ 1 w 96"/>
                    <a:gd name="T31" fmla="*/ 1 h 104"/>
                    <a:gd name="T32" fmla="*/ 1 w 96"/>
                    <a:gd name="T33" fmla="*/ 1 h 104"/>
                    <a:gd name="T34" fmla="*/ 0 w 96"/>
                    <a:gd name="T35" fmla="*/ 1 h 104"/>
                    <a:gd name="T36" fmla="*/ 1 w 96"/>
                    <a:gd name="T37" fmla="*/ 1 h 104"/>
                    <a:gd name="T38" fmla="*/ 1 w 96"/>
                    <a:gd name="T39" fmla="*/ 1 h 104"/>
                    <a:gd name="T40" fmla="*/ 1 w 96"/>
                    <a:gd name="T41" fmla="*/ 1 h 104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96"/>
                    <a:gd name="T64" fmla="*/ 0 h 104"/>
                    <a:gd name="T65" fmla="*/ 96 w 96"/>
                    <a:gd name="T66" fmla="*/ 104 h 104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96" h="104">
                      <a:moveTo>
                        <a:pt x="32" y="72"/>
                      </a:moveTo>
                      <a:lnTo>
                        <a:pt x="56" y="64"/>
                      </a:lnTo>
                      <a:lnTo>
                        <a:pt x="56" y="72"/>
                      </a:lnTo>
                      <a:lnTo>
                        <a:pt x="56" y="88"/>
                      </a:lnTo>
                      <a:lnTo>
                        <a:pt x="72" y="104"/>
                      </a:lnTo>
                      <a:lnTo>
                        <a:pt x="72" y="88"/>
                      </a:lnTo>
                      <a:lnTo>
                        <a:pt x="72" y="72"/>
                      </a:lnTo>
                      <a:lnTo>
                        <a:pt x="96" y="48"/>
                      </a:lnTo>
                      <a:lnTo>
                        <a:pt x="96" y="40"/>
                      </a:lnTo>
                      <a:lnTo>
                        <a:pt x="88" y="24"/>
                      </a:lnTo>
                      <a:lnTo>
                        <a:pt x="80" y="8"/>
                      </a:lnTo>
                      <a:lnTo>
                        <a:pt x="64" y="0"/>
                      </a:lnTo>
                      <a:lnTo>
                        <a:pt x="64" y="16"/>
                      </a:lnTo>
                      <a:lnTo>
                        <a:pt x="48" y="16"/>
                      </a:lnTo>
                      <a:lnTo>
                        <a:pt x="24" y="8"/>
                      </a:lnTo>
                      <a:lnTo>
                        <a:pt x="32" y="24"/>
                      </a:lnTo>
                      <a:lnTo>
                        <a:pt x="32" y="32"/>
                      </a:lnTo>
                      <a:lnTo>
                        <a:pt x="0" y="24"/>
                      </a:lnTo>
                      <a:lnTo>
                        <a:pt x="8" y="40"/>
                      </a:lnTo>
                      <a:lnTo>
                        <a:pt x="16" y="48"/>
                      </a:lnTo>
                      <a:lnTo>
                        <a:pt x="32" y="72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40" name="Freeform 336"/>
                <p:cNvSpPr>
                  <a:spLocks noChangeAspect="1"/>
                </p:cNvSpPr>
                <p:nvPr/>
              </p:nvSpPr>
              <p:spPr bwMode="auto">
                <a:xfrm>
                  <a:off x="3397" y="2273"/>
                  <a:ext cx="28" cy="11"/>
                </a:xfrm>
                <a:custGeom>
                  <a:avLst/>
                  <a:gdLst>
                    <a:gd name="T0" fmla="*/ 0 w 40"/>
                    <a:gd name="T1" fmla="*/ 0 h 16"/>
                    <a:gd name="T2" fmla="*/ 1 w 40"/>
                    <a:gd name="T3" fmla="*/ 0 h 16"/>
                    <a:gd name="T4" fmla="*/ 1 w 40"/>
                    <a:gd name="T5" fmla="*/ 1 h 16"/>
                    <a:gd name="T6" fmla="*/ 1 w 40"/>
                    <a:gd name="T7" fmla="*/ 1 h 16"/>
                    <a:gd name="T8" fmla="*/ 0 w 40"/>
                    <a:gd name="T9" fmla="*/ 0 h 1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0"/>
                    <a:gd name="T16" fmla="*/ 0 h 16"/>
                    <a:gd name="T17" fmla="*/ 40 w 40"/>
                    <a:gd name="T18" fmla="*/ 16 h 1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0" h="16">
                      <a:moveTo>
                        <a:pt x="0" y="0"/>
                      </a:moveTo>
                      <a:lnTo>
                        <a:pt x="16" y="0"/>
                      </a:lnTo>
                      <a:lnTo>
                        <a:pt x="40" y="8"/>
                      </a:lnTo>
                      <a:lnTo>
                        <a:pt x="24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41" name="Freeform 337"/>
                <p:cNvSpPr>
                  <a:spLocks noChangeAspect="1"/>
                </p:cNvSpPr>
                <p:nvPr/>
              </p:nvSpPr>
              <p:spPr bwMode="auto">
                <a:xfrm>
                  <a:off x="5062" y="1755"/>
                  <a:ext cx="34" cy="29"/>
                </a:xfrm>
                <a:custGeom>
                  <a:avLst/>
                  <a:gdLst>
                    <a:gd name="T0" fmla="*/ 1 w 48"/>
                    <a:gd name="T1" fmla="*/ 0 h 40"/>
                    <a:gd name="T2" fmla="*/ 1 w 48"/>
                    <a:gd name="T3" fmla="*/ 1 h 40"/>
                    <a:gd name="T4" fmla="*/ 1 w 48"/>
                    <a:gd name="T5" fmla="*/ 1 h 40"/>
                    <a:gd name="T6" fmla="*/ 1 w 48"/>
                    <a:gd name="T7" fmla="*/ 1 h 40"/>
                    <a:gd name="T8" fmla="*/ 1 w 48"/>
                    <a:gd name="T9" fmla="*/ 1 h 40"/>
                    <a:gd name="T10" fmla="*/ 1 w 48"/>
                    <a:gd name="T11" fmla="*/ 1 h 40"/>
                    <a:gd name="T12" fmla="*/ 0 w 48"/>
                    <a:gd name="T13" fmla="*/ 1 h 40"/>
                    <a:gd name="T14" fmla="*/ 1 w 48"/>
                    <a:gd name="T15" fmla="*/ 1 h 40"/>
                    <a:gd name="T16" fmla="*/ 1 w 48"/>
                    <a:gd name="T17" fmla="*/ 0 h 40"/>
                    <a:gd name="T18" fmla="*/ 1 w 48"/>
                    <a:gd name="T19" fmla="*/ 0 h 40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48"/>
                    <a:gd name="T31" fmla="*/ 0 h 40"/>
                    <a:gd name="T32" fmla="*/ 48 w 48"/>
                    <a:gd name="T33" fmla="*/ 40 h 40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48" h="40">
                      <a:moveTo>
                        <a:pt x="48" y="0"/>
                      </a:moveTo>
                      <a:lnTo>
                        <a:pt x="48" y="8"/>
                      </a:lnTo>
                      <a:lnTo>
                        <a:pt x="24" y="24"/>
                      </a:lnTo>
                      <a:lnTo>
                        <a:pt x="16" y="40"/>
                      </a:lnTo>
                      <a:lnTo>
                        <a:pt x="8" y="40"/>
                      </a:lnTo>
                      <a:lnTo>
                        <a:pt x="8" y="24"/>
                      </a:lnTo>
                      <a:lnTo>
                        <a:pt x="0" y="24"/>
                      </a:lnTo>
                      <a:lnTo>
                        <a:pt x="8" y="8"/>
                      </a:lnTo>
                      <a:lnTo>
                        <a:pt x="8" y="0"/>
                      </a:lnTo>
                      <a:lnTo>
                        <a:pt x="48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42" name="Freeform 338"/>
                <p:cNvSpPr>
                  <a:spLocks noChangeAspect="1"/>
                </p:cNvSpPr>
                <p:nvPr/>
              </p:nvSpPr>
              <p:spPr bwMode="auto">
                <a:xfrm>
                  <a:off x="3582" y="1305"/>
                  <a:ext cx="1919" cy="906"/>
                </a:xfrm>
                <a:custGeom>
                  <a:avLst/>
                  <a:gdLst>
                    <a:gd name="T0" fmla="*/ 3 w 2728"/>
                    <a:gd name="T1" fmla="*/ 1 h 1288"/>
                    <a:gd name="T2" fmla="*/ 3 w 2728"/>
                    <a:gd name="T3" fmla="*/ 1 h 1288"/>
                    <a:gd name="T4" fmla="*/ 3 w 2728"/>
                    <a:gd name="T5" fmla="*/ 1 h 1288"/>
                    <a:gd name="T6" fmla="*/ 3 w 2728"/>
                    <a:gd name="T7" fmla="*/ 1 h 1288"/>
                    <a:gd name="T8" fmla="*/ 3 w 2728"/>
                    <a:gd name="T9" fmla="*/ 1 h 1288"/>
                    <a:gd name="T10" fmla="*/ 2 w 2728"/>
                    <a:gd name="T11" fmla="*/ 1 h 1288"/>
                    <a:gd name="T12" fmla="*/ 2 w 2728"/>
                    <a:gd name="T13" fmla="*/ 1 h 1288"/>
                    <a:gd name="T14" fmla="*/ 2 w 2728"/>
                    <a:gd name="T15" fmla="*/ 1 h 1288"/>
                    <a:gd name="T16" fmla="*/ 2 w 2728"/>
                    <a:gd name="T17" fmla="*/ 1 h 1288"/>
                    <a:gd name="T18" fmla="*/ 2 w 2728"/>
                    <a:gd name="T19" fmla="*/ 1 h 1288"/>
                    <a:gd name="T20" fmla="*/ 1 w 2728"/>
                    <a:gd name="T21" fmla="*/ 1 h 1288"/>
                    <a:gd name="T22" fmla="*/ 1 w 2728"/>
                    <a:gd name="T23" fmla="*/ 1 h 1288"/>
                    <a:gd name="T24" fmla="*/ 1 w 2728"/>
                    <a:gd name="T25" fmla="*/ 1 h 1288"/>
                    <a:gd name="T26" fmla="*/ 1 w 2728"/>
                    <a:gd name="T27" fmla="*/ 1 h 1288"/>
                    <a:gd name="T28" fmla="*/ 1 w 2728"/>
                    <a:gd name="T29" fmla="*/ 1 h 1288"/>
                    <a:gd name="T30" fmla="*/ 1 w 2728"/>
                    <a:gd name="T31" fmla="*/ 1 h 1288"/>
                    <a:gd name="T32" fmla="*/ 1 w 2728"/>
                    <a:gd name="T33" fmla="*/ 0 h 1288"/>
                    <a:gd name="T34" fmla="*/ 1 w 2728"/>
                    <a:gd name="T35" fmla="*/ 1 h 1288"/>
                    <a:gd name="T36" fmla="*/ 1 w 2728"/>
                    <a:gd name="T37" fmla="*/ 1 h 1288"/>
                    <a:gd name="T38" fmla="*/ 1 w 2728"/>
                    <a:gd name="T39" fmla="*/ 1 h 1288"/>
                    <a:gd name="T40" fmla="*/ 1 w 2728"/>
                    <a:gd name="T41" fmla="*/ 1 h 1288"/>
                    <a:gd name="T42" fmla="*/ 1 w 2728"/>
                    <a:gd name="T43" fmla="*/ 1 h 1288"/>
                    <a:gd name="T44" fmla="*/ 1 w 2728"/>
                    <a:gd name="T45" fmla="*/ 1 h 1288"/>
                    <a:gd name="T46" fmla="*/ 1 w 2728"/>
                    <a:gd name="T47" fmla="*/ 1 h 1288"/>
                    <a:gd name="T48" fmla="*/ 1 w 2728"/>
                    <a:gd name="T49" fmla="*/ 1 h 1288"/>
                    <a:gd name="T50" fmla="*/ 1 w 2728"/>
                    <a:gd name="T51" fmla="*/ 1 h 1288"/>
                    <a:gd name="T52" fmla="*/ 1 w 2728"/>
                    <a:gd name="T53" fmla="*/ 1 h 1288"/>
                    <a:gd name="T54" fmla="*/ 1 w 2728"/>
                    <a:gd name="T55" fmla="*/ 1 h 1288"/>
                    <a:gd name="T56" fmla="*/ 1 w 2728"/>
                    <a:gd name="T57" fmla="*/ 1 h 1288"/>
                    <a:gd name="T58" fmla="*/ 1 w 2728"/>
                    <a:gd name="T59" fmla="*/ 1 h 1288"/>
                    <a:gd name="T60" fmla="*/ 1 w 2728"/>
                    <a:gd name="T61" fmla="*/ 1 h 1288"/>
                    <a:gd name="T62" fmla="*/ 1 w 2728"/>
                    <a:gd name="T63" fmla="*/ 1 h 1288"/>
                    <a:gd name="T64" fmla="*/ 1 w 2728"/>
                    <a:gd name="T65" fmla="*/ 1 h 1288"/>
                    <a:gd name="T66" fmla="*/ 1 w 2728"/>
                    <a:gd name="T67" fmla="*/ 1 h 1288"/>
                    <a:gd name="T68" fmla="*/ 1 w 2728"/>
                    <a:gd name="T69" fmla="*/ 1 h 1288"/>
                    <a:gd name="T70" fmla="*/ 1 w 2728"/>
                    <a:gd name="T71" fmla="*/ 1 h 1288"/>
                    <a:gd name="T72" fmla="*/ 1 w 2728"/>
                    <a:gd name="T73" fmla="*/ 1 h 1288"/>
                    <a:gd name="T74" fmla="*/ 1 w 2728"/>
                    <a:gd name="T75" fmla="*/ 1 h 1288"/>
                    <a:gd name="T76" fmla="*/ 1 w 2728"/>
                    <a:gd name="T77" fmla="*/ 1 h 1288"/>
                    <a:gd name="T78" fmla="*/ 1 w 2728"/>
                    <a:gd name="T79" fmla="*/ 1 h 1288"/>
                    <a:gd name="T80" fmla="*/ 2 w 2728"/>
                    <a:gd name="T81" fmla="*/ 1 h 1288"/>
                    <a:gd name="T82" fmla="*/ 2 w 2728"/>
                    <a:gd name="T83" fmla="*/ 1 h 1288"/>
                    <a:gd name="T84" fmla="*/ 2 w 2728"/>
                    <a:gd name="T85" fmla="*/ 1 h 1288"/>
                    <a:gd name="T86" fmla="*/ 2 w 2728"/>
                    <a:gd name="T87" fmla="*/ 1 h 1288"/>
                    <a:gd name="T88" fmla="*/ 2 w 2728"/>
                    <a:gd name="T89" fmla="*/ 1 h 1288"/>
                    <a:gd name="T90" fmla="*/ 2 w 2728"/>
                    <a:gd name="T91" fmla="*/ 1 h 1288"/>
                    <a:gd name="T92" fmla="*/ 2 w 2728"/>
                    <a:gd name="T93" fmla="*/ 1 h 1288"/>
                    <a:gd name="T94" fmla="*/ 3 w 2728"/>
                    <a:gd name="T95" fmla="*/ 1 h 1288"/>
                    <a:gd name="T96" fmla="*/ 3 w 2728"/>
                    <a:gd name="T97" fmla="*/ 1 h 1288"/>
                    <a:gd name="T98" fmla="*/ 3 w 2728"/>
                    <a:gd name="T99" fmla="*/ 1 h 1288"/>
                    <a:gd name="T100" fmla="*/ 3 w 2728"/>
                    <a:gd name="T101" fmla="*/ 1 h 1288"/>
                    <a:gd name="T102" fmla="*/ 3 w 2728"/>
                    <a:gd name="T103" fmla="*/ 1 h 1288"/>
                    <a:gd name="T104" fmla="*/ 3 w 2728"/>
                    <a:gd name="T105" fmla="*/ 1 h 1288"/>
                    <a:gd name="T106" fmla="*/ 3 w 2728"/>
                    <a:gd name="T107" fmla="*/ 1 h 1288"/>
                    <a:gd name="T108" fmla="*/ 3 w 2728"/>
                    <a:gd name="T109" fmla="*/ 1 h 1288"/>
                    <a:gd name="T110" fmla="*/ 3 w 2728"/>
                    <a:gd name="T111" fmla="*/ 1 h 1288"/>
                    <a:gd name="T112" fmla="*/ 3 w 2728"/>
                    <a:gd name="T113" fmla="*/ 1 h 1288"/>
                    <a:gd name="T114" fmla="*/ 3 w 2728"/>
                    <a:gd name="T115" fmla="*/ 1 h 1288"/>
                    <a:gd name="T116" fmla="*/ 3 w 2728"/>
                    <a:gd name="T117" fmla="*/ 1 h 1288"/>
                    <a:gd name="T118" fmla="*/ 3 w 2728"/>
                    <a:gd name="T119" fmla="*/ 1 h 1288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2728"/>
                    <a:gd name="T181" fmla="*/ 0 h 1288"/>
                    <a:gd name="T182" fmla="*/ 2728 w 2728"/>
                    <a:gd name="T183" fmla="*/ 1288 h 1288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2728" h="1288">
                      <a:moveTo>
                        <a:pt x="2696" y="416"/>
                      </a:moveTo>
                      <a:lnTo>
                        <a:pt x="2672" y="400"/>
                      </a:lnTo>
                      <a:lnTo>
                        <a:pt x="2664" y="400"/>
                      </a:lnTo>
                      <a:lnTo>
                        <a:pt x="2648" y="400"/>
                      </a:lnTo>
                      <a:lnTo>
                        <a:pt x="2632" y="400"/>
                      </a:lnTo>
                      <a:lnTo>
                        <a:pt x="2632" y="408"/>
                      </a:lnTo>
                      <a:lnTo>
                        <a:pt x="2632" y="416"/>
                      </a:lnTo>
                      <a:lnTo>
                        <a:pt x="2640" y="416"/>
                      </a:lnTo>
                      <a:lnTo>
                        <a:pt x="2632" y="424"/>
                      </a:lnTo>
                      <a:lnTo>
                        <a:pt x="2616" y="408"/>
                      </a:lnTo>
                      <a:lnTo>
                        <a:pt x="2624" y="408"/>
                      </a:lnTo>
                      <a:lnTo>
                        <a:pt x="2624" y="392"/>
                      </a:lnTo>
                      <a:lnTo>
                        <a:pt x="2600" y="376"/>
                      </a:lnTo>
                      <a:lnTo>
                        <a:pt x="2592" y="384"/>
                      </a:lnTo>
                      <a:lnTo>
                        <a:pt x="2592" y="376"/>
                      </a:lnTo>
                      <a:lnTo>
                        <a:pt x="2584" y="376"/>
                      </a:lnTo>
                      <a:lnTo>
                        <a:pt x="2584" y="368"/>
                      </a:lnTo>
                      <a:lnTo>
                        <a:pt x="2568" y="368"/>
                      </a:lnTo>
                      <a:lnTo>
                        <a:pt x="2544" y="352"/>
                      </a:lnTo>
                      <a:lnTo>
                        <a:pt x="2544" y="344"/>
                      </a:lnTo>
                      <a:lnTo>
                        <a:pt x="2528" y="344"/>
                      </a:lnTo>
                      <a:lnTo>
                        <a:pt x="2520" y="344"/>
                      </a:lnTo>
                      <a:lnTo>
                        <a:pt x="2520" y="336"/>
                      </a:lnTo>
                      <a:lnTo>
                        <a:pt x="2496" y="320"/>
                      </a:lnTo>
                      <a:lnTo>
                        <a:pt x="2480" y="320"/>
                      </a:lnTo>
                      <a:lnTo>
                        <a:pt x="2472" y="312"/>
                      </a:lnTo>
                      <a:lnTo>
                        <a:pt x="2456" y="312"/>
                      </a:lnTo>
                      <a:lnTo>
                        <a:pt x="2432" y="304"/>
                      </a:lnTo>
                      <a:lnTo>
                        <a:pt x="2432" y="312"/>
                      </a:lnTo>
                      <a:lnTo>
                        <a:pt x="2416" y="304"/>
                      </a:lnTo>
                      <a:lnTo>
                        <a:pt x="2408" y="304"/>
                      </a:lnTo>
                      <a:lnTo>
                        <a:pt x="2392" y="304"/>
                      </a:lnTo>
                      <a:lnTo>
                        <a:pt x="2384" y="304"/>
                      </a:lnTo>
                      <a:lnTo>
                        <a:pt x="2368" y="304"/>
                      </a:lnTo>
                      <a:lnTo>
                        <a:pt x="2328" y="296"/>
                      </a:lnTo>
                      <a:lnTo>
                        <a:pt x="2320" y="304"/>
                      </a:lnTo>
                      <a:lnTo>
                        <a:pt x="2328" y="304"/>
                      </a:lnTo>
                      <a:lnTo>
                        <a:pt x="2320" y="312"/>
                      </a:lnTo>
                      <a:lnTo>
                        <a:pt x="2312" y="312"/>
                      </a:lnTo>
                      <a:lnTo>
                        <a:pt x="2336" y="328"/>
                      </a:lnTo>
                      <a:lnTo>
                        <a:pt x="2336" y="344"/>
                      </a:lnTo>
                      <a:lnTo>
                        <a:pt x="2304" y="336"/>
                      </a:lnTo>
                      <a:lnTo>
                        <a:pt x="2304" y="328"/>
                      </a:lnTo>
                      <a:lnTo>
                        <a:pt x="2280" y="328"/>
                      </a:lnTo>
                      <a:lnTo>
                        <a:pt x="2272" y="312"/>
                      </a:lnTo>
                      <a:lnTo>
                        <a:pt x="2264" y="312"/>
                      </a:lnTo>
                      <a:lnTo>
                        <a:pt x="2256" y="320"/>
                      </a:lnTo>
                      <a:lnTo>
                        <a:pt x="2208" y="320"/>
                      </a:lnTo>
                      <a:lnTo>
                        <a:pt x="2192" y="312"/>
                      </a:lnTo>
                      <a:lnTo>
                        <a:pt x="2184" y="312"/>
                      </a:lnTo>
                      <a:lnTo>
                        <a:pt x="2168" y="312"/>
                      </a:lnTo>
                      <a:lnTo>
                        <a:pt x="2152" y="320"/>
                      </a:lnTo>
                      <a:lnTo>
                        <a:pt x="2144" y="312"/>
                      </a:lnTo>
                      <a:lnTo>
                        <a:pt x="2144" y="320"/>
                      </a:lnTo>
                      <a:lnTo>
                        <a:pt x="2136" y="320"/>
                      </a:lnTo>
                      <a:lnTo>
                        <a:pt x="2128" y="320"/>
                      </a:lnTo>
                      <a:lnTo>
                        <a:pt x="2128" y="312"/>
                      </a:lnTo>
                      <a:lnTo>
                        <a:pt x="2120" y="312"/>
                      </a:lnTo>
                      <a:lnTo>
                        <a:pt x="2104" y="312"/>
                      </a:lnTo>
                      <a:lnTo>
                        <a:pt x="2104" y="296"/>
                      </a:lnTo>
                      <a:lnTo>
                        <a:pt x="2112" y="288"/>
                      </a:lnTo>
                      <a:lnTo>
                        <a:pt x="2104" y="280"/>
                      </a:lnTo>
                      <a:lnTo>
                        <a:pt x="2080" y="264"/>
                      </a:lnTo>
                      <a:lnTo>
                        <a:pt x="2064" y="264"/>
                      </a:lnTo>
                      <a:lnTo>
                        <a:pt x="2048" y="256"/>
                      </a:lnTo>
                      <a:lnTo>
                        <a:pt x="2024" y="264"/>
                      </a:lnTo>
                      <a:lnTo>
                        <a:pt x="1992" y="272"/>
                      </a:lnTo>
                      <a:lnTo>
                        <a:pt x="1960" y="272"/>
                      </a:lnTo>
                      <a:lnTo>
                        <a:pt x="1944" y="264"/>
                      </a:lnTo>
                      <a:lnTo>
                        <a:pt x="1928" y="248"/>
                      </a:lnTo>
                      <a:lnTo>
                        <a:pt x="1904" y="240"/>
                      </a:lnTo>
                      <a:lnTo>
                        <a:pt x="1888" y="240"/>
                      </a:lnTo>
                      <a:lnTo>
                        <a:pt x="1888" y="232"/>
                      </a:lnTo>
                      <a:lnTo>
                        <a:pt x="1896" y="232"/>
                      </a:lnTo>
                      <a:lnTo>
                        <a:pt x="1904" y="232"/>
                      </a:lnTo>
                      <a:lnTo>
                        <a:pt x="1904" y="224"/>
                      </a:lnTo>
                      <a:lnTo>
                        <a:pt x="1896" y="224"/>
                      </a:lnTo>
                      <a:lnTo>
                        <a:pt x="1880" y="216"/>
                      </a:lnTo>
                      <a:lnTo>
                        <a:pt x="1848" y="216"/>
                      </a:lnTo>
                      <a:lnTo>
                        <a:pt x="1840" y="232"/>
                      </a:lnTo>
                      <a:lnTo>
                        <a:pt x="1824" y="240"/>
                      </a:lnTo>
                      <a:lnTo>
                        <a:pt x="1800" y="240"/>
                      </a:lnTo>
                      <a:lnTo>
                        <a:pt x="1800" y="232"/>
                      </a:lnTo>
                      <a:lnTo>
                        <a:pt x="1808" y="232"/>
                      </a:lnTo>
                      <a:lnTo>
                        <a:pt x="1816" y="224"/>
                      </a:lnTo>
                      <a:lnTo>
                        <a:pt x="1792" y="224"/>
                      </a:lnTo>
                      <a:lnTo>
                        <a:pt x="1784" y="216"/>
                      </a:lnTo>
                      <a:lnTo>
                        <a:pt x="1792" y="208"/>
                      </a:lnTo>
                      <a:lnTo>
                        <a:pt x="1808" y="208"/>
                      </a:lnTo>
                      <a:lnTo>
                        <a:pt x="1832" y="216"/>
                      </a:lnTo>
                      <a:lnTo>
                        <a:pt x="1792" y="200"/>
                      </a:lnTo>
                      <a:lnTo>
                        <a:pt x="1776" y="200"/>
                      </a:lnTo>
                      <a:lnTo>
                        <a:pt x="1744" y="200"/>
                      </a:lnTo>
                      <a:lnTo>
                        <a:pt x="1728" y="200"/>
                      </a:lnTo>
                      <a:lnTo>
                        <a:pt x="1728" y="192"/>
                      </a:lnTo>
                      <a:lnTo>
                        <a:pt x="1720" y="192"/>
                      </a:lnTo>
                      <a:lnTo>
                        <a:pt x="1720" y="200"/>
                      </a:lnTo>
                      <a:lnTo>
                        <a:pt x="1704" y="208"/>
                      </a:lnTo>
                      <a:lnTo>
                        <a:pt x="1696" y="208"/>
                      </a:lnTo>
                      <a:lnTo>
                        <a:pt x="1688" y="208"/>
                      </a:lnTo>
                      <a:lnTo>
                        <a:pt x="1680" y="216"/>
                      </a:lnTo>
                      <a:lnTo>
                        <a:pt x="1704" y="216"/>
                      </a:lnTo>
                      <a:lnTo>
                        <a:pt x="1696" y="224"/>
                      </a:lnTo>
                      <a:lnTo>
                        <a:pt x="1696" y="232"/>
                      </a:lnTo>
                      <a:lnTo>
                        <a:pt x="1704" y="248"/>
                      </a:lnTo>
                      <a:lnTo>
                        <a:pt x="1680" y="248"/>
                      </a:lnTo>
                      <a:lnTo>
                        <a:pt x="1680" y="240"/>
                      </a:lnTo>
                      <a:lnTo>
                        <a:pt x="1672" y="240"/>
                      </a:lnTo>
                      <a:lnTo>
                        <a:pt x="1664" y="248"/>
                      </a:lnTo>
                      <a:lnTo>
                        <a:pt x="1664" y="256"/>
                      </a:lnTo>
                      <a:lnTo>
                        <a:pt x="1648" y="256"/>
                      </a:lnTo>
                      <a:lnTo>
                        <a:pt x="1632" y="248"/>
                      </a:lnTo>
                      <a:lnTo>
                        <a:pt x="1608" y="240"/>
                      </a:lnTo>
                      <a:lnTo>
                        <a:pt x="1592" y="248"/>
                      </a:lnTo>
                      <a:lnTo>
                        <a:pt x="1576" y="248"/>
                      </a:lnTo>
                      <a:lnTo>
                        <a:pt x="1552" y="240"/>
                      </a:lnTo>
                      <a:lnTo>
                        <a:pt x="1552" y="232"/>
                      </a:lnTo>
                      <a:lnTo>
                        <a:pt x="1536" y="248"/>
                      </a:lnTo>
                      <a:lnTo>
                        <a:pt x="1528" y="264"/>
                      </a:lnTo>
                      <a:lnTo>
                        <a:pt x="1520" y="272"/>
                      </a:lnTo>
                      <a:lnTo>
                        <a:pt x="1480" y="248"/>
                      </a:lnTo>
                      <a:lnTo>
                        <a:pt x="1472" y="240"/>
                      </a:lnTo>
                      <a:lnTo>
                        <a:pt x="1480" y="240"/>
                      </a:lnTo>
                      <a:lnTo>
                        <a:pt x="1472" y="232"/>
                      </a:lnTo>
                      <a:lnTo>
                        <a:pt x="1464" y="232"/>
                      </a:lnTo>
                      <a:lnTo>
                        <a:pt x="1456" y="232"/>
                      </a:lnTo>
                      <a:lnTo>
                        <a:pt x="1456" y="216"/>
                      </a:lnTo>
                      <a:lnTo>
                        <a:pt x="1472" y="224"/>
                      </a:lnTo>
                      <a:lnTo>
                        <a:pt x="1480" y="224"/>
                      </a:lnTo>
                      <a:lnTo>
                        <a:pt x="1480" y="216"/>
                      </a:lnTo>
                      <a:lnTo>
                        <a:pt x="1464" y="208"/>
                      </a:lnTo>
                      <a:lnTo>
                        <a:pt x="1472" y="208"/>
                      </a:lnTo>
                      <a:lnTo>
                        <a:pt x="1480" y="200"/>
                      </a:lnTo>
                      <a:lnTo>
                        <a:pt x="1472" y="192"/>
                      </a:lnTo>
                      <a:lnTo>
                        <a:pt x="1448" y="168"/>
                      </a:lnTo>
                      <a:lnTo>
                        <a:pt x="1440" y="168"/>
                      </a:lnTo>
                      <a:lnTo>
                        <a:pt x="1432" y="176"/>
                      </a:lnTo>
                      <a:lnTo>
                        <a:pt x="1416" y="168"/>
                      </a:lnTo>
                      <a:lnTo>
                        <a:pt x="1400" y="168"/>
                      </a:lnTo>
                      <a:lnTo>
                        <a:pt x="1392" y="168"/>
                      </a:lnTo>
                      <a:lnTo>
                        <a:pt x="1392" y="160"/>
                      </a:lnTo>
                      <a:lnTo>
                        <a:pt x="1376" y="160"/>
                      </a:lnTo>
                      <a:lnTo>
                        <a:pt x="1368" y="160"/>
                      </a:lnTo>
                      <a:lnTo>
                        <a:pt x="1360" y="160"/>
                      </a:lnTo>
                      <a:lnTo>
                        <a:pt x="1360" y="168"/>
                      </a:lnTo>
                      <a:lnTo>
                        <a:pt x="1360" y="184"/>
                      </a:lnTo>
                      <a:lnTo>
                        <a:pt x="1352" y="184"/>
                      </a:lnTo>
                      <a:lnTo>
                        <a:pt x="1344" y="184"/>
                      </a:lnTo>
                      <a:lnTo>
                        <a:pt x="1336" y="192"/>
                      </a:lnTo>
                      <a:lnTo>
                        <a:pt x="1328" y="192"/>
                      </a:lnTo>
                      <a:lnTo>
                        <a:pt x="1304" y="184"/>
                      </a:lnTo>
                      <a:lnTo>
                        <a:pt x="1296" y="184"/>
                      </a:lnTo>
                      <a:lnTo>
                        <a:pt x="1288" y="192"/>
                      </a:lnTo>
                      <a:lnTo>
                        <a:pt x="1248" y="176"/>
                      </a:lnTo>
                      <a:lnTo>
                        <a:pt x="1248" y="168"/>
                      </a:lnTo>
                      <a:lnTo>
                        <a:pt x="1256" y="168"/>
                      </a:lnTo>
                      <a:lnTo>
                        <a:pt x="1264" y="168"/>
                      </a:lnTo>
                      <a:lnTo>
                        <a:pt x="1264" y="160"/>
                      </a:lnTo>
                      <a:lnTo>
                        <a:pt x="1248" y="160"/>
                      </a:lnTo>
                      <a:lnTo>
                        <a:pt x="1216" y="160"/>
                      </a:lnTo>
                      <a:lnTo>
                        <a:pt x="1200" y="160"/>
                      </a:lnTo>
                      <a:lnTo>
                        <a:pt x="1160" y="160"/>
                      </a:lnTo>
                      <a:lnTo>
                        <a:pt x="1160" y="168"/>
                      </a:lnTo>
                      <a:lnTo>
                        <a:pt x="1152" y="176"/>
                      </a:lnTo>
                      <a:lnTo>
                        <a:pt x="1144" y="168"/>
                      </a:lnTo>
                      <a:lnTo>
                        <a:pt x="1152" y="160"/>
                      </a:lnTo>
                      <a:lnTo>
                        <a:pt x="1160" y="152"/>
                      </a:lnTo>
                      <a:lnTo>
                        <a:pt x="1152" y="152"/>
                      </a:lnTo>
                      <a:lnTo>
                        <a:pt x="1144" y="144"/>
                      </a:lnTo>
                      <a:lnTo>
                        <a:pt x="1144" y="160"/>
                      </a:lnTo>
                      <a:lnTo>
                        <a:pt x="1128" y="160"/>
                      </a:lnTo>
                      <a:lnTo>
                        <a:pt x="1112" y="152"/>
                      </a:lnTo>
                      <a:lnTo>
                        <a:pt x="1112" y="144"/>
                      </a:lnTo>
                      <a:lnTo>
                        <a:pt x="1096" y="144"/>
                      </a:lnTo>
                      <a:lnTo>
                        <a:pt x="1088" y="144"/>
                      </a:lnTo>
                      <a:lnTo>
                        <a:pt x="1072" y="152"/>
                      </a:lnTo>
                      <a:lnTo>
                        <a:pt x="1072" y="160"/>
                      </a:lnTo>
                      <a:lnTo>
                        <a:pt x="1088" y="160"/>
                      </a:lnTo>
                      <a:lnTo>
                        <a:pt x="1096" y="160"/>
                      </a:lnTo>
                      <a:lnTo>
                        <a:pt x="1080" y="168"/>
                      </a:lnTo>
                      <a:lnTo>
                        <a:pt x="1064" y="168"/>
                      </a:lnTo>
                      <a:lnTo>
                        <a:pt x="1064" y="176"/>
                      </a:lnTo>
                      <a:lnTo>
                        <a:pt x="1048" y="176"/>
                      </a:lnTo>
                      <a:lnTo>
                        <a:pt x="1040" y="176"/>
                      </a:lnTo>
                      <a:lnTo>
                        <a:pt x="1040" y="184"/>
                      </a:lnTo>
                      <a:lnTo>
                        <a:pt x="1016" y="184"/>
                      </a:lnTo>
                      <a:lnTo>
                        <a:pt x="1008" y="192"/>
                      </a:lnTo>
                      <a:lnTo>
                        <a:pt x="992" y="200"/>
                      </a:lnTo>
                      <a:lnTo>
                        <a:pt x="976" y="200"/>
                      </a:lnTo>
                      <a:lnTo>
                        <a:pt x="1000" y="192"/>
                      </a:lnTo>
                      <a:lnTo>
                        <a:pt x="1000" y="176"/>
                      </a:lnTo>
                      <a:lnTo>
                        <a:pt x="1008" y="176"/>
                      </a:lnTo>
                      <a:lnTo>
                        <a:pt x="1016" y="176"/>
                      </a:lnTo>
                      <a:lnTo>
                        <a:pt x="1016" y="160"/>
                      </a:lnTo>
                      <a:lnTo>
                        <a:pt x="1024" y="160"/>
                      </a:lnTo>
                      <a:lnTo>
                        <a:pt x="1040" y="160"/>
                      </a:lnTo>
                      <a:lnTo>
                        <a:pt x="1048" y="144"/>
                      </a:lnTo>
                      <a:lnTo>
                        <a:pt x="1072" y="136"/>
                      </a:lnTo>
                      <a:lnTo>
                        <a:pt x="1080" y="136"/>
                      </a:lnTo>
                      <a:lnTo>
                        <a:pt x="1080" y="128"/>
                      </a:lnTo>
                      <a:lnTo>
                        <a:pt x="1104" y="112"/>
                      </a:lnTo>
                      <a:lnTo>
                        <a:pt x="1120" y="112"/>
                      </a:lnTo>
                      <a:lnTo>
                        <a:pt x="1128" y="104"/>
                      </a:lnTo>
                      <a:lnTo>
                        <a:pt x="1144" y="96"/>
                      </a:lnTo>
                      <a:lnTo>
                        <a:pt x="1152" y="80"/>
                      </a:lnTo>
                      <a:lnTo>
                        <a:pt x="1136" y="72"/>
                      </a:lnTo>
                      <a:lnTo>
                        <a:pt x="1128" y="72"/>
                      </a:lnTo>
                      <a:lnTo>
                        <a:pt x="1128" y="64"/>
                      </a:lnTo>
                      <a:lnTo>
                        <a:pt x="1136" y="64"/>
                      </a:lnTo>
                      <a:lnTo>
                        <a:pt x="1144" y="72"/>
                      </a:lnTo>
                      <a:lnTo>
                        <a:pt x="1160" y="80"/>
                      </a:lnTo>
                      <a:lnTo>
                        <a:pt x="1160" y="64"/>
                      </a:lnTo>
                      <a:lnTo>
                        <a:pt x="1152" y="64"/>
                      </a:lnTo>
                      <a:lnTo>
                        <a:pt x="1152" y="56"/>
                      </a:lnTo>
                      <a:lnTo>
                        <a:pt x="1144" y="48"/>
                      </a:lnTo>
                      <a:lnTo>
                        <a:pt x="1136" y="56"/>
                      </a:lnTo>
                      <a:lnTo>
                        <a:pt x="1128" y="56"/>
                      </a:lnTo>
                      <a:lnTo>
                        <a:pt x="1136" y="48"/>
                      </a:lnTo>
                      <a:lnTo>
                        <a:pt x="1112" y="40"/>
                      </a:lnTo>
                      <a:lnTo>
                        <a:pt x="1104" y="40"/>
                      </a:lnTo>
                      <a:lnTo>
                        <a:pt x="1096" y="32"/>
                      </a:lnTo>
                      <a:lnTo>
                        <a:pt x="1040" y="40"/>
                      </a:lnTo>
                      <a:lnTo>
                        <a:pt x="1032" y="40"/>
                      </a:lnTo>
                      <a:lnTo>
                        <a:pt x="1016" y="48"/>
                      </a:lnTo>
                      <a:lnTo>
                        <a:pt x="1000" y="40"/>
                      </a:lnTo>
                      <a:lnTo>
                        <a:pt x="1016" y="32"/>
                      </a:lnTo>
                      <a:lnTo>
                        <a:pt x="1024" y="24"/>
                      </a:lnTo>
                      <a:lnTo>
                        <a:pt x="1008" y="24"/>
                      </a:lnTo>
                      <a:lnTo>
                        <a:pt x="1000" y="32"/>
                      </a:lnTo>
                      <a:lnTo>
                        <a:pt x="984" y="24"/>
                      </a:lnTo>
                      <a:lnTo>
                        <a:pt x="968" y="24"/>
                      </a:lnTo>
                      <a:lnTo>
                        <a:pt x="968" y="16"/>
                      </a:lnTo>
                      <a:lnTo>
                        <a:pt x="992" y="16"/>
                      </a:lnTo>
                      <a:lnTo>
                        <a:pt x="1000" y="8"/>
                      </a:lnTo>
                      <a:lnTo>
                        <a:pt x="992" y="0"/>
                      </a:lnTo>
                      <a:lnTo>
                        <a:pt x="984" y="0"/>
                      </a:lnTo>
                      <a:lnTo>
                        <a:pt x="960" y="0"/>
                      </a:lnTo>
                      <a:lnTo>
                        <a:pt x="928" y="0"/>
                      </a:lnTo>
                      <a:lnTo>
                        <a:pt x="928" y="8"/>
                      </a:lnTo>
                      <a:lnTo>
                        <a:pt x="904" y="16"/>
                      </a:lnTo>
                      <a:lnTo>
                        <a:pt x="904" y="24"/>
                      </a:lnTo>
                      <a:lnTo>
                        <a:pt x="896" y="32"/>
                      </a:lnTo>
                      <a:lnTo>
                        <a:pt x="904" y="40"/>
                      </a:lnTo>
                      <a:lnTo>
                        <a:pt x="896" y="40"/>
                      </a:lnTo>
                      <a:lnTo>
                        <a:pt x="904" y="40"/>
                      </a:lnTo>
                      <a:lnTo>
                        <a:pt x="920" y="48"/>
                      </a:lnTo>
                      <a:lnTo>
                        <a:pt x="928" y="48"/>
                      </a:lnTo>
                      <a:lnTo>
                        <a:pt x="952" y="48"/>
                      </a:lnTo>
                      <a:lnTo>
                        <a:pt x="936" y="48"/>
                      </a:lnTo>
                      <a:lnTo>
                        <a:pt x="912" y="48"/>
                      </a:lnTo>
                      <a:lnTo>
                        <a:pt x="904" y="48"/>
                      </a:lnTo>
                      <a:lnTo>
                        <a:pt x="888" y="48"/>
                      </a:lnTo>
                      <a:lnTo>
                        <a:pt x="872" y="48"/>
                      </a:lnTo>
                      <a:lnTo>
                        <a:pt x="856" y="40"/>
                      </a:lnTo>
                      <a:lnTo>
                        <a:pt x="856" y="48"/>
                      </a:lnTo>
                      <a:lnTo>
                        <a:pt x="880" y="56"/>
                      </a:lnTo>
                      <a:lnTo>
                        <a:pt x="880" y="64"/>
                      </a:lnTo>
                      <a:lnTo>
                        <a:pt x="880" y="72"/>
                      </a:lnTo>
                      <a:lnTo>
                        <a:pt x="864" y="72"/>
                      </a:lnTo>
                      <a:lnTo>
                        <a:pt x="856" y="64"/>
                      </a:lnTo>
                      <a:lnTo>
                        <a:pt x="872" y="64"/>
                      </a:lnTo>
                      <a:lnTo>
                        <a:pt x="848" y="56"/>
                      </a:lnTo>
                      <a:lnTo>
                        <a:pt x="840" y="56"/>
                      </a:lnTo>
                      <a:lnTo>
                        <a:pt x="832" y="64"/>
                      </a:lnTo>
                      <a:lnTo>
                        <a:pt x="808" y="72"/>
                      </a:lnTo>
                      <a:lnTo>
                        <a:pt x="808" y="64"/>
                      </a:lnTo>
                      <a:lnTo>
                        <a:pt x="800" y="64"/>
                      </a:lnTo>
                      <a:lnTo>
                        <a:pt x="792" y="72"/>
                      </a:lnTo>
                      <a:lnTo>
                        <a:pt x="784" y="72"/>
                      </a:lnTo>
                      <a:lnTo>
                        <a:pt x="792" y="64"/>
                      </a:lnTo>
                      <a:lnTo>
                        <a:pt x="776" y="56"/>
                      </a:lnTo>
                      <a:lnTo>
                        <a:pt x="760" y="56"/>
                      </a:lnTo>
                      <a:lnTo>
                        <a:pt x="736" y="64"/>
                      </a:lnTo>
                      <a:lnTo>
                        <a:pt x="728" y="64"/>
                      </a:lnTo>
                      <a:lnTo>
                        <a:pt x="736" y="64"/>
                      </a:lnTo>
                      <a:lnTo>
                        <a:pt x="752" y="64"/>
                      </a:lnTo>
                      <a:lnTo>
                        <a:pt x="752" y="72"/>
                      </a:lnTo>
                      <a:lnTo>
                        <a:pt x="728" y="72"/>
                      </a:lnTo>
                      <a:lnTo>
                        <a:pt x="704" y="72"/>
                      </a:lnTo>
                      <a:lnTo>
                        <a:pt x="696" y="80"/>
                      </a:lnTo>
                      <a:lnTo>
                        <a:pt x="680" y="80"/>
                      </a:lnTo>
                      <a:lnTo>
                        <a:pt x="664" y="80"/>
                      </a:lnTo>
                      <a:lnTo>
                        <a:pt x="648" y="80"/>
                      </a:lnTo>
                      <a:lnTo>
                        <a:pt x="632" y="96"/>
                      </a:lnTo>
                      <a:lnTo>
                        <a:pt x="616" y="96"/>
                      </a:lnTo>
                      <a:lnTo>
                        <a:pt x="608" y="96"/>
                      </a:lnTo>
                      <a:lnTo>
                        <a:pt x="600" y="96"/>
                      </a:lnTo>
                      <a:lnTo>
                        <a:pt x="608" y="96"/>
                      </a:lnTo>
                      <a:lnTo>
                        <a:pt x="624" y="96"/>
                      </a:lnTo>
                      <a:lnTo>
                        <a:pt x="616" y="104"/>
                      </a:lnTo>
                      <a:lnTo>
                        <a:pt x="608" y="104"/>
                      </a:lnTo>
                      <a:lnTo>
                        <a:pt x="600" y="112"/>
                      </a:lnTo>
                      <a:lnTo>
                        <a:pt x="592" y="112"/>
                      </a:lnTo>
                      <a:lnTo>
                        <a:pt x="584" y="112"/>
                      </a:lnTo>
                      <a:lnTo>
                        <a:pt x="584" y="120"/>
                      </a:lnTo>
                      <a:lnTo>
                        <a:pt x="592" y="120"/>
                      </a:lnTo>
                      <a:lnTo>
                        <a:pt x="608" y="120"/>
                      </a:lnTo>
                      <a:lnTo>
                        <a:pt x="608" y="128"/>
                      </a:lnTo>
                      <a:lnTo>
                        <a:pt x="592" y="128"/>
                      </a:lnTo>
                      <a:lnTo>
                        <a:pt x="584" y="136"/>
                      </a:lnTo>
                      <a:lnTo>
                        <a:pt x="592" y="136"/>
                      </a:lnTo>
                      <a:lnTo>
                        <a:pt x="608" y="136"/>
                      </a:lnTo>
                      <a:lnTo>
                        <a:pt x="600" y="144"/>
                      </a:lnTo>
                      <a:lnTo>
                        <a:pt x="608" y="152"/>
                      </a:lnTo>
                      <a:lnTo>
                        <a:pt x="608" y="160"/>
                      </a:lnTo>
                      <a:lnTo>
                        <a:pt x="600" y="152"/>
                      </a:lnTo>
                      <a:lnTo>
                        <a:pt x="584" y="152"/>
                      </a:lnTo>
                      <a:lnTo>
                        <a:pt x="576" y="160"/>
                      </a:lnTo>
                      <a:lnTo>
                        <a:pt x="560" y="160"/>
                      </a:lnTo>
                      <a:lnTo>
                        <a:pt x="552" y="160"/>
                      </a:lnTo>
                      <a:lnTo>
                        <a:pt x="528" y="160"/>
                      </a:lnTo>
                      <a:lnTo>
                        <a:pt x="496" y="160"/>
                      </a:lnTo>
                      <a:lnTo>
                        <a:pt x="480" y="160"/>
                      </a:lnTo>
                      <a:lnTo>
                        <a:pt x="472" y="176"/>
                      </a:lnTo>
                      <a:lnTo>
                        <a:pt x="480" y="184"/>
                      </a:lnTo>
                      <a:lnTo>
                        <a:pt x="480" y="200"/>
                      </a:lnTo>
                      <a:lnTo>
                        <a:pt x="488" y="208"/>
                      </a:lnTo>
                      <a:lnTo>
                        <a:pt x="480" y="208"/>
                      </a:lnTo>
                      <a:lnTo>
                        <a:pt x="512" y="216"/>
                      </a:lnTo>
                      <a:lnTo>
                        <a:pt x="512" y="232"/>
                      </a:lnTo>
                      <a:lnTo>
                        <a:pt x="536" y="232"/>
                      </a:lnTo>
                      <a:lnTo>
                        <a:pt x="536" y="248"/>
                      </a:lnTo>
                      <a:lnTo>
                        <a:pt x="528" y="256"/>
                      </a:lnTo>
                      <a:lnTo>
                        <a:pt x="528" y="264"/>
                      </a:lnTo>
                      <a:lnTo>
                        <a:pt x="544" y="280"/>
                      </a:lnTo>
                      <a:lnTo>
                        <a:pt x="544" y="288"/>
                      </a:lnTo>
                      <a:lnTo>
                        <a:pt x="528" y="296"/>
                      </a:lnTo>
                      <a:lnTo>
                        <a:pt x="560" y="312"/>
                      </a:lnTo>
                      <a:lnTo>
                        <a:pt x="560" y="320"/>
                      </a:lnTo>
                      <a:lnTo>
                        <a:pt x="552" y="320"/>
                      </a:lnTo>
                      <a:lnTo>
                        <a:pt x="544" y="320"/>
                      </a:lnTo>
                      <a:lnTo>
                        <a:pt x="536" y="312"/>
                      </a:lnTo>
                      <a:lnTo>
                        <a:pt x="520" y="296"/>
                      </a:lnTo>
                      <a:lnTo>
                        <a:pt x="528" y="288"/>
                      </a:lnTo>
                      <a:lnTo>
                        <a:pt x="528" y="272"/>
                      </a:lnTo>
                      <a:lnTo>
                        <a:pt x="512" y="272"/>
                      </a:lnTo>
                      <a:lnTo>
                        <a:pt x="512" y="264"/>
                      </a:lnTo>
                      <a:lnTo>
                        <a:pt x="504" y="264"/>
                      </a:lnTo>
                      <a:lnTo>
                        <a:pt x="512" y="256"/>
                      </a:lnTo>
                      <a:lnTo>
                        <a:pt x="520" y="256"/>
                      </a:lnTo>
                      <a:lnTo>
                        <a:pt x="528" y="248"/>
                      </a:lnTo>
                      <a:lnTo>
                        <a:pt x="528" y="240"/>
                      </a:lnTo>
                      <a:lnTo>
                        <a:pt x="504" y="240"/>
                      </a:lnTo>
                      <a:lnTo>
                        <a:pt x="480" y="232"/>
                      </a:lnTo>
                      <a:lnTo>
                        <a:pt x="448" y="216"/>
                      </a:lnTo>
                      <a:lnTo>
                        <a:pt x="424" y="216"/>
                      </a:lnTo>
                      <a:lnTo>
                        <a:pt x="408" y="224"/>
                      </a:lnTo>
                      <a:lnTo>
                        <a:pt x="416" y="224"/>
                      </a:lnTo>
                      <a:lnTo>
                        <a:pt x="424" y="224"/>
                      </a:lnTo>
                      <a:lnTo>
                        <a:pt x="424" y="240"/>
                      </a:lnTo>
                      <a:lnTo>
                        <a:pt x="416" y="240"/>
                      </a:lnTo>
                      <a:lnTo>
                        <a:pt x="400" y="232"/>
                      </a:lnTo>
                      <a:lnTo>
                        <a:pt x="392" y="232"/>
                      </a:lnTo>
                      <a:lnTo>
                        <a:pt x="384" y="240"/>
                      </a:lnTo>
                      <a:lnTo>
                        <a:pt x="392" y="248"/>
                      </a:lnTo>
                      <a:lnTo>
                        <a:pt x="416" y="256"/>
                      </a:lnTo>
                      <a:lnTo>
                        <a:pt x="424" y="256"/>
                      </a:lnTo>
                      <a:lnTo>
                        <a:pt x="424" y="264"/>
                      </a:lnTo>
                      <a:lnTo>
                        <a:pt x="432" y="264"/>
                      </a:lnTo>
                      <a:lnTo>
                        <a:pt x="448" y="264"/>
                      </a:lnTo>
                      <a:lnTo>
                        <a:pt x="440" y="272"/>
                      </a:lnTo>
                      <a:lnTo>
                        <a:pt x="432" y="272"/>
                      </a:lnTo>
                      <a:lnTo>
                        <a:pt x="416" y="264"/>
                      </a:lnTo>
                      <a:lnTo>
                        <a:pt x="400" y="264"/>
                      </a:lnTo>
                      <a:lnTo>
                        <a:pt x="368" y="256"/>
                      </a:lnTo>
                      <a:lnTo>
                        <a:pt x="376" y="248"/>
                      </a:lnTo>
                      <a:lnTo>
                        <a:pt x="368" y="240"/>
                      </a:lnTo>
                      <a:lnTo>
                        <a:pt x="368" y="232"/>
                      </a:lnTo>
                      <a:lnTo>
                        <a:pt x="376" y="224"/>
                      </a:lnTo>
                      <a:lnTo>
                        <a:pt x="376" y="208"/>
                      </a:lnTo>
                      <a:lnTo>
                        <a:pt x="360" y="192"/>
                      </a:lnTo>
                      <a:lnTo>
                        <a:pt x="352" y="192"/>
                      </a:lnTo>
                      <a:lnTo>
                        <a:pt x="360" y="200"/>
                      </a:lnTo>
                      <a:lnTo>
                        <a:pt x="360" y="208"/>
                      </a:lnTo>
                      <a:lnTo>
                        <a:pt x="368" y="216"/>
                      </a:lnTo>
                      <a:lnTo>
                        <a:pt x="368" y="224"/>
                      </a:lnTo>
                      <a:lnTo>
                        <a:pt x="336" y="240"/>
                      </a:lnTo>
                      <a:lnTo>
                        <a:pt x="328" y="256"/>
                      </a:lnTo>
                      <a:lnTo>
                        <a:pt x="344" y="272"/>
                      </a:lnTo>
                      <a:lnTo>
                        <a:pt x="352" y="288"/>
                      </a:lnTo>
                      <a:lnTo>
                        <a:pt x="344" y="296"/>
                      </a:lnTo>
                      <a:lnTo>
                        <a:pt x="328" y="304"/>
                      </a:lnTo>
                      <a:lnTo>
                        <a:pt x="328" y="312"/>
                      </a:lnTo>
                      <a:lnTo>
                        <a:pt x="336" y="320"/>
                      </a:lnTo>
                      <a:lnTo>
                        <a:pt x="336" y="336"/>
                      </a:lnTo>
                      <a:lnTo>
                        <a:pt x="360" y="336"/>
                      </a:lnTo>
                      <a:lnTo>
                        <a:pt x="376" y="336"/>
                      </a:lnTo>
                      <a:lnTo>
                        <a:pt x="400" y="336"/>
                      </a:lnTo>
                      <a:lnTo>
                        <a:pt x="408" y="344"/>
                      </a:lnTo>
                      <a:lnTo>
                        <a:pt x="416" y="352"/>
                      </a:lnTo>
                      <a:lnTo>
                        <a:pt x="424" y="368"/>
                      </a:lnTo>
                      <a:lnTo>
                        <a:pt x="416" y="376"/>
                      </a:lnTo>
                      <a:lnTo>
                        <a:pt x="424" y="384"/>
                      </a:lnTo>
                      <a:lnTo>
                        <a:pt x="432" y="384"/>
                      </a:lnTo>
                      <a:lnTo>
                        <a:pt x="440" y="392"/>
                      </a:lnTo>
                      <a:lnTo>
                        <a:pt x="432" y="392"/>
                      </a:lnTo>
                      <a:lnTo>
                        <a:pt x="408" y="392"/>
                      </a:lnTo>
                      <a:lnTo>
                        <a:pt x="400" y="384"/>
                      </a:lnTo>
                      <a:lnTo>
                        <a:pt x="408" y="360"/>
                      </a:lnTo>
                      <a:lnTo>
                        <a:pt x="400" y="352"/>
                      </a:lnTo>
                      <a:lnTo>
                        <a:pt x="392" y="344"/>
                      </a:lnTo>
                      <a:lnTo>
                        <a:pt x="376" y="344"/>
                      </a:lnTo>
                      <a:lnTo>
                        <a:pt x="344" y="352"/>
                      </a:lnTo>
                      <a:lnTo>
                        <a:pt x="344" y="360"/>
                      </a:lnTo>
                      <a:lnTo>
                        <a:pt x="360" y="376"/>
                      </a:lnTo>
                      <a:lnTo>
                        <a:pt x="352" y="392"/>
                      </a:lnTo>
                      <a:lnTo>
                        <a:pt x="344" y="392"/>
                      </a:lnTo>
                      <a:lnTo>
                        <a:pt x="328" y="416"/>
                      </a:lnTo>
                      <a:lnTo>
                        <a:pt x="312" y="424"/>
                      </a:lnTo>
                      <a:lnTo>
                        <a:pt x="304" y="440"/>
                      </a:lnTo>
                      <a:lnTo>
                        <a:pt x="296" y="432"/>
                      </a:lnTo>
                      <a:lnTo>
                        <a:pt x="256" y="432"/>
                      </a:lnTo>
                      <a:lnTo>
                        <a:pt x="240" y="416"/>
                      </a:lnTo>
                      <a:lnTo>
                        <a:pt x="232" y="416"/>
                      </a:lnTo>
                      <a:lnTo>
                        <a:pt x="224" y="416"/>
                      </a:lnTo>
                      <a:lnTo>
                        <a:pt x="232" y="408"/>
                      </a:lnTo>
                      <a:lnTo>
                        <a:pt x="248" y="408"/>
                      </a:lnTo>
                      <a:lnTo>
                        <a:pt x="256" y="408"/>
                      </a:lnTo>
                      <a:lnTo>
                        <a:pt x="264" y="416"/>
                      </a:lnTo>
                      <a:lnTo>
                        <a:pt x="272" y="424"/>
                      </a:lnTo>
                      <a:lnTo>
                        <a:pt x="288" y="416"/>
                      </a:lnTo>
                      <a:lnTo>
                        <a:pt x="288" y="408"/>
                      </a:lnTo>
                      <a:lnTo>
                        <a:pt x="296" y="400"/>
                      </a:lnTo>
                      <a:lnTo>
                        <a:pt x="312" y="384"/>
                      </a:lnTo>
                      <a:lnTo>
                        <a:pt x="328" y="376"/>
                      </a:lnTo>
                      <a:lnTo>
                        <a:pt x="320" y="368"/>
                      </a:lnTo>
                      <a:lnTo>
                        <a:pt x="336" y="352"/>
                      </a:lnTo>
                      <a:lnTo>
                        <a:pt x="320" y="352"/>
                      </a:lnTo>
                      <a:lnTo>
                        <a:pt x="312" y="344"/>
                      </a:lnTo>
                      <a:lnTo>
                        <a:pt x="312" y="328"/>
                      </a:lnTo>
                      <a:lnTo>
                        <a:pt x="312" y="320"/>
                      </a:lnTo>
                      <a:lnTo>
                        <a:pt x="312" y="296"/>
                      </a:lnTo>
                      <a:lnTo>
                        <a:pt x="320" y="288"/>
                      </a:lnTo>
                      <a:lnTo>
                        <a:pt x="312" y="288"/>
                      </a:lnTo>
                      <a:lnTo>
                        <a:pt x="312" y="264"/>
                      </a:lnTo>
                      <a:lnTo>
                        <a:pt x="296" y="256"/>
                      </a:lnTo>
                      <a:lnTo>
                        <a:pt x="296" y="248"/>
                      </a:lnTo>
                      <a:lnTo>
                        <a:pt x="320" y="232"/>
                      </a:lnTo>
                      <a:lnTo>
                        <a:pt x="320" y="224"/>
                      </a:lnTo>
                      <a:lnTo>
                        <a:pt x="312" y="216"/>
                      </a:lnTo>
                      <a:lnTo>
                        <a:pt x="320" y="200"/>
                      </a:lnTo>
                      <a:lnTo>
                        <a:pt x="296" y="192"/>
                      </a:lnTo>
                      <a:lnTo>
                        <a:pt x="272" y="192"/>
                      </a:lnTo>
                      <a:lnTo>
                        <a:pt x="264" y="192"/>
                      </a:lnTo>
                      <a:lnTo>
                        <a:pt x="248" y="192"/>
                      </a:lnTo>
                      <a:lnTo>
                        <a:pt x="232" y="232"/>
                      </a:lnTo>
                      <a:lnTo>
                        <a:pt x="216" y="248"/>
                      </a:lnTo>
                      <a:lnTo>
                        <a:pt x="200" y="264"/>
                      </a:lnTo>
                      <a:lnTo>
                        <a:pt x="192" y="280"/>
                      </a:lnTo>
                      <a:lnTo>
                        <a:pt x="200" y="280"/>
                      </a:lnTo>
                      <a:lnTo>
                        <a:pt x="200" y="304"/>
                      </a:lnTo>
                      <a:lnTo>
                        <a:pt x="192" y="304"/>
                      </a:lnTo>
                      <a:lnTo>
                        <a:pt x="200" y="320"/>
                      </a:lnTo>
                      <a:lnTo>
                        <a:pt x="208" y="320"/>
                      </a:lnTo>
                      <a:lnTo>
                        <a:pt x="216" y="328"/>
                      </a:lnTo>
                      <a:lnTo>
                        <a:pt x="216" y="336"/>
                      </a:lnTo>
                      <a:lnTo>
                        <a:pt x="232" y="344"/>
                      </a:lnTo>
                      <a:lnTo>
                        <a:pt x="240" y="344"/>
                      </a:lnTo>
                      <a:lnTo>
                        <a:pt x="240" y="360"/>
                      </a:lnTo>
                      <a:lnTo>
                        <a:pt x="224" y="368"/>
                      </a:lnTo>
                      <a:lnTo>
                        <a:pt x="216" y="368"/>
                      </a:lnTo>
                      <a:lnTo>
                        <a:pt x="216" y="360"/>
                      </a:lnTo>
                      <a:lnTo>
                        <a:pt x="200" y="352"/>
                      </a:lnTo>
                      <a:lnTo>
                        <a:pt x="192" y="352"/>
                      </a:lnTo>
                      <a:lnTo>
                        <a:pt x="176" y="344"/>
                      </a:lnTo>
                      <a:lnTo>
                        <a:pt x="168" y="336"/>
                      </a:lnTo>
                      <a:lnTo>
                        <a:pt x="152" y="328"/>
                      </a:lnTo>
                      <a:lnTo>
                        <a:pt x="128" y="320"/>
                      </a:lnTo>
                      <a:lnTo>
                        <a:pt x="144" y="352"/>
                      </a:lnTo>
                      <a:lnTo>
                        <a:pt x="128" y="360"/>
                      </a:lnTo>
                      <a:lnTo>
                        <a:pt x="144" y="416"/>
                      </a:lnTo>
                      <a:lnTo>
                        <a:pt x="136" y="440"/>
                      </a:lnTo>
                      <a:lnTo>
                        <a:pt x="120" y="448"/>
                      </a:lnTo>
                      <a:lnTo>
                        <a:pt x="64" y="512"/>
                      </a:lnTo>
                      <a:lnTo>
                        <a:pt x="56" y="584"/>
                      </a:lnTo>
                      <a:lnTo>
                        <a:pt x="64" y="600"/>
                      </a:lnTo>
                      <a:lnTo>
                        <a:pt x="56" y="640"/>
                      </a:lnTo>
                      <a:lnTo>
                        <a:pt x="56" y="656"/>
                      </a:lnTo>
                      <a:lnTo>
                        <a:pt x="48" y="728"/>
                      </a:lnTo>
                      <a:lnTo>
                        <a:pt x="48" y="768"/>
                      </a:lnTo>
                      <a:lnTo>
                        <a:pt x="56" y="816"/>
                      </a:lnTo>
                      <a:lnTo>
                        <a:pt x="48" y="848"/>
                      </a:lnTo>
                      <a:lnTo>
                        <a:pt x="24" y="864"/>
                      </a:lnTo>
                      <a:lnTo>
                        <a:pt x="16" y="888"/>
                      </a:lnTo>
                      <a:lnTo>
                        <a:pt x="32" y="904"/>
                      </a:lnTo>
                      <a:lnTo>
                        <a:pt x="0" y="960"/>
                      </a:lnTo>
                      <a:lnTo>
                        <a:pt x="0" y="984"/>
                      </a:lnTo>
                      <a:lnTo>
                        <a:pt x="32" y="1016"/>
                      </a:lnTo>
                      <a:lnTo>
                        <a:pt x="48" y="1040"/>
                      </a:lnTo>
                      <a:lnTo>
                        <a:pt x="56" y="1040"/>
                      </a:lnTo>
                      <a:lnTo>
                        <a:pt x="64" y="1056"/>
                      </a:lnTo>
                      <a:lnTo>
                        <a:pt x="80" y="1048"/>
                      </a:lnTo>
                      <a:lnTo>
                        <a:pt x="72" y="1032"/>
                      </a:lnTo>
                      <a:lnTo>
                        <a:pt x="64" y="1016"/>
                      </a:lnTo>
                      <a:lnTo>
                        <a:pt x="64" y="1008"/>
                      </a:lnTo>
                      <a:lnTo>
                        <a:pt x="72" y="1000"/>
                      </a:lnTo>
                      <a:lnTo>
                        <a:pt x="80" y="992"/>
                      </a:lnTo>
                      <a:lnTo>
                        <a:pt x="64" y="984"/>
                      </a:lnTo>
                      <a:lnTo>
                        <a:pt x="72" y="976"/>
                      </a:lnTo>
                      <a:lnTo>
                        <a:pt x="88" y="968"/>
                      </a:lnTo>
                      <a:lnTo>
                        <a:pt x="72" y="968"/>
                      </a:lnTo>
                      <a:lnTo>
                        <a:pt x="72" y="952"/>
                      </a:lnTo>
                      <a:lnTo>
                        <a:pt x="96" y="944"/>
                      </a:lnTo>
                      <a:lnTo>
                        <a:pt x="128" y="936"/>
                      </a:lnTo>
                      <a:lnTo>
                        <a:pt x="184" y="912"/>
                      </a:lnTo>
                      <a:lnTo>
                        <a:pt x="208" y="896"/>
                      </a:lnTo>
                      <a:lnTo>
                        <a:pt x="232" y="896"/>
                      </a:lnTo>
                      <a:lnTo>
                        <a:pt x="264" y="896"/>
                      </a:lnTo>
                      <a:lnTo>
                        <a:pt x="272" y="904"/>
                      </a:lnTo>
                      <a:lnTo>
                        <a:pt x="280" y="928"/>
                      </a:lnTo>
                      <a:lnTo>
                        <a:pt x="296" y="920"/>
                      </a:lnTo>
                      <a:lnTo>
                        <a:pt x="328" y="936"/>
                      </a:lnTo>
                      <a:lnTo>
                        <a:pt x="328" y="952"/>
                      </a:lnTo>
                      <a:lnTo>
                        <a:pt x="352" y="952"/>
                      </a:lnTo>
                      <a:lnTo>
                        <a:pt x="360" y="936"/>
                      </a:lnTo>
                      <a:lnTo>
                        <a:pt x="368" y="920"/>
                      </a:lnTo>
                      <a:lnTo>
                        <a:pt x="400" y="928"/>
                      </a:lnTo>
                      <a:lnTo>
                        <a:pt x="400" y="944"/>
                      </a:lnTo>
                      <a:lnTo>
                        <a:pt x="408" y="960"/>
                      </a:lnTo>
                      <a:lnTo>
                        <a:pt x="432" y="984"/>
                      </a:lnTo>
                      <a:lnTo>
                        <a:pt x="448" y="1008"/>
                      </a:lnTo>
                      <a:lnTo>
                        <a:pt x="464" y="1040"/>
                      </a:lnTo>
                      <a:lnTo>
                        <a:pt x="520" y="1040"/>
                      </a:lnTo>
                      <a:lnTo>
                        <a:pt x="544" y="1040"/>
                      </a:lnTo>
                      <a:lnTo>
                        <a:pt x="576" y="1080"/>
                      </a:lnTo>
                      <a:lnTo>
                        <a:pt x="616" y="1088"/>
                      </a:lnTo>
                      <a:lnTo>
                        <a:pt x="616" y="1096"/>
                      </a:lnTo>
                      <a:lnTo>
                        <a:pt x="624" y="1096"/>
                      </a:lnTo>
                      <a:lnTo>
                        <a:pt x="632" y="1088"/>
                      </a:lnTo>
                      <a:lnTo>
                        <a:pt x="664" y="1080"/>
                      </a:lnTo>
                      <a:lnTo>
                        <a:pt x="680" y="1056"/>
                      </a:lnTo>
                      <a:lnTo>
                        <a:pt x="688" y="1056"/>
                      </a:lnTo>
                      <a:lnTo>
                        <a:pt x="704" y="1040"/>
                      </a:lnTo>
                      <a:lnTo>
                        <a:pt x="720" y="1040"/>
                      </a:lnTo>
                      <a:lnTo>
                        <a:pt x="736" y="1056"/>
                      </a:lnTo>
                      <a:lnTo>
                        <a:pt x="752" y="1056"/>
                      </a:lnTo>
                      <a:lnTo>
                        <a:pt x="784" y="1080"/>
                      </a:lnTo>
                      <a:lnTo>
                        <a:pt x="792" y="1080"/>
                      </a:lnTo>
                      <a:lnTo>
                        <a:pt x="792" y="1064"/>
                      </a:lnTo>
                      <a:lnTo>
                        <a:pt x="808" y="1064"/>
                      </a:lnTo>
                      <a:lnTo>
                        <a:pt x="808" y="1080"/>
                      </a:lnTo>
                      <a:lnTo>
                        <a:pt x="840" y="1072"/>
                      </a:lnTo>
                      <a:lnTo>
                        <a:pt x="840" y="1048"/>
                      </a:lnTo>
                      <a:lnTo>
                        <a:pt x="832" y="1032"/>
                      </a:lnTo>
                      <a:lnTo>
                        <a:pt x="848" y="1016"/>
                      </a:lnTo>
                      <a:lnTo>
                        <a:pt x="856" y="1000"/>
                      </a:lnTo>
                      <a:lnTo>
                        <a:pt x="912" y="1016"/>
                      </a:lnTo>
                      <a:lnTo>
                        <a:pt x="944" y="1064"/>
                      </a:lnTo>
                      <a:lnTo>
                        <a:pt x="984" y="1048"/>
                      </a:lnTo>
                      <a:lnTo>
                        <a:pt x="1040" y="1064"/>
                      </a:lnTo>
                      <a:lnTo>
                        <a:pt x="1040" y="1080"/>
                      </a:lnTo>
                      <a:lnTo>
                        <a:pt x="1072" y="1088"/>
                      </a:lnTo>
                      <a:lnTo>
                        <a:pt x="1080" y="1096"/>
                      </a:lnTo>
                      <a:lnTo>
                        <a:pt x="1104" y="1088"/>
                      </a:lnTo>
                      <a:lnTo>
                        <a:pt x="1128" y="1088"/>
                      </a:lnTo>
                      <a:lnTo>
                        <a:pt x="1152" y="1072"/>
                      </a:lnTo>
                      <a:lnTo>
                        <a:pt x="1168" y="1056"/>
                      </a:lnTo>
                      <a:lnTo>
                        <a:pt x="1184" y="1064"/>
                      </a:lnTo>
                      <a:lnTo>
                        <a:pt x="1200" y="1080"/>
                      </a:lnTo>
                      <a:lnTo>
                        <a:pt x="1224" y="1072"/>
                      </a:lnTo>
                      <a:lnTo>
                        <a:pt x="1240" y="1088"/>
                      </a:lnTo>
                      <a:lnTo>
                        <a:pt x="1272" y="1064"/>
                      </a:lnTo>
                      <a:lnTo>
                        <a:pt x="1272" y="1048"/>
                      </a:lnTo>
                      <a:lnTo>
                        <a:pt x="1280" y="1040"/>
                      </a:lnTo>
                      <a:lnTo>
                        <a:pt x="1288" y="1016"/>
                      </a:lnTo>
                      <a:lnTo>
                        <a:pt x="1304" y="1000"/>
                      </a:lnTo>
                      <a:lnTo>
                        <a:pt x="1304" y="984"/>
                      </a:lnTo>
                      <a:lnTo>
                        <a:pt x="1288" y="984"/>
                      </a:lnTo>
                      <a:lnTo>
                        <a:pt x="1312" y="952"/>
                      </a:lnTo>
                      <a:lnTo>
                        <a:pt x="1360" y="944"/>
                      </a:lnTo>
                      <a:lnTo>
                        <a:pt x="1392" y="960"/>
                      </a:lnTo>
                      <a:lnTo>
                        <a:pt x="1408" y="960"/>
                      </a:lnTo>
                      <a:lnTo>
                        <a:pt x="1432" y="1000"/>
                      </a:lnTo>
                      <a:lnTo>
                        <a:pt x="1432" y="1016"/>
                      </a:lnTo>
                      <a:lnTo>
                        <a:pt x="1448" y="1048"/>
                      </a:lnTo>
                      <a:lnTo>
                        <a:pt x="1448" y="1072"/>
                      </a:lnTo>
                      <a:lnTo>
                        <a:pt x="1472" y="1072"/>
                      </a:lnTo>
                      <a:lnTo>
                        <a:pt x="1488" y="1080"/>
                      </a:lnTo>
                      <a:lnTo>
                        <a:pt x="1512" y="1104"/>
                      </a:lnTo>
                      <a:lnTo>
                        <a:pt x="1520" y="1136"/>
                      </a:lnTo>
                      <a:lnTo>
                        <a:pt x="1536" y="1136"/>
                      </a:lnTo>
                      <a:lnTo>
                        <a:pt x="1544" y="1128"/>
                      </a:lnTo>
                      <a:lnTo>
                        <a:pt x="1568" y="1128"/>
                      </a:lnTo>
                      <a:lnTo>
                        <a:pt x="1592" y="1112"/>
                      </a:lnTo>
                      <a:lnTo>
                        <a:pt x="1600" y="1112"/>
                      </a:lnTo>
                      <a:lnTo>
                        <a:pt x="1592" y="1152"/>
                      </a:lnTo>
                      <a:lnTo>
                        <a:pt x="1576" y="1168"/>
                      </a:lnTo>
                      <a:lnTo>
                        <a:pt x="1568" y="1208"/>
                      </a:lnTo>
                      <a:lnTo>
                        <a:pt x="1552" y="1216"/>
                      </a:lnTo>
                      <a:lnTo>
                        <a:pt x="1536" y="1216"/>
                      </a:lnTo>
                      <a:lnTo>
                        <a:pt x="1512" y="1224"/>
                      </a:lnTo>
                      <a:lnTo>
                        <a:pt x="1528" y="1248"/>
                      </a:lnTo>
                      <a:lnTo>
                        <a:pt x="1520" y="1272"/>
                      </a:lnTo>
                      <a:lnTo>
                        <a:pt x="1504" y="1288"/>
                      </a:lnTo>
                      <a:lnTo>
                        <a:pt x="1512" y="1288"/>
                      </a:lnTo>
                      <a:lnTo>
                        <a:pt x="1528" y="1288"/>
                      </a:lnTo>
                      <a:lnTo>
                        <a:pt x="1528" y="1280"/>
                      </a:lnTo>
                      <a:lnTo>
                        <a:pt x="1536" y="1272"/>
                      </a:lnTo>
                      <a:lnTo>
                        <a:pt x="1544" y="1280"/>
                      </a:lnTo>
                      <a:lnTo>
                        <a:pt x="1552" y="1280"/>
                      </a:lnTo>
                      <a:lnTo>
                        <a:pt x="1560" y="1280"/>
                      </a:lnTo>
                      <a:lnTo>
                        <a:pt x="1568" y="1288"/>
                      </a:lnTo>
                      <a:lnTo>
                        <a:pt x="1576" y="1280"/>
                      </a:lnTo>
                      <a:lnTo>
                        <a:pt x="1600" y="1272"/>
                      </a:lnTo>
                      <a:lnTo>
                        <a:pt x="1624" y="1232"/>
                      </a:lnTo>
                      <a:lnTo>
                        <a:pt x="1640" y="1216"/>
                      </a:lnTo>
                      <a:lnTo>
                        <a:pt x="1656" y="1200"/>
                      </a:lnTo>
                      <a:lnTo>
                        <a:pt x="1664" y="1176"/>
                      </a:lnTo>
                      <a:lnTo>
                        <a:pt x="1672" y="1152"/>
                      </a:lnTo>
                      <a:lnTo>
                        <a:pt x="1688" y="1136"/>
                      </a:lnTo>
                      <a:lnTo>
                        <a:pt x="1696" y="1128"/>
                      </a:lnTo>
                      <a:lnTo>
                        <a:pt x="1712" y="1096"/>
                      </a:lnTo>
                      <a:lnTo>
                        <a:pt x="1712" y="1088"/>
                      </a:lnTo>
                      <a:lnTo>
                        <a:pt x="1712" y="1064"/>
                      </a:lnTo>
                      <a:lnTo>
                        <a:pt x="1712" y="1056"/>
                      </a:lnTo>
                      <a:lnTo>
                        <a:pt x="1712" y="1032"/>
                      </a:lnTo>
                      <a:lnTo>
                        <a:pt x="1728" y="1008"/>
                      </a:lnTo>
                      <a:lnTo>
                        <a:pt x="1728" y="992"/>
                      </a:lnTo>
                      <a:lnTo>
                        <a:pt x="1712" y="976"/>
                      </a:lnTo>
                      <a:lnTo>
                        <a:pt x="1712" y="968"/>
                      </a:lnTo>
                      <a:lnTo>
                        <a:pt x="1720" y="976"/>
                      </a:lnTo>
                      <a:lnTo>
                        <a:pt x="1728" y="968"/>
                      </a:lnTo>
                      <a:lnTo>
                        <a:pt x="1720" y="952"/>
                      </a:lnTo>
                      <a:lnTo>
                        <a:pt x="1704" y="944"/>
                      </a:lnTo>
                      <a:lnTo>
                        <a:pt x="1704" y="936"/>
                      </a:lnTo>
                      <a:lnTo>
                        <a:pt x="1680" y="928"/>
                      </a:lnTo>
                      <a:lnTo>
                        <a:pt x="1672" y="944"/>
                      </a:lnTo>
                      <a:lnTo>
                        <a:pt x="1664" y="944"/>
                      </a:lnTo>
                      <a:lnTo>
                        <a:pt x="1656" y="952"/>
                      </a:lnTo>
                      <a:lnTo>
                        <a:pt x="1648" y="952"/>
                      </a:lnTo>
                      <a:lnTo>
                        <a:pt x="1656" y="936"/>
                      </a:lnTo>
                      <a:lnTo>
                        <a:pt x="1648" y="928"/>
                      </a:lnTo>
                      <a:lnTo>
                        <a:pt x="1640" y="936"/>
                      </a:lnTo>
                      <a:lnTo>
                        <a:pt x="1632" y="944"/>
                      </a:lnTo>
                      <a:lnTo>
                        <a:pt x="1632" y="920"/>
                      </a:lnTo>
                      <a:lnTo>
                        <a:pt x="1616" y="912"/>
                      </a:lnTo>
                      <a:lnTo>
                        <a:pt x="1608" y="912"/>
                      </a:lnTo>
                      <a:lnTo>
                        <a:pt x="1600" y="904"/>
                      </a:lnTo>
                      <a:lnTo>
                        <a:pt x="1616" y="896"/>
                      </a:lnTo>
                      <a:lnTo>
                        <a:pt x="1624" y="888"/>
                      </a:lnTo>
                      <a:lnTo>
                        <a:pt x="1648" y="872"/>
                      </a:lnTo>
                      <a:lnTo>
                        <a:pt x="1648" y="864"/>
                      </a:lnTo>
                      <a:lnTo>
                        <a:pt x="1664" y="848"/>
                      </a:lnTo>
                      <a:lnTo>
                        <a:pt x="1664" y="832"/>
                      </a:lnTo>
                      <a:lnTo>
                        <a:pt x="1688" y="816"/>
                      </a:lnTo>
                      <a:lnTo>
                        <a:pt x="1712" y="800"/>
                      </a:lnTo>
                      <a:lnTo>
                        <a:pt x="1712" y="784"/>
                      </a:lnTo>
                      <a:lnTo>
                        <a:pt x="1736" y="768"/>
                      </a:lnTo>
                      <a:lnTo>
                        <a:pt x="1736" y="752"/>
                      </a:lnTo>
                      <a:lnTo>
                        <a:pt x="1752" y="744"/>
                      </a:lnTo>
                      <a:lnTo>
                        <a:pt x="1776" y="736"/>
                      </a:lnTo>
                      <a:lnTo>
                        <a:pt x="1792" y="736"/>
                      </a:lnTo>
                      <a:lnTo>
                        <a:pt x="1800" y="736"/>
                      </a:lnTo>
                      <a:lnTo>
                        <a:pt x="1824" y="736"/>
                      </a:lnTo>
                      <a:lnTo>
                        <a:pt x="1816" y="744"/>
                      </a:lnTo>
                      <a:lnTo>
                        <a:pt x="1824" y="752"/>
                      </a:lnTo>
                      <a:lnTo>
                        <a:pt x="1832" y="744"/>
                      </a:lnTo>
                      <a:lnTo>
                        <a:pt x="1840" y="736"/>
                      </a:lnTo>
                      <a:lnTo>
                        <a:pt x="1848" y="744"/>
                      </a:lnTo>
                      <a:lnTo>
                        <a:pt x="1872" y="736"/>
                      </a:lnTo>
                      <a:lnTo>
                        <a:pt x="1880" y="744"/>
                      </a:lnTo>
                      <a:lnTo>
                        <a:pt x="1888" y="728"/>
                      </a:lnTo>
                      <a:lnTo>
                        <a:pt x="1904" y="728"/>
                      </a:lnTo>
                      <a:lnTo>
                        <a:pt x="1912" y="728"/>
                      </a:lnTo>
                      <a:lnTo>
                        <a:pt x="1936" y="728"/>
                      </a:lnTo>
                      <a:lnTo>
                        <a:pt x="1944" y="736"/>
                      </a:lnTo>
                      <a:lnTo>
                        <a:pt x="1936" y="744"/>
                      </a:lnTo>
                      <a:lnTo>
                        <a:pt x="1928" y="752"/>
                      </a:lnTo>
                      <a:lnTo>
                        <a:pt x="1936" y="752"/>
                      </a:lnTo>
                      <a:lnTo>
                        <a:pt x="1952" y="752"/>
                      </a:lnTo>
                      <a:lnTo>
                        <a:pt x="1960" y="752"/>
                      </a:lnTo>
                      <a:lnTo>
                        <a:pt x="1976" y="744"/>
                      </a:lnTo>
                      <a:lnTo>
                        <a:pt x="1984" y="752"/>
                      </a:lnTo>
                      <a:lnTo>
                        <a:pt x="1992" y="752"/>
                      </a:lnTo>
                      <a:lnTo>
                        <a:pt x="1992" y="744"/>
                      </a:lnTo>
                      <a:lnTo>
                        <a:pt x="2008" y="744"/>
                      </a:lnTo>
                      <a:lnTo>
                        <a:pt x="2008" y="728"/>
                      </a:lnTo>
                      <a:lnTo>
                        <a:pt x="2000" y="728"/>
                      </a:lnTo>
                      <a:lnTo>
                        <a:pt x="1992" y="728"/>
                      </a:lnTo>
                      <a:lnTo>
                        <a:pt x="1992" y="712"/>
                      </a:lnTo>
                      <a:lnTo>
                        <a:pt x="2000" y="712"/>
                      </a:lnTo>
                      <a:lnTo>
                        <a:pt x="2008" y="696"/>
                      </a:lnTo>
                      <a:lnTo>
                        <a:pt x="2024" y="688"/>
                      </a:lnTo>
                      <a:lnTo>
                        <a:pt x="2024" y="680"/>
                      </a:lnTo>
                      <a:lnTo>
                        <a:pt x="2040" y="664"/>
                      </a:lnTo>
                      <a:lnTo>
                        <a:pt x="2040" y="648"/>
                      </a:lnTo>
                      <a:lnTo>
                        <a:pt x="2040" y="640"/>
                      </a:lnTo>
                      <a:lnTo>
                        <a:pt x="2056" y="632"/>
                      </a:lnTo>
                      <a:lnTo>
                        <a:pt x="2080" y="632"/>
                      </a:lnTo>
                      <a:lnTo>
                        <a:pt x="2088" y="624"/>
                      </a:lnTo>
                      <a:lnTo>
                        <a:pt x="2096" y="632"/>
                      </a:lnTo>
                      <a:lnTo>
                        <a:pt x="2104" y="632"/>
                      </a:lnTo>
                      <a:lnTo>
                        <a:pt x="2104" y="624"/>
                      </a:lnTo>
                      <a:lnTo>
                        <a:pt x="2112" y="632"/>
                      </a:lnTo>
                      <a:lnTo>
                        <a:pt x="2112" y="640"/>
                      </a:lnTo>
                      <a:lnTo>
                        <a:pt x="2152" y="640"/>
                      </a:lnTo>
                      <a:lnTo>
                        <a:pt x="2168" y="640"/>
                      </a:lnTo>
                      <a:lnTo>
                        <a:pt x="2176" y="632"/>
                      </a:lnTo>
                      <a:lnTo>
                        <a:pt x="2168" y="624"/>
                      </a:lnTo>
                      <a:lnTo>
                        <a:pt x="2176" y="600"/>
                      </a:lnTo>
                      <a:lnTo>
                        <a:pt x="2200" y="592"/>
                      </a:lnTo>
                      <a:lnTo>
                        <a:pt x="2208" y="600"/>
                      </a:lnTo>
                      <a:lnTo>
                        <a:pt x="2200" y="608"/>
                      </a:lnTo>
                      <a:lnTo>
                        <a:pt x="2192" y="624"/>
                      </a:lnTo>
                      <a:lnTo>
                        <a:pt x="2192" y="632"/>
                      </a:lnTo>
                      <a:lnTo>
                        <a:pt x="2184" y="640"/>
                      </a:lnTo>
                      <a:lnTo>
                        <a:pt x="2184" y="664"/>
                      </a:lnTo>
                      <a:lnTo>
                        <a:pt x="2184" y="672"/>
                      </a:lnTo>
                      <a:lnTo>
                        <a:pt x="2152" y="688"/>
                      </a:lnTo>
                      <a:lnTo>
                        <a:pt x="2144" y="704"/>
                      </a:lnTo>
                      <a:lnTo>
                        <a:pt x="2128" y="728"/>
                      </a:lnTo>
                      <a:lnTo>
                        <a:pt x="2112" y="728"/>
                      </a:lnTo>
                      <a:lnTo>
                        <a:pt x="2112" y="744"/>
                      </a:lnTo>
                      <a:lnTo>
                        <a:pt x="2088" y="760"/>
                      </a:lnTo>
                      <a:lnTo>
                        <a:pt x="2088" y="768"/>
                      </a:lnTo>
                      <a:lnTo>
                        <a:pt x="2072" y="784"/>
                      </a:lnTo>
                      <a:lnTo>
                        <a:pt x="2064" y="784"/>
                      </a:lnTo>
                      <a:lnTo>
                        <a:pt x="2064" y="792"/>
                      </a:lnTo>
                      <a:lnTo>
                        <a:pt x="2040" y="792"/>
                      </a:lnTo>
                      <a:lnTo>
                        <a:pt x="2040" y="824"/>
                      </a:lnTo>
                      <a:lnTo>
                        <a:pt x="2040" y="832"/>
                      </a:lnTo>
                      <a:lnTo>
                        <a:pt x="2024" y="848"/>
                      </a:lnTo>
                      <a:lnTo>
                        <a:pt x="2016" y="888"/>
                      </a:lnTo>
                      <a:lnTo>
                        <a:pt x="2024" y="920"/>
                      </a:lnTo>
                      <a:lnTo>
                        <a:pt x="2024" y="936"/>
                      </a:lnTo>
                      <a:lnTo>
                        <a:pt x="2032" y="952"/>
                      </a:lnTo>
                      <a:lnTo>
                        <a:pt x="2032" y="984"/>
                      </a:lnTo>
                      <a:lnTo>
                        <a:pt x="2040" y="1000"/>
                      </a:lnTo>
                      <a:lnTo>
                        <a:pt x="2040" y="1024"/>
                      </a:lnTo>
                      <a:lnTo>
                        <a:pt x="2040" y="1032"/>
                      </a:lnTo>
                      <a:lnTo>
                        <a:pt x="2040" y="1040"/>
                      </a:lnTo>
                      <a:lnTo>
                        <a:pt x="2048" y="1040"/>
                      </a:lnTo>
                      <a:lnTo>
                        <a:pt x="2080" y="1000"/>
                      </a:lnTo>
                      <a:lnTo>
                        <a:pt x="2080" y="984"/>
                      </a:lnTo>
                      <a:lnTo>
                        <a:pt x="2088" y="968"/>
                      </a:lnTo>
                      <a:lnTo>
                        <a:pt x="2096" y="960"/>
                      </a:lnTo>
                      <a:lnTo>
                        <a:pt x="2112" y="968"/>
                      </a:lnTo>
                      <a:lnTo>
                        <a:pt x="2112" y="960"/>
                      </a:lnTo>
                      <a:lnTo>
                        <a:pt x="2112" y="936"/>
                      </a:lnTo>
                      <a:lnTo>
                        <a:pt x="2136" y="912"/>
                      </a:lnTo>
                      <a:lnTo>
                        <a:pt x="2136" y="920"/>
                      </a:lnTo>
                      <a:lnTo>
                        <a:pt x="2144" y="912"/>
                      </a:lnTo>
                      <a:lnTo>
                        <a:pt x="2152" y="904"/>
                      </a:lnTo>
                      <a:lnTo>
                        <a:pt x="2144" y="888"/>
                      </a:lnTo>
                      <a:lnTo>
                        <a:pt x="2152" y="864"/>
                      </a:lnTo>
                      <a:lnTo>
                        <a:pt x="2168" y="848"/>
                      </a:lnTo>
                      <a:lnTo>
                        <a:pt x="2168" y="864"/>
                      </a:lnTo>
                      <a:lnTo>
                        <a:pt x="2176" y="864"/>
                      </a:lnTo>
                      <a:lnTo>
                        <a:pt x="2184" y="856"/>
                      </a:lnTo>
                      <a:lnTo>
                        <a:pt x="2176" y="840"/>
                      </a:lnTo>
                      <a:lnTo>
                        <a:pt x="2168" y="832"/>
                      </a:lnTo>
                      <a:lnTo>
                        <a:pt x="2168" y="816"/>
                      </a:lnTo>
                      <a:lnTo>
                        <a:pt x="2176" y="800"/>
                      </a:lnTo>
                      <a:lnTo>
                        <a:pt x="2160" y="792"/>
                      </a:lnTo>
                      <a:lnTo>
                        <a:pt x="2160" y="800"/>
                      </a:lnTo>
                      <a:lnTo>
                        <a:pt x="2152" y="784"/>
                      </a:lnTo>
                      <a:lnTo>
                        <a:pt x="2152" y="768"/>
                      </a:lnTo>
                      <a:lnTo>
                        <a:pt x="2160" y="760"/>
                      </a:lnTo>
                      <a:lnTo>
                        <a:pt x="2176" y="744"/>
                      </a:lnTo>
                      <a:lnTo>
                        <a:pt x="2176" y="728"/>
                      </a:lnTo>
                      <a:lnTo>
                        <a:pt x="2192" y="712"/>
                      </a:lnTo>
                      <a:lnTo>
                        <a:pt x="2200" y="712"/>
                      </a:lnTo>
                      <a:lnTo>
                        <a:pt x="2208" y="720"/>
                      </a:lnTo>
                      <a:lnTo>
                        <a:pt x="2216" y="704"/>
                      </a:lnTo>
                      <a:lnTo>
                        <a:pt x="2224" y="696"/>
                      </a:lnTo>
                      <a:lnTo>
                        <a:pt x="2240" y="688"/>
                      </a:lnTo>
                      <a:lnTo>
                        <a:pt x="2240" y="696"/>
                      </a:lnTo>
                      <a:lnTo>
                        <a:pt x="2232" y="704"/>
                      </a:lnTo>
                      <a:lnTo>
                        <a:pt x="2232" y="720"/>
                      </a:lnTo>
                      <a:lnTo>
                        <a:pt x="2240" y="712"/>
                      </a:lnTo>
                      <a:lnTo>
                        <a:pt x="2248" y="696"/>
                      </a:lnTo>
                      <a:lnTo>
                        <a:pt x="2288" y="680"/>
                      </a:lnTo>
                      <a:lnTo>
                        <a:pt x="2304" y="688"/>
                      </a:lnTo>
                      <a:lnTo>
                        <a:pt x="2312" y="696"/>
                      </a:lnTo>
                      <a:lnTo>
                        <a:pt x="2312" y="712"/>
                      </a:lnTo>
                      <a:lnTo>
                        <a:pt x="2320" y="704"/>
                      </a:lnTo>
                      <a:lnTo>
                        <a:pt x="2328" y="696"/>
                      </a:lnTo>
                      <a:lnTo>
                        <a:pt x="2336" y="680"/>
                      </a:lnTo>
                      <a:lnTo>
                        <a:pt x="2360" y="672"/>
                      </a:lnTo>
                      <a:lnTo>
                        <a:pt x="2368" y="656"/>
                      </a:lnTo>
                      <a:lnTo>
                        <a:pt x="2376" y="656"/>
                      </a:lnTo>
                      <a:lnTo>
                        <a:pt x="2384" y="640"/>
                      </a:lnTo>
                      <a:lnTo>
                        <a:pt x="2400" y="640"/>
                      </a:lnTo>
                      <a:lnTo>
                        <a:pt x="2416" y="624"/>
                      </a:lnTo>
                      <a:lnTo>
                        <a:pt x="2440" y="616"/>
                      </a:lnTo>
                      <a:lnTo>
                        <a:pt x="2448" y="608"/>
                      </a:lnTo>
                      <a:lnTo>
                        <a:pt x="2472" y="600"/>
                      </a:lnTo>
                      <a:lnTo>
                        <a:pt x="2480" y="608"/>
                      </a:lnTo>
                      <a:lnTo>
                        <a:pt x="2504" y="616"/>
                      </a:lnTo>
                      <a:lnTo>
                        <a:pt x="2504" y="600"/>
                      </a:lnTo>
                      <a:lnTo>
                        <a:pt x="2512" y="592"/>
                      </a:lnTo>
                      <a:lnTo>
                        <a:pt x="2504" y="584"/>
                      </a:lnTo>
                      <a:lnTo>
                        <a:pt x="2504" y="568"/>
                      </a:lnTo>
                      <a:lnTo>
                        <a:pt x="2496" y="560"/>
                      </a:lnTo>
                      <a:lnTo>
                        <a:pt x="2496" y="536"/>
                      </a:lnTo>
                      <a:lnTo>
                        <a:pt x="2488" y="528"/>
                      </a:lnTo>
                      <a:lnTo>
                        <a:pt x="2488" y="520"/>
                      </a:lnTo>
                      <a:lnTo>
                        <a:pt x="2480" y="520"/>
                      </a:lnTo>
                      <a:lnTo>
                        <a:pt x="2480" y="528"/>
                      </a:lnTo>
                      <a:lnTo>
                        <a:pt x="2464" y="512"/>
                      </a:lnTo>
                      <a:lnTo>
                        <a:pt x="2456" y="512"/>
                      </a:lnTo>
                      <a:lnTo>
                        <a:pt x="2448" y="504"/>
                      </a:lnTo>
                      <a:lnTo>
                        <a:pt x="2440" y="496"/>
                      </a:lnTo>
                      <a:lnTo>
                        <a:pt x="2448" y="496"/>
                      </a:lnTo>
                      <a:lnTo>
                        <a:pt x="2456" y="504"/>
                      </a:lnTo>
                      <a:lnTo>
                        <a:pt x="2456" y="496"/>
                      </a:lnTo>
                      <a:lnTo>
                        <a:pt x="2448" y="488"/>
                      </a:lnTo>
                      <a:lnTo>
                        <a:pt x="2456" y="488"/>
                      </a:lnTo>
                      <a:lnTo>
                        <a:pt x="2472" y="496"/>
                      </a:lnTo>
                      <a:lnTo>
                        <a:pt x="2472" y="504"/>
                      </a:lnTo>
                      <a:lnTo>
                        <a:pt x="2504" y="504"/>
                      </a:lnTo>
                      <a:lnTo>
                        <a:pt x="2512" y="496"/>
                      </a:lnTo>
                      <a:lnTo>
                        <a:pt x="2512" y="488"/>
                      </a:lnTo>
                      <a:lnTo>
                        <a:pt x="2528" y="472"/>
                      </a:lnTo>
                      <a:lnTo>
                        <a:pt x="2528" y="456"/>
                      </a:lnTo>
                      <a:lnTo>
                        <a:pt x="2520" y="440"/>
                      </a:lnTo>
                      <a:lnTo>
                        <a:pt x="2528" y="432"/>
                      </a:lnTo>
                      <a:lnTo>
                        <a:pt x="2536" y="432"/>
                      </a:lnTo>
                      <a:lnTo>
                        <a:pt x="2544" y="424"/>
                      </a:lnTo>
                      <a:lnTo>
                        <a:pt x="2544" y="432"/>
                      </a:lnTo>
                      <a:lnTo>
                        <a:pt x="2544" y="448"/>
                      </a:lnTo>
                      <a:lnTo>
                        <a:pt x="2544" y="456"/>
                      </a:lnTo>
                      <a:lnTo>
                        <a:pt x="2552" y="464"/>
                      </a:lnTo>
                      <a:lnTo>
                        <a:pt x="2568" y="464"/>
                      </a:lnTo>
                      <a:lnTo>
                        <a:pt x="2576" y="464"/>
                      </a:lnTo>
                      <a:lnTo>
                        <a:pt x="2592" y="472"/>
                      </a:lnTo>
                      <a:lnTo>
                        <a:pt x="2600" y="480"/>
                      </a:lnTo>
                      <a:lnTo>
                        <a:pt x="2600" y="504"/>
                      </a:lnTo>
                      <a:lnTo>
                        <a:pt x="2616" y="496"/>
                      </a:lnTo>
                      <a:lnTo>
                        <a:pt x="2632" y="504"/>
                      </a:lnTo>
                      <a:lnTo>
                        <a:pt x="2640" y="520"/>
                      </a:lnTo>
                      <a:lnTo>
                        <a:pt x="2648" y="528"/>
                      </a:lnTo>
                      <a:lnTo>
                        <a:pt x="2672" y="520"/>
                      </a:lnTo>
                      <a:lnTo>
                        <a:pt x="2656" y="512"/>
                      </a:lnTo>
                      <a:lnTo>
                        <a:pt x="2656" y="496"/>
                      </a:lnTo>
                      <a:lnTo>
                        <a:pt x="2672" y="488"/>
                      </a:lnTo>
                      <a:lnTo>
                        <a:pt x="2664" y="480"/>
                      </a:lnTo>
                      <a:lnTo>
                        <a:pt x="2672" y="472"/>
                      </a:lnTo>
                      <a:lnTo>
                        <a:pt x="2672" y="464"/>
                      </a:lnTo>
                      <a:lnTo>
                        <a:pt x="2696" y="464"/>
                      </a:lnTo>
                      <a:lnTo>
                        <a:pt x="2704" y="456"/>
                      </a:lnTo>
                      <a:lnTo>
                        <a:pt x="2712" y="440"/>
                      </a:lnTo>
                      <a:lnTo>
                        <a:pt x="2720" y="440"/>
                      </a:lnTo>
                      <a:lnTo>
                        <a:pt x="2728" y="432"/>
                      </a:lnTo>
                      <a:lnTo>
                        <a:pt x="2696" y="41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43" name="Freeform 339"/>
                <p:cNvSpPr>
                  <a:spLocks noChangeAspect="1"/>
                </p:cNvSpPr>
                <p:nvPr/>
              </p:nvSpPr>
              <p:spPr bwMode="auto">
                <a:xfrm>
                  <a:off x="5332" y="1474"/>
                  <a:ext cx="57" cy="23"/>
                </a:xfrm>
                <a:custGeom>
                  <a:avLst/>
                  <a:gdLst>
                    <a:gd name="T0" fmla="*/ 1 w 80"/>
                    <a:gd name="T1" fmla="*/ 1 h 32"/>
                    <a:gd name="T2" fmla="*/ 1 w 80"/>
                    <a:gd name="T3" fmla="*/ 1 h 32"/>
                    <a:gd name="T4" fmla="*/ 1 w 80"/>
                    <a:gd name="T5" fmla="*/ 1 h 32"/>
                    <a:gd name="T6" fmla="*/ 1 w 80"/>
                    <a:gd name="T7" fmla="*/ 1 h 32"/>
                    <a:gd name="T8" fmla="*/ 1 w 80"/>
                    <a:gd name="T9" fmla="*/ 1 h 32"/>
                    <a:gd name="T10" fmla="*/ 1 w 80"/>
                    <a:gd name="T11" fmla="*/ 1 h 32"/>
                    <a:gd name="T12" fmla="*/ 1 w 80"/>
                    <a:gd name="T13" fmla="*/ 1 h 32"/>
                    <a:gd name="T14" fmla="*/ 1 w 80"/>
                    <a:gd name="T15" fmla="*/ 1 h 32"/>
                    <a:gd name="T16" fmla="*/ 1 w 80"/>
                    <a:gd name="T17" fmla="*/ 1 h 32"/>
                    <a:gd name="T18" fmla="*/ 1 w 80"/>
                    <a:gd name="T19" fmla="*/ 0 h 32"/>
                    <a:gd name="T20" fmla="*/ 0 w 80"/>
                    <a:gd name="T21" fmla="*/ 1 h 32"/>
                    <a:gd name="T22" fmla="*/ 1 w 80"/>
                    <a:gd name="T23" fmla="*/ 1 h 32"/>
                    <a:gd name="T24" fmla="*/ 1 w 80"/>
                    <a:gd name="T25" fmla="*/ 1 h 3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0"/>
                    <a:gd name="T40" fmla="*/ 0 h 32"/>
                    <a:gd name="T41" fmla="*/ 80 w 80"/>
                    <a:gd name="T42" fmla="*/ 32 h 3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0" h="32">
                      <a:moveTo>
                        <a:pt x="32" y="24"/>
                      </a:moveTo>
                      <a:lnTo>
                        <a:pt x="64" y="32"/>
                      </a:lnTo>
                      <a:lnTo>
                        <a:pt x="80" y="24"/>
                      </a:lnTo>
                      <a:lnTo>
                        <a:pt x="80" y="16"/>
                      </a:lnTo>
                      <a:lnTo>
                        <a:pt x="80" y="8"/>
                      </a:lnTo>
                      <a:lnTo>
                        <a:pt x="72" y="8"/>
                      </a:lnTo>
                      <a:lnTo>
                        <a:pt x="64" y="8"/>
                      </a:lnTo>
                      <a:lnTo>
                        <a:pt x="48" y="8"/>
                      </a:lnTo>
                      <a:lnTo>
                        <a:pt x="24" y="8"/>
                      </a:lnTo>
                      <a:lnTo>
                        <a:pt x="8" y="0"/>
                      </a:lnTo>
                      <a:lnTo>
                        <a:pt x="0" y="8"/>
                      </a:lnTo>
                      <a:lnTo>
                        <a:pt x="16" y="24"/>
                      </a:lnTo>
                      <a:lnTo>
                        <a:pt x="32" y="24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44" name="Freeform 340"/>
                <p:cNvSpPr>
                  <a:spLocks noChangeAspect="1"/>
                </p:cNvSpPr>
                <p:nvPr/>
              </p:nvSpPr>
              <p:spPr bwMode="auto">
                <a:xfrm>
                  <a:off x="4787" y="1412"/>
                  <a:ext cx="45" cy="17"/>
                </a:xfrm>
                <a:custGeom>
                  <a:avLst/>
                  <a:gdLst>
                    <a:gd name="T0" fmla="*/ 1 w 64"/>
                    <a:gd name="T1" fmla="*/ 1 h 24"/>
                    <a:gd name="T2" fmla="*/ 1 w 64"/>
                    <a:gd name="T3" fmla="*/ 1 h 24"/>
                    <a:gd name="T4" fmla="*/ 1 w 64"/>
                    <a:gd name="T5" fmla="*/ 1 h 24"/>
                    <a:gd name="T6" fmla="*/ 1 w 64"/>
                    <a:gd name="T7" fmla="*/ 1 h 24"/>
                    <a:gd name="T8" fmla="*/ 1 w 64"/>
                    <a:gd name="T9" fmla="*/ 1 h 24"/>
                    <a:gd name="T10" fmla="*/ 1 w 64"/>
                    <a:gd name="T11" fmla="*/ 1 h 24"/>
                    <a:gd name="T12" fmla="*/ 1 w 64"/>
                    <a:gd name="T13" fmla="*/ 0 h 24"/>
                    <a:gd name="T14" fmla="*/ 1 w 64"/>
                    <a:gd name="T15" fmla="*/ 0 h 24"/>
                    <a:gd name="T16" fmla="*/ 1 w 64"/>
                    <a:gd name="T17" fmla="*/ 1 h 24"/>
                    <a:gd name="T18" fmla="*/ 0 w 64"/>
                    <a:gd name="T19" fmla="*/ 1 h 24"/>
                    <a:gd name="T20" fmla="*/ 1 w 64"/>
                    <a:gd name="T21" fmla="*/ 1 h 2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64"/>
                    <a:gd name="T34" fmla="*/ 0 h 24"/>
                    <a:gd name="T35" fmla="*/ 64 w 64"/>
                    <a:gd name="T36" fmla="*/ 24 h 2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64" h="24">
                      <a:moveTo>
                        <a:pt x="16" y="16"/>
                      </a:moveTo>
                      <a:lnTo>
                        <a:pt x="16" y="24"/>
                      </a:lnTo>
                      <a:lnTo>
                        <a:pt x="32" y="24"/>
                      </a:lnTo>
                      <a:lnTo>
                        <a:pt x="64" y="24"/>
                      </a:lnTo>
                      <a:lnTo>
                        <a:pt x="64" y="16"/>
                      </a:lnTo>
                      <a:lnTo>
                        <a:pt x="56" y="8"/>
                      </a:lnTo>
                      <a:lnTo>
                        <a:pt x="40" y="0"/>
                      </a:lnTo>
                      <a:lnTo>
                        <a:pt x="16" y="0"/>
                      </a:lnTo>
                      <a:lnTo>
                        <a:pt x="8" y="8"/>
                      </a:lnTo>
                      <a:lnTo>
                        <a:pt x="0" y="16"/>
                      </a:lnTo>
                      <a:lnTo>
                        <a:pt x="16" y="1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45" name="Freeform 341"/>
                <p:cNvSpPr>
                  <a:spLocks noChangeAspect="1"/>
                </p:cNvSpPr>
                <p:nvPr/>
              </p:nvSpPr>
              <p:spPr bwMode="auto">
                <a:xfrm>
                  <a:off x="4730" y="1345"/>
                  <a:ext cx="124" cy="45"/>
                </a:xfrm>
                <a:custGeom>
                  <a:avLst/>
                  <a:gdLst>
                    <a:gd name="T0" fmla="*/ 1 w 176"/>
                    <a:gd name="T1" fmla="*/ 1 h 64"/>
                    <a:gd name="T2" fmla="*/ 1 w 176"/>
                    <a:gd name="T3" fmla="*/ 1 h 64"/>
                    <a:gd name="T4" fmla="*/ 1 w 176"/>
                    <a:gd name="T5" fmla="*/ 1 h 64"/>
                    <a:gd name="T6" fmla="*/ 1 w 176"/>
                    <a:gd name="T7" fmla="*/ 1 h 64"/>
                    <a:gd name="T8" fmla="*/ 1 w 176"/>
                    <a:gd name="T9" fmla="*/ 1 h 64"/>
                    <a:gd name="T10" fmla="*/ 1 w 176"/>
                    <a:gd name="T11" fmla="*/ 1 h 64"/>
                    <a:gd name="T12" fmla="*/ 1 w 176"/>
                    <a:gd name="T13" fmla="*/ 1 h 64"/>
                    <a:gd name="T14" fmla="*/ 1 w 176"/>
                    <a:gd name="T15" fmla="*/ 1 h 64"/>
                    <a:gd name="T16" fmla="*/ 1 w 176"/>
                    <a:gd name="T17" fmla="*/ 1 h 64"/>
                    <a:gd name="T18" fmla="*/ 1 w 176"/>
                    <a:gd name="T19" fmla="*/ 1 h 64"/>
                    <a:gd name="T20" fmla="*/ 1 w 176"/>
                    <a:gd name="T21" fmla="*/ 1 h 64"/>
                    <a:gd name="T22" fmla="*/ 1 w 176"/>
                    <a:gd name="T23" fmla="*/ 1 h 64"/>
                    <a:gd name="T24" fmla="*/ 1 w 176"/>
                    <a:gd name="T25" fmla="*/ 1 h 64"/>
                    <a:gd name="T26" fmla="*/ 1 w 176"/>
                    <a:gd name="T27" fmla="*/ 1 h 64"/>
                    <a:gd name="T28" fmla="*/ 1 w 176"/>
                    <a:gd name="T29" fmla="*/ 1 h 64"/>
                    <a:gd name="T30" fmla="*/ 1 w 176"/>
                    <a:gd name="T31" fmla="*/ 1 h 64"/>
                    <a:gd name="T32" fmla="*/ 1 w 176"/>
                    <a:gd name="T33" fmla="*/ 1 h 64"/>
                    <a:gd name="T34" fmla="*/ 1 w 176"/>
                    <a:gd name="T35" fmla="*/ 1 h 64"/>
                    <a:gd name="T36" fmla="*/ 1 w 176"/>
                    <a:gd name="T37" fmla="*/ 1 h 64"/>
                    <a:gd name="T38" fmla="*/ 1 w 176"/>
                    <a:gd name="T39" fmla="*/ 1 h 64"/>
                    <a:gd name="T40" fmla="*/ 1 w 176"/>
                    <a:gd name="T41" fmla="*/ 1 h 64"/>
                    <a:gd name="T42" fmla="*/ 1 w 176"/>
                    <a:gd name="T43" fmla="*/ 1 h 64"/>
                    <a:gd name="T44" fmla="*/ 1 w 176"/>
                    <a:gd name="T45" fmla="*/ 1 h 64"/>
                    <a:gd name="T46" fmla="*/ 1 w 176"/>
                    <a:gd name="T47" fmla="*/ 1 h 64"/>
                    <a:gd name="T48" fmla="*/ 1 w 176"/>
                    <a:gd name="T49" fmla="*/ 1 h 64"/>
                    <a:gd name="T50" fmla="*/ 1 w 176"/>
                    <a:gd name="T51" fmla="*/ 1 h 64"/>
                    <a:gd name="T52" fmla="*/ 1 w 176"/>
                    <a:gd name="T53" fmla="*/ 1 h 64"/>
                    <a:gd name="T54" fmla="*/ 1 w 176"/>
                    <a:gd name="T55" fmla="*/ 1 h 64"/>
                    <a:gd name="T56" fmla="*/ 1 w 176"/>
                    <a:gd name="T57" fmla="*/ 1 h 64"/>
                    <a:gd name="T58" fmla="*/ 1 w 176"/>
                    <a:gd name="T59" fmla="*/ 1 h 64"/>
                    <a:gd name="T60" fmla="*/ 1 w 176"/>
                    <a:gd name="T61" fmla="*/ 1 h 64"/>
                    <a:gd name="T62" fmla="*/ 1 w 176"/>
                    <a:gd name="T63" fmla="*/ 1 h 64"/>
                    <a:gd name="T64" fmla="*/ 1 w 176"/>
                    <a:gd name="T65" fmla="*/ 1 h 64"/>
                    <a:gd name="T66" fmla="*/ 1 w 176"/>
                    <a:gd name="T67" fmla="*/ 1 h 64"/>
                    <a:gd name="T68" fmla="*/ 1 w 176"/>
                    <a:gd name="T69" fmla="*/ 0 h 64"/>
                    <a:gd name="T70" fmla="*/ 1 w 176"/>
                    <a:gd name="T71" fmla="*/ 0 h 64"/>
                    <a:gd name="T72" fmla="*/ 1 w 176"/>
                    <a:gd name="T73" fmla="*/ 0 h 64"/>
                    <a:gd name="T74" fmla="*/ 1 w 176"/>
                    <a:gd name="T75" fmla="*/ 1 h 64"/>
                    <a:gd name="T76" fmla="*/ 1 w 176"/>
                    <a:gd name="T77" fmla="*/ 1 h 64"/>
                    <a:gd name="T78" fmla="*/ 1 w 176"/>
                    <a:gd name="T79" fmla="*/ 1 h 64"/>
                    <a:gd name="T80" fmla="*/ 1 w 176"/>
                    <a:gd name="T81" fmla="*/ 1 h 64"/>
                    <a:gd name="T82" fmla="*/ 1 w 176"/>
                    <a:gd name="T83" fmla="*/ 1 h 64"/>
                    <a:gd name="T84" fmla="*/ 1 w 176"/>
                    <a:gd name="T85" fmla="*/ 1 h 64"/>
                    <a:gd name="T86" fmla="*/ 1 w 176"/>
                    <a:gd name="T87" fmla="*/ 1 h 64"/>
                    <a:gd name="T88" fmla="*/ 1 w 176"/>
                    <a:gd name="T89" fmla="*/ 0 h 64"/>
                    <a:gd name="T90" fmla="*/ 1 w 176"/>
                    <a:gd name="T91" fmla="*/ 1 h 64"/>
                    <a:gd name="T92" fmla="*/ 1 w 176"/>
                    <a:gd name="T93" fmla="*/ 1 h 64"/>
                    <a:gd name="T94" fmla="*/ 1 w 176"/>
                    <a:gd name="T95" fmla="*/ 1 h 64"/>
                    <a:gd name="T96" fmla="*/ 1 w 176"/>
                    <a:gd name="T97" fmla="*/ 1 h 64"/>
                    <a:gd name="T98" fmla="*/ 1 w 176"/>
                    <a:gd name="T99" fmla="*/ 1 h 64"/>
                    <a:gd name="T100" fmla="*/ 0 w 176"/>
                    <a:gd name="T101" fmla="*/ 1 h 64"/>
                    <a:gd name="T102" fmla="*/ 1 w 176"/>
                    <a:gd name="T103" fmla="*/ 1 h 64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176"/>
                    <a:gd name="T157" fmla="*/ 0 h 64"/>
                    <a:gd name="T158" fmla="*/ 176 w 176"/>
                    <a:gd name="T159" fmla="*/ 64 h 64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176" h="64">
                      <a:moveTo>
                        <a:pt x="16" y="48"/>
                      </a:moveTo>
                      <a:lnTo>
                        <a:pt x="24" y="48"/>
                      </a:lnTo>
                      <a:lnTo>
                        <a:pt x="24" y="56"/>
                      </a:lnTo>
                      <a:lnTo>
                        <a:pt x="56" y="64"/>
                      </a:lnTo>
                      <a:lnTo>
                        <a:pt x="56" y="56"/>
                      </a:lnTo>
                      <a:lnTo>
                        <a:pt x="56" y="48"/>
                      </a:lnTo>
                      <a:lnTo>
                        <a:pt x="64" y="48"/>
                      </a:lnTo>
                      <a:lnTo>
                        <a:pt x="72" y="48"/>
                      </a:lnTo>
                      <a:lnTo>
                        <a:pt x="88" y="48"/>
                      </a:lnTo>
                      <a:lnTo>
                        <a:pt x="104" y="40"/>
                      </a:lnTo>
                      <a:lnTo>
                        <a:pt x="112" y="40"/>
                      </a:lnTo>
                      <a:lnTo>
                        <a:pt x="112" y="48"/>
                      </a:lnTo>
                      <a:lnTo>
                        <a:pt x="128" y="56"/>
                      </a:lnTo>
                      <a:lnTo>
                        <a:pt x="144" y="48"/>
                      </a:lnTo>
                      <a:lnTo>
                        <a:pt x="128" y="40"/>
                      </a:lnTo>
                      <a:lnTo>
                        <a:pt x="112" y="40"/>
                      </a:lnTo>
                      <a:lnTo>
                        <a:pt x="112" y="24"/>
                      </a:lnTo>
                      <a:lnTo>
                        <a:pt x="120" y="16"/>
                      </a:lnTo>
                      <a:lnTo>
                        <a:pt x="128" y="16"/>
                      </a:lnTo>
                      <a:lnTo>
                        <a:pt x="128" y="24"/>
                      </a:lnTo>
                      <a:lnTo>
                        <a:pt x="120" y="24"/>
                      </a:lnTo>
                      <a:lnTo>
                        <a:pt x="120" y="32"/>
                      </a:lnTo>
                      <a:lnTo>
                        <a:pt x="136" y="40"/>
                      </a:lnTo>
                      <a:lnTo>
                        <a:pt x="144" y="40"/>
                      </a:lnTo>
                      <a:lnTo>
                        <a:pt x="152" y="40"/>
                      </a:lnTo>
                      <a:lnTo>
                        <a:pt x="168" y="32"/>
                      </a:lnTo>
                      <a:lnTo>
                        <a:pt x="160" y="24"/>
                      </a:lnTo>
                      <a:lnTo>
                        <a:pt x="176" y="24"/>
                      </a:lnTo>
                      <a:lnTo>
                        <a:pt x="176" y="16"/>
                      </a:lnTo>
                      <a:lnTo>
                        <a:pt x="160" y="16"/>
                      </a:lnTo>
                      <a:lnTo>
                        <a:pt x="144" y="8"/>
                      </a:lnTo>
                      <a:lnTo>
                        <a:pt x="136" y="16"/>
                      </a:lnTo>
                      <a:lnTo>
                        <a:pt x="120" y="16"/>
                      </a:lnTo>
                      <a:lnTo>
                        <a:pt x="112" y="8"/>
                      </a:lnTo>
                      <a:lnTo>
                        <a:pt x="112" y="0"/>
                      </a:lnTo>
                      <a:lnTo>
                        <a:pt x="104" y="0"/>
                      </a:lnTo>
                      <a:lnTo>
                        <a:pt x="96" y="0"/>
                      </a:lnTo>
                      <a:lnTo>
                        <a:pt x="88" y="8"/>
                      </a:lnTo>
                      <a:lnTo>
                        <a:pt x="88" y="24"/>
                      </a:lnTo>
                      <a:lnTo>
                        <a:pt x="80" y="24"/>
                      </a:lnTo>
                      <a:lnTo>
                        <a:pt x="72" y="16"/>
                      </a:lnTo>
                      <a:lnTo>
                        <a:pt x="56" y="16"/>
                      </a:lnTo>
                      <a:lnTo>
                        <a:pt x="56" y="8"/>
                      </a:lnTo>
                      <a:lnTo>
                        <a:pt x="64" y="8"/>
                      </a:lnTo>
                      <a:lnTo>
                        <a:pt x="40" y="0"/>
                      </a:lnTo>
                      <a:lnTo>
                        <a:pt x="24" y="8"/>
                      </a:lnTo>
                      <a:lnTo>
                        <a:pt x="16" y="8"/>
                      </a:lnTo>
                      <a:lnTo>
                        <a:pt x="16" y="16"/>
                      </a:lnTo>
                      <a:lnTo>
                        <a:pt x="8" y="16"/>
                      </a:lnTo>
                      <a:lnTo>
                        <a:pt x="8" y="32"/>
                      </a:lnTo>
                      <a:lnTo>
                        <a:pt x="0" y="32"/>
                      </a:lnTo>
                      <a:lnTo>
                        <a:pt x="16" y="4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46" name="Freeform 342"/>
                <p:cNvSpPr>
                  <a:spLocks noChangeAspect="1"/>
                </p:cNvSpPr>
                <p:nvPr/>
              </p:nvSpPr>
              <p:spPr bwMode="auto">
                <a:xfrm>
                  <a:off x="4871" y="1362"/>
                  <a:ext cx="68" cy="22"/>
                </a:xfrm>
                <a:custGeom>
                  <a:avLst/>
                  <a:gdLst>
                    <a:gd name="T0" fmla="*/ 1 w 96"/>
                    <a:gd name="T1" fmla="*/ 1 h 32"/>
                    <a:gd name="T2" fmla="*/ 1 w 96"/>
                    <a:gd name="T3" fmla="*/ 1 h 32"/>
                    <a:gd name="T4" fmla="*/ 1 w 96"/>
                    <a:gd name="T5" fmla="*/ 1 h 32"/>
                    <a:gd name="T6" fmla="*/ 1 w 96"/>
                    <a:gd name="T7" fmla="*/ 1 h 32"/>
                    <a:gd name="T8" fmla="*/ 1 w 96"/>
                    <a:gd name="T9" fmla="*/ 1 h 32"/>
                    <a:gd name="T10" fmla="*/ 1 w 96"/>
                    <a:gd name="T11" fmla="*/ 1 h 32"/>
                    <a:gd name="T12" fmla="*/ 1 w 96"/>
                    <a:gd name="T13" fmla="*/ 1 h 32"/>
                    <a:gd name="T14" fmla="*/ 1 w 96"/>
                    <a:gd name="T15" fmla="*/ 1 h 32"/>
                    <a:gd name="T16" fmla="*/ 1 w 96"/>
                    <a:gd name="T17" fmla="*/ 1 h 32"/>
                    <a:gd name="T18" fmla="*/ 1 w 96"/>
                    <a:gd name="T19" fmla="*/ 1 h 32"/>
                    <a:gd name="T20" fmla="*/ 1 w 96"/>
                    <a:gd name="T21" fmla="*/ 0 h 32"/>
                    <a:gd name="T22" fmla="*/ 1 w 96"/>
                    <a:gd name="T23" fmla="*/ 0 h 32"/>
                    <a:gd name="T24" fmla="*/ 1 w 96"/>
                    <a:gd name="T25" fmla="*/ 0 h 32"/>
                    <a:gd name="T26" fmla="*/ 0 w 96"/>
                    <a:gd name="T27" fmla="*/ 0 h 32"/>
                    <a:gd name="T28" fmla="*/ 1 w 96"/>
                    <a:gd name="T29" fmla="*/ 1 h 32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96"/>
                    <a:gd name="T46" fmla="*/ 0 h 32"/>
                    <a:gd name="T47" fmla="*/ 96 w 96"/>
                    <a:gd name="T48" fmla="*/ 32 h 32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96" h="32">
                      <a:moveTo>
                        <a:pt x="16" y="8"/>
                      </a:moveTo>
                      <a:lnTo>
                        <a:pt x="16" y="16"/>
                      </a:lnTo>
                      <a:lnTo>
                        <a:pt x="32" y="16"/>
                      </a:lnTo>
                      <a:lnTo>
                        <a:pt x="48" y="32"/>
                      </a:lnTo>
                      <a:lnTo>
                        <a:pt x="72" y="32"/>
                      </a:lnTo>
                      <a:lnTo>
                        <a:pt x="88" y="24"/>
                      </a:lnTo>
                      <a:lnTo>
                        <a:pt x="96" y="16"/>
                      </a:lnTo>
                      <a:lnTo>
                        <a:pt x="88" y="16"/>
                      </a:lnTo>
                      <a:lnTo>
                        <a:pt x="72" y="8"/>
                      </a:lnTo>
                      <a:lnTo>
                        <a:pt x="48" y="8"/>
                      </a:lnTo>
                      <a:lnTo>
                        <a:pt x="48" y="0"/>
                      </a:lnTo>
                      <a:lnTo>
                        <a:pt x="16" y="0"/>
                      </a:ln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16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47" name="Freeform 343"/>
                <p:cNvSpPr>
                  <a:spLocks noChangeAspect="1"/>
                </p:cNvSpPr>
                <p:nvPr/>
              </p:nvSpPr>
              <p:spPr bwMode="auto">
                <a:xfrm>
                  <a:off x="4190" y="1249"/>
                  <a:ext cx="85" cy="51"/>
                </a:xfrm>
                <a:custGeom>
                  <a:avLst/>
                  <a:gdLst>
                    <a:gd name="T0" fmla="*/ 1 w 120"/>
                    <a:gd name="T1" fmla="*/ 1 h 72"/>
                    <a:gd name="T2" fmla="*/ 0 w 120"/>
                    <a:gd name="T3" fmla="*/ 1 h 72"/>
                    <a:gd name="T4" fmla="*/ 0 w 120"/>
                    <a:gd name="T5" fmla="*/ 1 h 72"/>
                    <a:gd name="T6" fmla="*/ 1 w 120"/>
                    <a:gd name="T7" fmla="*/ 1 h 72"/>
                    <a:gd name="T8" fmla="*/ 1 w 120"/>
                    <a:gd name="T9" fmla="*/ 1 h 72"/>
                    <a:gd name="T10" fmla="*/ 1 w 120"/>
                    <a:gd name="T11" fmla="*/ 1 h 72"/>
                    <a:gd name="T12" fmla="*/ 1 w 120"/>
                    <a:gd name="T13" fmla="*/ 1 h 72"/>
                    <a:gd name="T14" fmla="*/ 1 w 120"/>
                    <a:gd name="T15" fmla="*/ 1 h 72"/>
                    <a:gd name="T16" fmla="*/ 1 w 120"/>
                    <a:gd name="T17" fmla="*/ 1 h 72"/>
                    <a:gd name="T18" fmla="*/ 1 w 120"/>
                    <a:gd name="T19" fmla="*/ 1 h 72"/>
                    <a:gd name="T20" fmla="*/ 1 w 120"/>
                    <a:gd name="T21" fmla="*/ 1 h 72"/>
                    <a:gd name="T22" fmla="*/ 1 w 120"/>
                    <a:gd name="T23" fmla="*/ 1 h 72"/>
                    <a:gd name="T24" fmla="*/ 1 w 120"/>
                    <a:gd name="T25" fmla="*/ 1 h 72"/>
                    <a:gd name="T26" fmla="*/ 1 w 120"/>
                    <a:gd name="T27" fmla="*/ 1 h 72"/>
                    <a:gd name="T28" fmla="*/ 1 w 120"/>
                    <a:gd name="T29" fmla="*/ 1 h 72"/>
                    <a:gd name="T30" fmla="*/ 1 w 120"/>
                    <a:gd name="T31" fmla="*/ 1 h 72"/>
                    <a:gd name="T32" fmla="*/ 1 w 120"/>
                    <a:gd name="T33" fmla="*/ 1 h 72"/>
                    <a:gd name="T34" fmla="*/ 1 w 120"/>
                    <a:gd name="T35" fmla="*/ 1 h 72"/>
                    <a:gd name="T36" fmla="*/ 1 w 120"/>
                    <a:gd name="T37" fmla="*/ 1 h 72"/>
                    <a:gd name="T38" fmla="*/ 1 w 120"/>
                    <a:gd name="T39" fmla="*/ 1 h 72"/>
                    <a:gd name="T40" fmla="*/ 1 w 120"/>
                    <a:gd name="T41" fmla="*/ 1 h 72"/>
                    <a:gd name="T42" fmla="*/ 1 w 120"/>
                    <a:gd name="T43" fmla="*/ 1 h 72"/>
                    <a:gd name="T44" fmla="*/ 1 w 120"/>
                    <a:gd name="T45" fmla="*/ 0 h 72"/>
                    <a:gd name="T46" fmla="*/ 1 w 120"/>
                    <a:gd name="T47" fmla="*/ 0 h 72"/>
                    <a:gd name="T48" fmla="*/ 1 w 120"/>
                    <a:gd name="T49" fmla="*/ 1 h 72"/>
                    <a:gd name="T50" fmla="*/ 1 w 120"/>
                    <a:gd name="T51" fmla="*/ 1 h 72"/>
                    <a:gd name="T52" fmla="*/ 1 w 120"/>
                    <a:gd name="T53" fmla="*/ 0 h 72"/>
                    <a:gd name="T54" fmla="*/ 1 w 120"/>
                    <a:gd name="T55" fmla="*/ 0 h 72"/>
                    <a:gd name="T56" fmla="*/ 1 w 120"/>
                    <a:gd name="T57" fmla="*/ 1 h 72"/>
                    <a:gd name="T58" fmla="*/ 1 w 120"/>
                    <a:gd name="T59" fmla="*/ 1 h 72"/>
                    <a:gd name="T60" fmla="*/ 1 w 120"/>
                    <a:gd name="T61" fmla="*/ 1 h 72"/>
                    <a:gd name="T62" fmla="*/ 1 w 120"/>
                    <a:gd name="T63" fmla="*/ 1 h 72"/>
                    <a:gd name="T64" fmla="*/ 1 w 120"/>
                    <a:gd name="T65" fmla="*/ 1 h 72"/>
                    <a:gd name="T66" fmla="*/ 1 w 120"/>
                    <a:gd name="T67" fmla="*/ 1 h 72"/>
                    <a:gd name="T68" fmla="*/ 1 w 120"/>
                    <a:gd name="T69" fmla="*/ 1 h 72"/>
                    <a:gd name="T70" fmla="*/ 1 w 120"/>
                    <a:gd name="T71" fmla="*/ 1 h 72"/>
                    <a:gd name="T72" fmla="*/ 1 w 120"/>
                    <a:gd name="T73" fmla="*/ 1 h 72"/>
                    <a:gd name="T74" fmla="*/ 1 w 120"/>
                    <a:gd name="T75" fmla="*/ 1 h 72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120"/>
                    <a:gd name="T115" fmla="*/ 0 h 72"/>
                    <a:gd name="T116" fmla="*/ 120 w 120"/>
                    <a:gd name="T117" fmla="*/ 72 h 72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120" h="72">
                      <a:moveTo>
                        <a:pt x="16" y="48"/>
                      </a:moveTo>
                      <a:lnTo>
                        <a:pt x="0" y="56"/>
                      </a:lnTo>
                      <a:lnTo>
                        <a:pt x="0" y="64"/>
                      </a:lnTo>
                      <a:lnTo>
                        <a:pt x="8" y="72"/>
                      </a:lnTo>
                      <a:lnTo>
                        <a:pt x="24" y="64"/>
                      </a:lnTo>
                      <a:lnTo>
                        <a:pt x="40" y="56"/>
                      </a:lnTo>
                      <a:lnTo>
                        <a:pt x="56" y="56"/>
                      </a:lnTo>
                      <a:lnTo>
                        <a:pt x="64" y="56"/>
                      </a:lnTo>
                      <a:lnTo>
                        <a:pt x="72" y="64"/>
                      </a:lnTo>
                      <a:lnTo>
                        <a:pt x="80" y="56"/>
                      </a:lnTo>
                      <a:lnTo>
                        <a:pt x="96" y="56"/>
                      </a:lnTo>
                      <a:lnTo>
                        <a:pt x="120" y="48"/>
                      </a:lnTo>
                      <a:lnTo>
                        <a:pt x="120" y="40"/>
                      </a:lnTo>
                      <a:lnTo>
                        <a:pt x="112" y="32"/>
                      </a:lnTo>
                      <a:lnTo>
                        <a:pt x="112" y="24"/>
                      </a:lnTo>
                      <a:lnTo>
                        <a:pt x="96" y="16"/>
                      </a:lnTo>
                      <a:lnTo>
                        <a:pt x="96" y="8"/>
                      </a:lnTo>
                      <a:lnTo>
                        <a:pt x="88" y="8"/>
                      </a:lnTo>
                      <a:lnTo>
                        <a:pt x="80" y="16"/>
                      </a:lnTo>
                      <a:lnTo>
                        <a:pt x="72" y="16"/>
                      </a:lnTo>
                      <a:lnTo>
                        <a:pt x="72" y="8"/>
                      </a:lnTo>
                      <a:lnTo>
                        <a:pt x="80" y="8"/>
                      </a:lnTo>
                      <a:lnTo>
                        <a:pt x="80" y="0"/>
                      </a:lnTo>
                      <a:lnTo>
                        <a:pt x="64" y="0"/>
                      </a:lnTo>
                      <a:lnTo>
                        <a:pt x="64" y="8"/>
                      </a:lnTo>
                      <a:lnTo>
                        <a:pt x="56" y="8"/>
                      </a:lnTo>
                      <a:lnTo>
                        <a:pt x="56" y="0"/>
                      </a:lnTo>
                      <a:lnTo>
                        <a:pt x="48" y="0"/>
                      </a:lnTo>
                      <a:lnTo>
                        <a:pt x="48" y="8"/>
                      </a:lnTo>
                      <a:lnTo>
                        <a:pt x="40" y="8"/>
                      </a:lnTo>
                      <a:lnTo>
                        <a:pt x="32" y="16"/>
                      </a:lnTo>
                      <a:lnTo>
                        <a:pt x="40" y="16"/>
                      </a:lnTo>
                      <a:lnTo>
                        <a:pt x="32" y="24"/>
                      </a:lnTo>
                      <a:lnTo>
                        <a:pt x="32" y="32"/>
                      </a:lnTo>
                      <a:lnTo>
                        <a:pt x="16" y="32"/>
                      </a:lnTo>
                      <a:lnTo>
                        <a:pt x="16" y="40"/>
                      </a:lnTo>
                      <a:lnTo>
                        <a:pt x="16" y="4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48" name="Freeform 344"/>
                <p:cNvSpPr>
                  <a:spLocks noChangeAspect="1"/>
                </p:cNvSpPr>
                <p:nvPr/>
              </p:nvSpPr>
              <p:spPr bwMode="auto">
                <a:xfrm>
                  <a:off x="4100" y="1221"/>
                  <a:ext cx="101" cy="51"/>
                </a:xfrm>
                <a:custGeom>
                  <a:avLst/>
                  <a:gdLst>
                    <a:gd name="T0" fmla="*/ 1 w 144"/>
                    <a:gd name="T1" fmla="*/ 0 h 72"/>
                    <a:gd name="T2" fmla="*/ 1 w 144"/>
                    <a:gd name="T3" fmla="*/ 1 h 72"/>
                    <a:gd name="T4" fmla="*/ 1 w 144"/>
                    <a:gd name="T5" fmla="*/ 1 h 72"/>
                    <a:gd name="T6" fmla="*/ 1 w 144"/>
                    <a:gd name="T7" fmla="*/ 1 h 72"/>
                    <a:gd name="T8" fmla="*/ 1 w 144"/>
                    <a:gd name="T9" fmla="*/ 1 h 72"/>
                    <a:gd name="T10" fmla="*/ 1 w 144"/>
                    <a:gd name="T11" fmla="*/ 1 h 72"/>
                    <a:gd name="T12" fmla="*/ 1 w 144"/>
                    <a:gd name="T13" fmla="*/ 1 h 72"/>
                    <a:gd name="T14" fmla="*/ 1 w 144"/>
                    <a:gd name="T15" fmla="*/ 1 h 72"/>
                    <a:gd name="T16" fmla="*/ 0 w 144"/>
                    <a:gd name="T17" fmla="*/ 1 h 72"/>
                    <a:gd name="T18" fmla="*/ 1 w 144"/>
                    <a:gd name="T19" fmla="*/ 1 h 72"/>
                    <a:gd name="T20" fmla="*/ 1 w 144"/>
                    <a:gd name="T21" fmla="*/ 1 h 72"/>
                    <a:gd name="T22" fmla="*/ 1 w 144"/>
                    <a:gd name="T23" fmla="*/ 1 h 72"/>
                    <a:gd name="T24" fmla="*/ 1 w 144"/>
                    <a:gd name="T25" fmla="*/ 1 h 72"/>
                    <a:gd name="T26" fmla="*/ 1 w 144"/>
                    <a:gd name="T27" fmla="*/ 1 h 72"/>
                    <a:gd name="T28" fmla="*/ 1 w 144"/>
                    <a:gd name="T29" fmla="*/ 1 h 72"/>
                    <a:gd name="T30" fmla="*/ 1 w 144"/>
                    <a:gd name="T31" fmla="*/ 1 h 72"/>
                    <a:gd name="T32" fmla="*/ 1 w 144"/>
                    <a:gd name="T33" fmla="*/ 1 h 72"/>
                    <a:gd name="T34" fmla="*/ 1 w 144"/>
                    <a:gd name="T35" fmla="*/ 1 h 72"/>
                    <a:gd name="T36" fmla="*/ 1 w 144"/>
                    <a:gd name="T37" fmla="*/ 1 h 72"/>
                    <a:gd name="T38" fmla="*/ 1 w 144"/>
                    <a:gd name="T39" fmla="*/ 1 h 72"/>
                    <a:gd name="T40" fmla="*/ 1 w 144"/>
                    <a:gd name="T41" fmla="*/ 1 h 72"/>
                    <a:gd name="T42" fmla="*/ 1 w 144"/>
                    <a:gd name="T43" fmla="*/ 1 h 72"/>
                    <a:gd name="T44" fmla="*/ 1 w 144"/>
                    <a:gd name="T45" fmla="*/ 1 h 72"/>
                    <a:gd name="T46" fmla="*/ 1 w 144"/>
                    <a:gd name="T47" fmla="*/ 1 h 72"/>
                    <a:gd name="T48" fmla="*/ 1 w 144"/>
                    <a:gd name="T49" fmla="*/ 1 h 72"/>
                    <a:gd name="T50" fmla="*/ 1 w 144"/>
                    <a:gd name="T51" fmla="*/ 1 h 72"/>
                    <a:gd name="T52" fmla="*/ 1 w 144"/>
                    <a:gd name="T53" fmla="*/ 1 h 72"/>
                    <a:gd name="T54" fmla="*/ 1 w 144"/>
                    <a:gd name="T55" fmla="*/ 1 h 72"/>
                    <a:gd name="T56" fmla="*/ 1 w 144"/>
                    <a:gd name="T57" fmla="*/ 1 h 72"/>
                    <a:gd name="T58" fmla="*/ 1 w 144"/>
                    <a:gd name="T59" fmla="*/ 0 h 72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144"/>
                    <a:gd name="T91" fmla="*/ 0 h 72"/>
                    <a:gd name="T92" fmla="*/ 144 w 144"/>
                    <a:gd name="T93" fmla="*/ 72 h 72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144" h="72">
                      <a:moveTo>
                        <a:pt x="88" y="0"/>
                      </a:moveTo>
                      <a:lnTo>
                        <a:pt x="64" y="8"/>
                      </a:lnTo>
                      <a:lnTo>
                        <a:pt x="40" y="8"/>
                      </a:lnTo>
                      <a:lnTo>
                        <a:pt x="32" y="8"/>
                      </a:lnTo>
                      <a:lnTo>
                        <a:pt x="24" y="16"/>
                      </a:lnTo>
                      <a:lnTo>
                        <a:pt x="24" y="24"/>
                      </a:lnTo>
                      <a:lnTo>
                        <a:pt x="16" y="24"/>
                      </a:lnTo>
                      <a:lnTo>
                        <a:pt x="8" y="32"/>
                      </a:lnTo>
                      <a:lnTo>
                        <a:pt x="0" y="32"/>
                      </a:lnTo>
                      <a:lnTo>
                        <a:pt x="16" y="40"/>
                      </a:lnTo>
                      <a:lnTo>
                        <a:pt x="24" y="40"/>
                      </a:lnTo>
                      <a:lnTo>
                        <a:pt x="24" y="48"/>
                      </a:lnTo>
                      <a:lnTo>
                        <a:pt x="24" y="56"/>
                      </a:lnTo>
                      <a:lnTo>
                        <a:pt x="40" y="56"/>
                      </a:lnTo>
                      <a:lnTo>
                        <a:pt x="48" y="56"/>
                      </a:lnTo>
                      <a:lnTo>
                        <a:pt x="88" y="64"/>
                      </a:lnTo>
                      <a:lnTo>
                        <a:pt x="88" y="72"/>
                      </a:lnTo>
                      <a:lnTo>
                        <a:pt x="96" y="72"/>
                      </a:lnTo>
                      <a:lnTo>
                        <a:pt x="136" y="64"/>
                      </a:lnTo>
                      <a:lnTo>
                        <a:pt x="120" y="48"/>
                      </a:lnTo>
                      <a:lnTo>
                        <a:pt x="128" y="48"/>
                      </a:lnTo>
                      <a:lnTo>
                        <a:pt x="136" y="40"/>
                      </a:lnTo>
                      <a:lnTo>
                        <a:pt x="144" y="24"/>
                      </a:lnTo>
                      <a:lnTo>
                        <a:pt x="128" y="8"/>
                      </a:lnTo>
                      <a:lnTo>
                        <a:pt x="120" y="8"/>
                      </a:lnTo>
                      <a:lnTo>
                        <a:pt x="104" y="16"/>
                      </a:lnTo>
                      <a:lnTo>
                        <a:pt x="96" y="16"/>
                      </a:lnTo>
                      <a:lnTo>
                        <a:pt x="88" y="16"/>
                      </a:lnTo>
                      <a:lnTo>
                        <a:pt x="104" y="8"/>
                      </a:lnTo>
                      <a:lnTo>
                        <a:pt x="88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49" name="Freeform 345"/>
                <p:cNvSpPr>
                  <a:spLocks noChangeAspect="1"/>
                </p:cNvSpPr>
                <p:nvPr/>
              </p:nvSpPr>
              <p:spPr bwMode="auto">
                <a:xfrm>
                  <a:off x="4072" y="1182"/>
                  <a:ext cx="96" cy="45"/>
                </a:xfrm>
                <a:custGeom>
                  <a:avLst/>
                  <a:gdLst>
                    <a:gd name="T0" fmla="*/ 1 w 136"/>
                    <a:gd name="T1" fmla="*/ 1 h 64"/>
                    <a:gd name="T2" fmla="*/ 0 w 136"/>
                    <a:gd name="T3" fmla="*/ 1 h 64"/>
                    <a:gd name="T4" fmla="*/ 1 w 136"/>
                    <a:gd name="T5" fmla="*/ 1 h 64"/>
                    <a:gd name="T6" fmla="*/ 1 w 136"/>
                    <a:gd name="T7" fmla="*/ 1 h 64"/>
                    <a:gd name="T8" fmla="*/ 1 w 136"/>
                    <a:gd name="T9" fmla="*/ 1 h 64"/>
                    <a:gd name="T10" fmla="*/ 1 w 136"/>
                    <a:gd name="T11" fmla="*/ 1 h 64"/>
                    <a:gd name="T12" fmla="*/ 1 w 136"/>
                    <a:gd name="T13" fmla="*/ 1 h 64"/>
                    <a:gd name="T14" fmla="*/ 1 w 136"/>
                    <a:gd name="T15" fmla="*/ 1 h 64"/>
                    <a:gd name="T16" fmla="*/ 1 w 136"/>
                    <a:gd name="T17" fmla="*/ 1 h 64"/>
                    <a:gd name="T18" fmla="*/ 1 w 136"/>
                    <a:gd name="T19" fmla="*/ 1 h 64"/>
                    <a:gd name="T20" fmla="*/ 1 w 136"/>
                    <a:gd name="T21" fmla="*/ 1 h 64"/>
                    <a:gd name="T22" fmla="*/ 1 w 136"/>
                    <a:gd name="T23" fmla="*/ 1 h 64"/>
                    <a:gd name="T24" fmla="*/ 1 w 136"/>
                    <a:gd name="T25" fmla="*/ 1 h 64"/>
                    <a:gd name="T26" fmla="*/ 1 w 136"/>
                    <a:gd name="T27" fmla="*/ 1 h 64"/>
                    <a:gd name="T28" fmla="*/ 1 w 136"/>
                    <a:gd name="T29" fmla="*/ 1 h 64"/>
                    <a:gd name="T30" fmla="*/ 1 w 136"/>
                    <a:gd name="T31" fmla="*/ 0 h 64"/>
                    <a:gd name="T32" fmla="*/ 1 w 136"/>
                    <a:gd name="T33" fmla="*/ 0 h 64"/>
                    <a:gd name="T34" fmla="*/ 1 w 136"/>
                    <a:gd name="T35" fmla="*/ 1 h 64"/>
                    <a:gd name="T36" fmla="*/ 1 w 136"/>
                    <a:gd name="T37" fmla="*/ 1 h 64"/>
                    <a:gd name="T38" fmla="*/ 1 w 136"/>
                    <a:gd name="T39" fmla="*/ 1 h 64"/>
                    <a:gd name="T40" fmla="*/ 1 w 136"/>
                    <a:gd name="T41" fmla="*/ 1 h 64"/>
                    <a:gd name="T42" fmla="*/ 1 w 136"/>
                    <a:gd name="T43" fmla="*/ 1 h 64"/>
                    <a:gd name="T44" fmla="*/ 1 w 136"/>
                    <a:gd name="T45" fmla="*/ 1 h 64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36"/>
                    <a:gd name="T70" fmla="*/ 0 h 64"/>
                    <a:gd name="T71" fmla="*/ 136 w 136"/>
                    <a:gd name="T72" fmla="*/ 64 h 64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36" h="64">
                      <a:moveTo>
                        <a:pt x="8" y="40"/>
                      </a:moveTo>
                      <a:lnTo>
                        <a:pt x="0" y="48"/>
                      </a:lnTo>
                      <a:lnTo>
                        <a:pt x="8" y="56"/>
                      </a:lnTo>
                      <a:lnTo>
                        <a:pt x="24" y="56"/>
                      </a:lnTo>
                      <a:lnTo>
                        <a:pt x="40" y="64"/>
                      </a:lnTo>
                      <a:lnTo>
                        <a:pt x="64" y="64"/>
                      </a:lnTo>
                      <a:lnTo>
                        <a:pt x="72" y="56"/>
                      </a:lnTo>
                      <a:lnTo>
                        <a:pt x="88" y="56"/>
                      </a:lnTo>
                      <a:lnTo>
                        <a:pt x="128" y="56"/>
                      </a:lnTo>
                      <a:lnTo>
                        <a:pt x="120" y="48"/>
                      </a:lnTo>
                      <a:lnTo>
                        <a:pt x="120" y="40"/>
                      </a:lnTo>
                      <a:lnTo>
                        <a:pt x="136" y="32"/>
                      </a:lnTo>
                      <a:lnTo>
                        <a:pt x="136" y="24"/>
                      </a:lnTo>
                      <a:lnTo>
                        <a:pt x="112" y="16"/>
                      </a:lnTo>
                      <a:lnTo>
                        <a:pt x="104" y="8"/>
                      </a:lnTo>
                      <a:lnTo>
                        <a:pt x="96" y="0"/>
                      </a:lnTo>
                      <a:lnTo>
                        <a:pt x="80" y="0"/>
                      </a:lnTo>
                      <a:lnTo>
                        <a:pt x="80" y="8"/>
                      </a:lnTo>
                      <a:lnTo>
                        <a:pt x="40" y="24"/>
                      </a:lnTo>
                      <a:lnTo>
                        <a:pt x="24" y="32"/>
                      </a:lnTo>
                      <a:lnTo>
                        <a:pt x="32" y="40"/>
                      </a:lnTo>
                      <a:lnTo>
                        <a:pt x="24" y="40"/>
                      </a:lnTo>
                      <a:lnTo>
                        <a:pt x="8" y="4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50" name="Freeform 346"/>
                <p:cNvSpPr>
                  <a:spLocks noChangeAspect="1"/>
                </p:cNvSpPr>
                <p:nvPr/>
              </p:nvSpPr>
              <p:spPr bwMode="auto">
                <a:xfrm>
                  <a:off x="4066" y="1227"/>
                  <a:ext cx="40" cy="16"/>
                </a:xfrm>
                <a:custGeom>
                  <a:avLst/>
                  <a:gdLst>
                    <a:gd name="T0" fmla="*/ 1 w 56"/>
                    <a:gd name="T1" fmla="*/ 1 h 24"/>
                    <a:gd name="T2" fmla="*/ 1 w 56"/>
                    <a:gd name="T3" fmla="*/ 1 h 24"/>
                    <a:gd name="T4" fmla="*/ 1 w 56"/>
                    <a:gd name="T5" fmla="*/ 0 h 24"/>
                    <a:gd name="T6" fmla="*/ 0 w 56"/>
                    <a:gd name="T7" fmla="*/ 0 h 24"/>
                    <a:gd name="T8" fmla="*/ 1 w 56"/>
                    <a:gd name="T9" fmla="*/ 0 h 24"/>
                    <a:gd name="T10" fmla="*/ 1 w 56"/>
                    <a:gd name="T11" fmla="*/ 1 h 24"/>
                    <a:gd name="T12" fmla="*/ 1 w 56"/>
                    <a:gd name="T13" fmla="*/ 1 h 24"/>
                    <a:gd name="T14" fmla="*/ 1 w 56"/>
                    <a:gd name="T15" fmla="*/ 1 h 24"/>
                    <a:gd name="T16" fmla="*/ 1 w 56"/>
                    <a:gd name="T17" fmla="*/ 1 h 24"/>
                    <a:gd name="T18" fmla="*/ 1 w 56"/>
                    <a:gd name="T19" fmla="*/ 1 h 24"/>
                    <a:gd name="T20" fmla="*/ 1 w 56"/>
                    <a:gd name="T21" fmla="*/ 1 h 24"/>
                    <a:gd name="T22" fmla="*/ 1 w 56"/>
                    <a:gd name="T23" fmla="*/ 1 h 24"/>
                    <a:gd name="T24" fmla="*/ 1 w 56"/>
                    <a:gd name="T25" fmla="*/ 1 h 24"/>
                    <a:gd name="T26" fmla="*/ 1 w 56"/>
                    <a:gd name="T27" fmla="*/ 1 h 24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56"/>
                    <a:gd name="T43" fmla="*/ 0 h 24"/>
                    <a:gd name="T44" fmla="*/ 56 w 56"/>
                    <a:gd name="T45" fmla="*/ 24 h 24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56" h="24">
                      <a:moveTo>
                        <a:pt x="48" y="8"/>
                      </a:moveTo>
                      <a:lnTo>
                        <a:pt x="40" y="8"/>
                      </a:lnTo>
                      <a:lnTo>
                        <a:pt x="24" y="0"/>
                      </a:lnTo>
                      <a:lnTo>
                        <a:pt x="0" y="0"/>
                      </a:lnTo>
                      <a:lnTo>
                        <a:pt x="8" y="0"/>
                      </a:lnTo>
                      <a:lnTo>
                        <a:pt x="16" y="8"/>
                      </a:lnTo>
                      <a:lnTo>
                        <a:pt x="16" y="16"/>
                      </a:lnTo>
                      <a:lnTo>
                        <a:pt x="24" y="16"/>
                      </a:lnTo>
                      <a:lnTo>
                        <a:pt x="32" y="16"/>
                      </a:lnTo>
                      <a:lnTo>
                        <a:pt x="24" y="16"/>
                      </a:lnTo>
                      <a:lnTo>
                        <a:pt x="32" y="24"/>
                      </a:lnTo>
                      <a:lnTo>
                        <a:pt x="40" y="16"/>
                      </a:lnTo>
                      <a:lnTo>
                        <a:pt x="56" y="8"/>
                      </a:lnTo>
                      <a:lnTo>
                        <a:pt x="48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51" name="Freeform 347"/>
                <p:cNvSpPr>
                  <a:spLocks noChangeAspect="1"/>
                </p:cNvSpPr>
                <p:nvPr/>
              </p:nvSpPr>
              <p:spPr bwMode="auto">
                <a:xfrm>
                  <a:off x="3526" y="1322"/>
                  <a:ext cx="225" cy="107"/>
                </a:xfrm>
                <a:custGeom>
                  <a:avLst/>
                  <a:gdLst>
                    <a:gd name="T0" fmla="*/ 1 w 320"/>
                    <a:gd name="T1" fmla="*/ 1 h 152"/>
                    <a:gd name="T2" fmla="*/ 1 w 320"/>
                    <a:gd name="T3" fmla="*/ 1 h 152"/>
                    <a:gd name="T4" fmla="*/ 1 w 320"/>
                    <a:gd name="T5" fmla="*/ 1 h 152"/>
                    <a:gd name="T6" fmla="*/ 1 w 320"/>
                    <a:gd name="T7" fmla="*/ 1 h 152"/>
                    <a:gd name="T8" fmla="*/ 1 w 320"/>
                    <a:gd name="T9" fmla="*/ 1 h 152"/>
                    <a:gd name="T10" fmla="*/ 1 w 320"/>
                    <a:gd name="T11" fmla="*/ 1 h 152"/>
                    <a:gd name="T12" fmla="*/ 1 w 320"/>
                    <a:gd name="T13" fmla="*/ 1 h 152"/>
                    <a:gd name="T14" fmla="*/ 1 w 320"/>
                    <a:gd name="T15" fmla="*/ 1 h 152"/>
                    <a:gd name="T16" fmla="*/ 1 w 320"/>
                    <a:gd name="T17" fmla="*/ 1 h 152"/>
                    <a:gd name="T18" fmla="*/ 1 w 320"/>
                    <a:gd name="T19" fmla="*/ 1 h 152"/>
                    <a:gd name="T20" fmla="*/ 1 w 320"/>
                    <a:gd name="T21" fmla="*/ 1 h 152"/>
                    <a:gd name="T22" fmla="*/ 1 w 320"/>
                    <a:gd name="T23" fmla="*/ 1 h 152"/>
                    <a:gd name="T24" fmla="*/ 1 w 320"/>
                    <a:gd name="T25" fmla="*/ 1 h 152"/>
                    <a:gd name="T26" fmla="*/ 1 w 320"/>
                    <a:gd name="T27" fmla="*/ 1 h 152"/>
                    <a:gd name="T28" fmla="*/ 1 w 320"/>
                    <a:gd name="T29" fmla="*/ 1 h 152"/>
                    <a:gd name="T30" fmla="*/ 1 w 320"/>
                    <a:gd name="T31" fmla="*/ 1 h 152"/>
                    <a:gd name="T32" fmla="*/ 1 w 320"/>
                    <a:gd name="T33" fmla="*/ 1 h 152"/>
                    <a:gd name="T34" fmla="*/ 1 w 320"/>
                    <a:gd name="T35" fmla="*/ 1 h 152"/>
                    <a:gd name="T36" fmla="*/ 1 w 320"/>
                    <a:gd name="T37" fmla="*/ 1 h 152"/>
                    <a:gd name="T38" fmla="*/ 1 w 320"/>
                    <a:gd name="T39" fmla="*/ 1 h 152"/>
                    <a:gd name="T40" fmla="*/ 1 w 320"/>
                    <a:gd name="T41" fmla="*/ 1 h 152"/>
                    <a:gd name="T42" fmla="*/ 1 w 320"/>
                    <a:gd name="T43" fmla="*/ 1 h 152"/>
                    <a:gd name="T44" fmla="*/ 1 w 320"/>
                    <a:gd name="T45" fmla="*/ 1 h 152"/>
                    <a:gd name="T46" fmla="*/ 1 w 320"/>
                    <a:gd name="T47" fmla="*/ 1 h 152"/>
                    <a:gd name="T48" fmla="*/ 1 w 320"/>
                    <a:gd name="T49" fmla="*/ 1 h 152"/>
                    <a:gd name="T50" fmla="*/ 1 w 320"/>
                    <a:gd name="T51" fmla="*/ 1 h 152"/>
                    <a:gd name="T52" fmla="*/ 1 w 320"/>
                    <a:gd name="T53" fmla="*/ 1 h 152"/>
                    <a:gd name="T54" fmla="*/ 1 w 320"/>
                    <a:gd name="T55" fmla="*/ 1 h 152"/>
                    <a:gd name="T56" fmla="*/ 1 w 320"/>
                    <a:gd name="T57" fmla="*/ 1 h 152"/>
                    <a:gd name="T58" fmla="*/ 1 w 320"/>
                    <a:gd name="T59" fmla="*/ 1 h 152"/>
                    <a:gd name="T60" fmla="*/ 1 w 320"/>
                    <a:gd name="T61" fmla="*/ 1 h 152"/>
                    <a:gd name="T62" fmla="*/ 1 w 320"/>
                    <a:gd name="T63" fmla="*/ 1 h 152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320"/>
                    <a:gd name="T97" fmla="*/ 0 h 152"/>
                    <a:gd name="T98" fmla="*/ 320 w 320"/>
                    <a:gd name="T99" fmla="*/ 152 h 152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320" h="152">
                      <a:moveTo>
                        <a:pt x="32" y="136"/>
                      </a:moveTo>
                      <a:lnTo>
                        <a:pt x="40" y="136"/>
                      </a:lnTo>
                      <a:lnTo>
                        <a:pt x="24" y="136"/>
                      </a:lnTo>
                      <a:lnTo>
                        <a:pt x="16" y="144"/>
                      </a:lnTo>
                      <a:lnTo>
                        <a:pt x="16" y="152"/>
                      </a:lnTo>
                      <a:lnTo>
                        <a:pt x="40" y="144"/>
                      </a:lnTo>
                      <a:lnTo>
                        <a:pt x="48" y="152"/>
                      </a:lnTo>
                      <a:lnTo>
                        <a:pt x="64" y="152"/>
                      </a:lnTo>
                      <a:lnTo>
                        <a:pt x="80" y="128"/>
                      </a:lnTo>
                      <a:lnTo>
                        <a:pt x="88" y="120"/>
                      </a:lnTo>
                      <a:lnTo>
                        <a:pt x="96" y="120"/>
                      </a:lnTo>
                      <a:lnTo>
                        <a:pt x="104" y="112"/>
                      </a:lnTo>
                      <a:lnTo>
                        <a:pt x="104" y="104"/>
                      </a:lnTo>
                      <a:lnTo>
                        <a:pt x="112" y="104"/>
                      </a:lnTo>
                      <a:lnTo>
                        <a:pt x="112" y="96"/>
                      </a:lnTo>
                      <a:lnTo>
                        <a:pt x="128" y="96"/>
                      </a:lnTo>
                      <a:lnTo>
                        <a:pt x="136" y="88"/>
                      </a:lnTo>
                      <a:lnTo>
                        <a:pt x="144" y="88"/>
                      </a:lnTo>
                      <a:lnTo>
                        <a:pt x="144" y="80"/>
                      </a:lnTo>
                      <a:lnTo>
                        <a:pt x="168" y="72"/>
                      </a:lnTo>
                      <a:lnTo>
                        <a:pt x="176" y="64"/>
                      </a:lnTo>
                      <a:lnTo>
                        <a:pt x="184" y="56"/>
                      </a:lnTo>
                      <a:lnTo>
                        <a:pt x="200" y="56"/>
                      </a:lnTo>
                      <a:lnTo>
                        <a:pt x="208" y="48"/>
                      </a:lnTo>
                      <a:lnTo>
                        <a:pt x="224" y="48"/>
                      </a:lnTo>
                      <a:lnTo>
                        <a:pt x="240" y="48"/>
                      </a:lnTo>
                      <a:lnTo>
                        <a:pt x="264" y="40"/>
                      </a:lnTo>
                      <a:lnTo>
                        <a:pt x="288" y="32"/>
                      </a:lnTo>
                      <a:lnTo>
                        <a:pt x="312" y="32"/>
                      </a:lnTo>
                      <a:lnTo>
                        <a:pt x="312" y="24"/>
                      </a:lnTo>
                      <a:lnTo>
                        <a:pt x="320" y="16"/>
                      </a:lnTo>
                      <a:lnTo>
                        <a:pt x="312" y="8"/>
                      </a:lnTo>
                      <a:lnTo>
                        <a:pt x="288" y="0"/>
                      </a:lnTo>
                      <a:lnTo>
                        <a:pt x="272" y="8"/>
                      </a:lnTo>
                      <a:lnTo>
                        <a:pt x="256" y="8"/>
                      </a:lnTo>
                      <a:lnTo>
                        <a:pt x="256" y="16"/>
                      </a:lnTo>
                      <a:lnTo>
                        <a:pt x="200" y="24"/>
                      </a:lnTo>
                      <a:lnTo>
                        <a:pt x="176" y="32"/>
                      </a:lnTo>
                      <a:lnTo>
                        <a:pt x="152" y="32"/>
                      </a:lnTo>
                      <a:lnTo>
                        <a:pt x="160" y="40"/>
                      </a:lnTo>
                      <a:lnTo>
                        <a:pt x="144" y="40"/>
                      </a:lnTo>
                      <a:lnTo>
                        <a:pt x="136" y="40"/>
                      </a:lnTo>
                      <a:lnTo>
                        <a:pt x="120" y="48"/>
                      </a:lnTo>
                      <a:lnTo>
                        <a:pt x="104" y="48"/>
                      </a:lnTo>
                      <a:lnTo>
                        <a:pt x="96" y="48"/>
                      </a:lnTo>
                      <a:lnTo>
                        <a:pt x="88" y="64"/>
                      </a:lnTo>
                      <a:lnTo>
                        <a:pt x="72" y="64"/>
                      </a:lnTo>
                      <a:lnTo>
                        <a:pt x="56" y="72"/>
                      </a:lnTo>
                      <a:lnTo>
                        <a:pt x="48" y="72"/>
                      </a:lnTo>
                      <a:lnTo>
                        <a:pt x="40" y="72"/>
                      </a:lnTo>
                      <a:lnTo>
                        <a:pt x="48" y="80"/>
                      </a:lnTo>
                      <a:lnTo>
                        <a:pt x="56" y="88"/>
                      </a:lnTo>
                      <a:lnTo>
                        <a:pt x="48" y="88"/>
                      </a:lnTo>
                      <a:lnTo>
                        <a:pt x="48" y="96"/>
                      </a:lnTo>
                      <a:lnTo>
                        <a:pt x="56" y="96"/>
                      </a:lnTo>
                      <a:lnTo>
                        <a:pt x="40" y="104"/>
                      </a:lnTo>
                      <a:lnTo>
                        <a:pt x="48" y="112"/>
                      </a:lnTo>
                      <a:lnTo>
                        <a:pt x="40" y="120"/>
                      </a:lnTo>
                      <a:lnTo>
                        <a:pt x="24" y="112"/>
                      </a:lnTo>
                      <a:lnTo>
                        <a:pt x="24" y="120"/>
                      </a:lnTo>
                      <a:lnTo>
                        <a:pt x="16" y="128"/>
                      </a:lnTo>
                      <a:lnTo>
                        <a:pt x="8" y="128"/>
                      </a:lnTo>
                      <a:lnTo>
                        <a:pt x="0" y="128"/>
                      </a:lnTo>
                      <a:lnTo>
                        <a:pt x="16" y="136"/>
                      </a:lnTo>
                      <a:lnTo>
                        <a:pt x="32" y="13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52" name="Freeform 348"/>
                <p:cNvSpPr>
                  <a:spLocks noChangeAspect="1"/>
                </p:cNvSpPr>
                <p:nvPr/>
              </p:nvSpPr>
              <p:spPr bwMode="auto">
                <a:xfrm>
                  <a:off x="3498" y="1429"/>
                  <a:ext cx="84" cy="79"/>
                </a:xfrm>
                <a:custGeom>
                  <a:avLst/>
                  <a:gdLst>
                    <a:gd name="T0" fmla="*/ 1 w 120"/>
                    <a:gd name="T1" fmla="*/ 1 h 112"/>
                    <a:gd name="T2" fmla="*/ 1 w 120"/>
                    <a:gd name="T3" fmla="*/ 1 h 112"/>
                    <a:gd name="T4" fmla="*/ 1 w 120"/>
                    <a:gd name="T5" fmla="*/ 1 h 112"/>
                    <a:gd name="T6" fmla="*/ 1 w 120"/>
                    <a:gd name="T7" fmla="*/ 1 h 112"/>
                    <a:gd name="T8" fmla="*/ 1 w 120"/>
                    <a:gd name="T9" fmla="*/ 1 h 112"/>
                    <a:gd name="T10" fmla="*/ 1 w 120"/>
                    <a:gd name="T11" fmla="*/ 1 h 112"/>
                    <a:gd name="T12" fmla="*/ 1 w 120"/>
                    <a:gd name="T13" fmla="*/ 1 h 112"/>
                    <a:gd name="T14" fmla="*/ 1 w 120"/>
                    <a:gd name="T15" fmla="*/ 1 h 112"/>
                    <a:gd name="T16" fmla="*/ 1 w 120"/>
                    <a:gd name="T17" fmla="*/ 1 h 112"/>
                    <a:gd name="T18" fmla="*/ 1 w 120"/>
                    <a:gd name="T19" fmla="*/ 1 h 112"/>
                    <a:gd name="T20" fmla="*/ 1 w 120"/>
                    <a:gd name="T21" fmla="*/ 1 h 112"/>
                    <a:gd name="T22" fmla="*/ 1 w 120"/>
                    <a:gd name="T23" fmla="*/ 1 h 112"/>
                    <a:gd name="T24" fmla="*/ 1 w 120"/>
                    <a:gd name="T25" fmla="*/ 1 h 112"/>
                    <a:gd name="T26" fmla="*/ 1 w 120"/>
                    <a:gd name="T27" fmla="*/ 1 h 112"/>
                    <a:gd name="T28" fmla="*/ 1 w 120"/>
                    <a:gd name="T29" fmla="*/ 1 h 112"/>
                    <a:gd name="T30" fmla="*/ 1 w 120"/>
                    <a:gd name="T31" fmla="*/ 1 h 112"/>
                    <a:gd name="T32" fmla="*/ 1 w 120"/>
                    <a:gd name="T33" fmla="*/ 1 h 112"/>
                    <a:gd name="T34" fmla="*/ 1 w 120"/>
                    <a:gd name="T35" fmla="*/ 0 h 112"/>
                    <a:gd name="T36" fmla="*/ 1 w 120"/>
                    <a:gd name="T37" fmla="*/ 0 h 112"/>
                    <a:gd name="T38" fmla="*/ 1 w 120"/>
                    <a:gd name="T39" fmla="*/ 1 h 112"/>
                    <a:gd name="T40" fmla="*/ 1 w 120"/>
                    <a:gd name="T41" fmla="*/ 1 h 112"/>
                    <a:gd name="T42" fmla="*/ 1 w 120"/>
                    <a:gd name="T43" fmla="*/ 1 h 112"/>
                    <a:gd name="T44" fmla="*/ 1 w 120"/>
                    <a:gd name="T45" fmla="*/ 1 h 112"/>
                    <a:gd name="T46" fmla="*/ 1 w 120"/>
                    <a:gd name="T47" fmla="*/ 1 h 112"/>
                    <a:gd name="T48" fmla="*/ 1 w 120"/>
                    <a:gd name="T49" fmla="*/ 1 h 112"/>
                    <a:gd name="T50" fmla="*/ 0 w 120"/>
                    <a:gd name="T51" fmla="*/ 1 h 112"/>
                    <a:gd name="T52" fmla="*/ 0 w 120"/>
                    <a:gd name="T53" fmla="*/ 1 h 112"/>
                    <a:gd name="T54" fmla="*/ 0 w 120"/>
                    <a:gd name="T55" fmla="*/ 1 h 112"/>
                    <a:gd name="T56" fmla="*/ 1 w 120"/>
                    <a:gd name="T57" fmla="*/ 1 h 112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20"/>
                    <a:gd name="T88" fmla="*/ 0 h 112"/>
                    <a:gd name="T89" fmla="*/ 120 w 120"/>
                    <a:gd name="T90" fmla="*/ 112 h 112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20" h="112">
                      <a:moveTo>
                        <a:pt x="8" y="80"/>
                      </a:moveTo>
                      <a:lnTo>
                        <a:pt x="16" y="72"/>
                      </a:lnTo>
                      <a:lnTo>
                        <a:pt x="24" y="80"/>
                      </a:lnTo>
                      <a:lnTo>
                        <a:pt x="32" y="80"/>
                      </a:lnTo>
                      <a:lnTo>
                        <a:pt x="48" y="80"/>
                      </a:lnTo>
                      <a:lnTo>
                        <a:pt x="40" y="96"/>
                      </a:lnTo>
                      <a:lnTo>
                        <a:pt x="40" y="104"/>
                      </a:lnTo>
                      <a:lnTo>
                        <a:pt x="56" y="104"/>
                      </a:lnTo>
                      <a:lnTo>
                        <a:pt x="80" y="112"/>
                      </a:lnTo>
                      <a:lnTo>
                        <a:pt x="96" y="112"/>
                      </a:lnTo>
                      <a:lnTo>
                        <a:pt x="112" y="104"/>
                      </a:lnTo>
                      <a:lnTo>
                        <a:pt x="120" y="96"/>
                      </a:lnTo>
                      <a:lnTo>
                        <a:pt x="80" y="80"/>
                      </a:lnTo>
                      <a:lnTo>
                        <a:pt x="72" y="64"/>
                      </a:lnTo>
                      <a:lnTo>
                        <a:pt x="80" y="32"/>
                      </a:lnTo>
                      <a:lnTo>
                        <a:pt x="88" y="32"/>
                      </a:lnTo>
                      <a:lnTo>
                        <a:pt x="96" y="8"/>
                      </a:lnTo>
                      <a:lnTo>
                        <a:pt x="80" y="0"/>
                      </a:lnTo>
                      <a:lnTo>
                        <a:pt x="40" y="0"/>
                      </a:lnTo>
                      <a:lnTo>
                        <a:pt x="32" y="16"/>
                      </a:lnTo>
                      <a:lnTo>
                        <a:pt x="24" y="16"/>
                      </a:lnTo>
                      <a:lnTo>
                        <a:pt x="16" y="24"/>
                      </a:lnTo>
                      <a:lnTo>
                        <a:pt x="24" y="32"/>
                      </a:lnTo>
                      <a:lnTo>
                        <a:pt x="24" y="40"/>
                      </a:lnTo>
                      <a:lnTo>
                        <a:pt x="16" y="48"/>
                      </a:lnTo>
                      <a:lnTo>
                        <a:pt x="0" y="48"/>
                      </a:lnTo>
                      <a:lnTo>
                        <a:pt x="0" y="64"/>
                      </a:lnTo>
                      <a:lnTo>
                        <a:pt x="0" y="72"/>
                      </a:lnTo>
                      <a:lnTo>
                        <a:pt x="8" y="8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53" name="Freeform 349"/>
                <p:cNvSpPr>
                  <a:spLocks noChangeAspect="1"/>
                </p:cNvSpPr>
                <p:nvPr/>
              </p:nvSpPr>
              <p:spPr bwMode="auto">
                <a:xfrm>
                  <a:off x="4803" y="1958"/>
                  <a:ext cx="46" cy="186"/>
                </a:xfrm>
                <a:custGeom>
                  <a:avLst/>
                  <a:gdLst>
                    <a:gd name="T0" fmla="*/ 1 w 64"/>
                    <a:gd name="T1" fmla="*/ 1 h 264"/>
                    <a:gd name="T2" fmla="*/ 1 w 64"/>
                    <a:gd name="T3" fmla="*/ 1 h 264"/>
                    <a:gd name="T4" fmla="*/ 1 w 64"/>
                    <a:gd name="T5" fmla="*/ 1 h 264"/>
                    <a:gd name="T6" fmla="*/ 1 w 64"/>
                    <a:gd name="T7" fmla="*/ 1 h 264"/>
                    <a:gd name="T8" fmla="*/ 1 w 64"/>
                    <a:gd name="T9" fmla="*/ 1 h 264"/>
                    <a:gd name="T10" fmla="*/ 1 w 64"/>
                    <a:gd name="T11" fmla="*/ 1 h 264"/>
                    <a:gd name="T12" fmla="*/ 1 w 64"/>
                    <a:gd name="T13" fmla="*/ 1 h 264"/>
                    <a:gd name="T14" fmla="*/ 1 w 64"/>
                    <a:gd name="T15" fmla="*/ 1 h 264"/>
                    <a:gd name="T16" fmla="*/ 1 w 64"/>
                    <a:gd name="T17" fmla="*/ 1 h 264"/>
                    <a:gd name="T18" fmla="*/ 1 w 64"/>
                    <a:gd name="T19" fmla="*/ 1 h 264"/>
                    <a:gd name="T20" fmla="*/ 1 w 64"/>
                    <a:gd name="T21" fmla="*/ 1 h 264"/>
                    <a:gd name="T22" fmla="*/ 1 w 64"/>
                    <a:gd name="T23" fmla="*/ 1 h 264"/>
                    <a:gd name="T24" fmla="*/ 1 w 64"/>
                    <a:gd name="T25" fmla="*/ 1 h 264"/>
                    <a:gd name="T26" fmla="*/ 1 w 64"/>
                    <a:gd name="T27" fmla="*/ 1 h 264"/>
                    <a:gd name="T28" fmla="*/ 1 w 64"/>
                    <a:gd name="T29" fmla="*/ 1 h 264"/>
                    <a:gd name="T30" fmla="*/ 1 w 64"/>
                    <a:gd name="T31" fmla="*/ 1 h 264"/>
                    <a:gd name="T32" fmla="*/ 1 w 64"/>
                    <a:gd name="T33" fmla="*/ 1 h 264"/>
                    <a:gd name="T34" fmla="*/ 1 w 64"/>
                    <a:gd name="T35" fmla="*/ 1 h 264"/>
                    <a:gd name="T36" fmla="*/ 1 w 64"/>
                    <a:gd name="T37" fmla="*/ 1 h 264"/>
                    <a:gd name="T38" fmla="*/ 1 w 64"/>
                    <a:gd name="T39" fmla="*/ 1 h 264"/>
                    <a:gd name="T40" fmla="*/ 1 w 64"/>
                    <a:gd name="T41" fmla="*/ 1 h 264"/>
                    <a:gd name="T42" fmla="*/ 1 w 64"/>
                    <a:gd name="T43" fmla="*/ 1 h 264"/>
                    <a:gd name="T44" fmla="*/ 1 w 64"/>
                    <a:gd name="T45" fmla="*/ 1 h 264"/>
                    <a:gd name="T46" fmla="*/ 1 w 64"/>
                    <a:gd name="T47" fmla="*/ 1 h 264"/>
                    <a:gd name="T48" fmla="*/ 1 w 64"/>
                    <a:gd name="T49" fmla="*/ 1 h 264"/>
                    <a:gd name="T50" fmla="*/ 1 w 64"/>
                    <a:gd name="T51" fmla="*/ 1 h 264"/>
                    <a:gd name="T52" fmla="*/ 1 w 64"/>
                    <a:gd name="T53" fmla="*/ 1 h 264"/>
                    <a:gd name="T54" fmla="*/ 1 w 64"/>
                    <a:gd name="T55" fmla="*/ 1 h 264"/>
                    <a:gd name="T56" fmla="*/ 1 w 64"/>
                    <a:gd name="T57" fmla="*/ 1 h 264"/>
                    <a:gd name="T58" fmla="*/ 1 w 64"/>
                    <a:gd name="T59" fmla="*/ 1 h 264"/>
                    <a:gd name="T60" fmla="*/ 1 w 64"/>
                    <a:gd name="T61" fmla="*/ 1 h 264"/>
                    <a:gd name="T62" fmla="*/ 1 w 64"/>
                    <a:gd name="T63" fmla="*/ 1 h 264"/>
                    <a:gd name="T64" fmla="*/ 1 w 64"/>
                    <a:gd name="T65" fmla="*/ 1 h 264"/>
                    <a:gd name="T66" fmla="*/ 1 w 64"/>
                    <a:gd name="T67" fmla="*/ 0 h 264"/>
                    <a:gd name="T68" fmla="*/ 1 w 64"/>
                    <a:gd name="T69" fmla="*/ 0 h 264"/>
                    <a:gd name="T70" fmla="*/ 1 w 64"/>
                    <a:gd name="T71" fmla="*/ 1 h 264"/>
                    <a:gd name="T72" fmla="*/ 1 w 64"/>
                    <a:gd name="T73" fmla="*/ 1 h 264"/>
                    <a:gd name="T74" fmla="*/ 0 w 64"/>
                    <a:gd name="T75" fmla="*/ 1 h 264"/>
                    <a:gd name="T76" fmla="*/ 1 w 64"/>
                    <a:gd name="T77" fmla="*/ 1 h 264"/>
                    <a:gd name="T78" fmla="*/ 0 w 64"/>
                    <a:gd name="T79" fmla="*/ 1 h 264"/>
                    <a:gd name="T80" fmla="*/ 1 w 64"/>
                    <a:gd name="T81" fmla="*/ 1 h 264"/>
                    <a:gd name="T82" fmla="*/ 0 w 64"/>
                    <a:gd name="T83" fmla="*/ 1 h 264"/>
                    <a:gd name="T84" fmla="*/ 1 w 64"/>
                    <a:gd name="T85" fmla="*/ 1 h 264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64"/>
                    <a:gd name="T130" fmla="*/ 0 h 264"/>
                    <a:gd name="T131" fmla="*/ 64 w 64"/>
                    <a:gd name="T132" fmla="*/ 264 h 264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64" h="264">
                      <a:moveTo>
                        <a:pt x="8" y="96"/>
                      </a:moveTo>
                      <a:lnTo>
                        <a:pt x="8" y="104"/>
                      </a:lnTo>
                      <a:lnTo>
                        <a:pt x="8" y="136"/>
                      </a:lnTo>
                      <a:lnTo>
                        <a:pt x="16" y="152"/>
                      </a:lnTo>
                      <a:lnTo>
                        <a:pt x="8" y="168"/>
                      </a:lnTo>
                      <a:lnTo>
                        <a:pt x="8" y="184"/>
                      </a:lnTo>
                      <a:lnTo>
                        <a:pt x="8" y="200"/>
                      </a:lnTo>
                      <a:lnTo>
                        <a:pt x="8" y="216"/>
                      </a:lnTo>
                      <a:lnTo>
                        <a:pt x="8" y="232"/>
                      </a:lnTo>
                      <a:lnTo>
                        <a:pt x="8" y="264"/>
                      </a:lnTo>
                      <a:lnTo>
                        <a:pt x="8" y="256"/>
                      </a:lnTo>
                      <a:lnTo>
                        <a:pt x="16" y="248"/>
                      </a:lnTo>
                      <a:lnTo>
                        <a:pt x="24" y="248"/>
                      </a:lnTo>
                      <a:lnTo>
                        <a:pt x="32" y="256"/>
                      </a:lnTo>
                      <a:lnTo>
                        <a:pt x="40" y="256"/>
                      </a:lnTo>
                      <a:lnTo>
                        <a:pt x="40" y="240"/>
                      </a:lnTo>
                      <a:lnTo>
                        <a:pt x="32" y="232"/>
                      </a:lnTo>
                      <a:lnTo>
                        <a:pt x="24" y="224"/>
                      </a:lnTo>
                      <a:lnTo>
                        <a:pt x="24" y="200"/>
                      </a:lnTo>
                      <a:lnTo>
                        <a:pt x="24" y="192"/>
                      </a:lnTo>
                      <a:lnTo>
                        <a:pt x="32" y="184"/>
                      </a:lnTo>
                      <a:lnTo>
                        <a:pt x="32" y="160"/>
                      </a:lnTo>
                      <a:lnTo>
                        <a:pt x="48" y="160"/>
                      </a:lnTo>
                      <a:lnTo>
                        <a:pt x="56" y="176"/>
                      </a:lnTo>
                      <a:lnTo>
                        <a:pt x="64" y="176"/>
                      </a:lnTo>
                      <a:lnTo>
                        <a:pt x="64" y="160"/>
                      </a:lnTo>
                      <a:lnTo>
                        <a:pt x="48" y="152"/>
                      </a:lnTo>
                      <a:lnTo>
                        <a:pt x="48" y="128"/>
                      </a:lnTo>
                      <a:lnTo>
                        <a:pt x="40" y="104"/>
                      </a:lnTo>
                      <a:lnTo>
                        <a:pt x="32" y="72"/>
                      </a:lnTo>
                      <a:lnTo>
                        <a:pt x="32" y="48"/>
                      </a:lnTo>
                      <a:lnTo>
                        <a:pt x="32" y="32"/>
                      </a:lnTo>
                      <a:lnTo>
                        <a:pt x="32" y="8"/>
                      </a:lnTo>
                      <a:lnTo>
                        <a:pt x="24" y="0"/>
                      </a:lnTo>
                      <a:lnTo>
                        <a:pt x="16" y="0"/>
                      </a:lnTo>
                      <a:lnTo>
                        <a:pt x="16" y="24"/>
                      </a:lnTo>
                      <a:lnTo>
                        <a:pt x="8" y="24"/>
                      </a:lnTo>
                      <a:lnTo>
                        <a:pt x="0" y="32"/>
                      </a:lnTo>
                      <a:lnTo>
                        <a:pt x="8" y="40"/>
                      </a:lnTo>
                      <a:lnTo>
                        <a:pt x="0" y="64"/>
                      </a:lnTo>
                      <a:lnTo>
                        <a:pt x="8" y="64"/>
                      </a:lnTo>
                      <a:lnTo>
                        <a:pt x="0" y="72"/>
                      </a:lnTo>
                      <a:lnTo>
                        <a:pt x="8" y="9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54" name="Freeform 350"/>
                <p:cNvSpPr>
                  <a:spLocks noChangeAspect="1"/>
                </p:cNvSpPr>
                <p:nvPr/>
              </p:nvSpPr>
              <p:spPr bwMode="auto">
                <a:xfrm>
                  <a:off x="3431" y="2127"/>
                  <a:ext cx="112" cy="202"/>
                </a:xfrm>
                <a:custGeom>
                  <a:avLst/>
                  <a:gdLst>
                    <a:gd name="T0" fmla="*/ 1 w 160"/>
                    <a:gd name="T1" fmla="*/ 1 h 288"/>
                    <a:gd name="T2" fmla="*/ 1 w 160"/>
                    <a:gd name="T3" fmla="*/ 1 h 288"/>
                    <a:gd name="T4" fmla="*/ 1 w 160"/>
                    <a:gd name="T5" fmla="*/ 1 h 288"/>
                    <a:gd name="T6" fmla="*/ 1 w 160"/>
                    <a:gd name="T7" fmla="*/ 1 h 288"/>
                    <a:gd name="T8" fmla="*/ 1 w 160"/>
                    <a:gd name="T9" fmla="*/ 1 h 288"/>
                    <a:gd name="T10" fmla="*/ 1 w 160"/>
                    <a:gd name="T11" fmla="*/ 1 h 288"/>
                    <a:gd name="T12" fmla="*/ 1 w 160"/>
                    <a:gd name="T13" fmla="*/ 1 h 288"/>
                    <a:gd name="T14" fmla="*/ 1 w 160"/>
                    <a:gd name="T15" fmla="*/ 1 h 288"/>
                    <a:gd name="T16" fmla="*/ 1 w 160"/>
                    <a:gd name="T17" fmla="*/ 1 h 288"/>
                    <a:gd name="T18" fmla="*/ 0 w 160"/>
                    <a:gd name="T19" fmla="*/ 1 h 288"/>
                    <a:gd name="T20" fmla="*/ 1 w 160"/>
                    <a:gd name="T21" fmla="*/ 1 h 288"/>
                    <a:gd name="T22" fmla="*/ 1 w 160"/>
                    <a:gd name="T23" fmla="*/ 1 h 288"/>
                    <a:gd name="T24" fmla="*/ 1 w 160"/>
                    <a:gd name="T25" fmla="*/ 1 h 288"/>
                    <a:gd name="T26" fmla="*/ 1 w 160"/>
                    <a:gd name="T27" fmla="*/ 0 h 288"/>
                    <a:gd name="T28" fmla="*/ 1 w 160"/>
                    <a:gd name="T29" fmla="*/ 0 h 288"/>
                    <a:gd name="T30" fmla="*/ 1 w 160"/>
                    <a:gd name="T31" fmla="*/ 0 h 288"/>
                    <a:gd name="T32" fmla="*/ 1 w 160"/>
                    <a:gd name="T33" fmla="*/ 1 h 288"/>
                    <a:gd name="T34" fmla="*/ 1 w 160"/>
                    <a:gd name="T35" fmla="*/ 1 h 288"/>
                    <a:gd name="T36" fmla="*/ 1 w 160"/>
                    <a:gd name="T37" fmla="*/ 1 h 288"/>
                    <a:gd name="T38" fmla="*/ 1 w 160"/>
                    <a:gd name="T39" fmla="*/ 1 h 288"/>
                    <a:gd name="T40" fmla="*/ 1 w 160"/>
                    <a:gd name="T41" fmla="*/ 1 h 288"/>
                    <a:gd name="T42" fmla="*/ 1 w 160"/>
                    <a:gd name="T43" fmla="*/ 1 h 288"/>
                    <a:gd name="T44" fmla="*/ 1 w 160"/>
                    <a:gd name="T45" fmla="*/ 1 h 288"/>
                    <a:gd name="T46" fmla="*/ 1 w 160"/>
                    <a:gd name="T47" fmla="*/ 1 h 288"/>
                    <a:gd name="T48" fmla="*/ 1 w 160"/>
                    <a:gd name="T49" fmla="*/ 1 h 288"/>
                    <a:gd name="T50" fmla="*/ 1 w 160"/>
                    <a:gd name="T51" fmla="*/ 1 h 288"/>
                    <a:gd name="T52" fmla="*/ 1 w 160"/>
                    <a:gd name="T53" fmla="*/ 1 h 288"/>
                    <a:gd name="T54" fmla="*/ 1 w 160"/>
                    <a:gd name="T55" fmla="*/ 1 h 288"/>
                    <a:gd name="T56" fmla="*/ 1 w 160"/>
                    <a:gd name="T57" fmla="*/ 1 h 288"/>
                    <a:gd name="T58" fmla="*/ 1 w 160"/>
                    <a:gd name="T59" fmla="*/ 1 h 288"/>
                    <a:gd name="T60" fmla="*/ 1 w 160"/>
                    <a:gd name="T61" fmla="*/ 1 h 288"/>
                    <a:gd name="T62" fmla="*/ 1 w 160"/>
                    <a:gd name="T63" fmla="*/ 1 h 288"/>
                    <a:gd name="T64" fmla="*/ 1 w 160"/>
                    <a:gd name="T65" fmla="*/ 1 h 288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160"/>
                    <a:gd name="T100" fmla="*/ 0 h 288"/>
                    <a:gd name="T101" fmla="*/ 160 w 160"/>
                    <a:gd name="T102" fmla="*/ 288 h 288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160" h="288">
                      <a:moveTo>
                        <a:pt x="152" y="272"/>
                      </a:moveTo>
                      <a:lnTo>
                        <a:pt x="136" y="280"/>
                      </a:lnTo>
                      <a:lnTo>
                        <a:pt x="120" y="280"/>
                      </a:lnTo>
                      <a:lnTo>
                        <a:pt x="88" y="288"/>
                      </a:lnTo>
                      <a:lnTo>
                        <a:pt x="72" y="272"/>
                      </a:lnTo>
                      <a:lnTo>
                        <a:pt x="64" y="264"/>
                      </a:lnTo>
                      <a:lnTo>
                        <a:pt x="48" y="256"/>
                      </a:lnTo>
                      <a:lnTo>
                        <a:pt x="40" y="248"/>
                      </a:lnTo>
                      <a:lnTo>
                        <a:pt x="40" y="232"/>
                      </a:lnTo>
                      <a:lnTo>
                        <a:pt x="40" y="216"/>
                      </a:lnTo>
                      <a:lnTo>
                        <a:pt x="64" y="192"/>
                      </a:lnTo>
                      <a:lnTo>
                        <a:pt x="64" y="184"/>
                      </a:lnTo>
                      <a:lnTo>
                        <a:pt x="56" y="168"/>
                      </a:lnTo>
                      <a:lnTo>
                        <a:pt x="48" y="152"/>
                      </a:lnTo>
                      <a:lnTo>
                        <a:pt x="32" y="144"/>
                      </a:lnTo>
                      <a:lnTo>
                        <a:pt x="24" y="136"/>
                      </a:lnTo>
                      <a:lnTo>
                        <a:pt x="16" y="112"/>
                      </a:lnTo>
                      <a:lnTo>
                        <a:pt x="8" y="88"/>
                      </a:lnTo>
                      <a:lnTo>
                        <a:pt x="0" y="80"/>
                      </a:lnTo>
                      <a:lnTo>
                        <a:pt x="0" y="64"/>
                      </a:lnTo>
                      <a:lnTo>
                        <a:pt x="0" y="56"/>
                      </a:lnTo>
                      <a:lnTo>
                        <a:pt x="16" y="40"/>
                      </a:lnTo>
                      <a:lnTo>
                        <a:pt x="32" y="32"/>
                      </a:lnTo>
                      <a:lnTo>
                        <a:pt x="40" y="16"/>
                      </a:lnTo>
                      <a:lnTo>
                        <a:pt x="48" y="16"/>
                      </a:lnTo>
                      <a:lnTo>
                        <a:pt x="72" y="8"/>
                      </a:lnTo>
                      <a:lnTo>
                        <a:pt x="80" y="8"/>
                      </a:lnTo>
                      <a:lnTo>
                        <a:pt x="80" y="0"/>
                      </a:lnTo>
                      <a:lnTo>
                        <a:pt x="88" y="0"/>
                      </a:lnTo>
                      <a:lnTo>
                        <a:pt x="104" y="0"/>
                      </a:lnTo>
                      <a:lnTo>
                        <a:pt x="112" y="0"/>
                      </a:lnTo>
                      <a:lnTo>
                        <a:pt x="120" y="0"/>
                      </a:lnTo>
                      <a:lnTo>
                        <a:pt x="128" y="0"/>
                      </a:lnTo>
                      <a:lnTo>
                        <a:pt x="128" y="8"/>
                      </a:lnTo>
                      <a:lnTo>
                        <a:pt x="128" y="16"/>
                      </a:lnTo>
                      <a:lnTo>
                        <a:pt x="128" y="24"/>
                      </a:lnTo>
                      <a:lnTo>
                        <a:pt x="128" y="40"/>
                      </a:lnTo>
                      <a:lnTo>
                        <a:pt x="128" y="48"/>
                      </a:lnTo>
                      <a:lnTo>
                        <a:pt x="88" y="56"/>
                      </a:lnTo>
                      <a:lnTo>
                        <a:pt x="88" y="64"/>
                      </a:lnTo>
                      <a:lnTo>
                        <a:pt x="88" y="72"/>
                      </a:lnTo>
                      <a:lnTo>
                        <a:pt x="80" y="72"/>
                      </a:lnTo>
                      <a:lnTo>
                        <a:pt x="72" y="64"/>
                      </a:lnTo>
                      <a:lnTo>
                        <a:pt x="80" y="80"/>
                      </a:lnTo>
                      <a:lnTo>
                        <a:pt x="88" y="88"/>
                      </a:lnTo>
                      <a:lnTo>
                        <a:pt x="88" y="104"/>
                      </a:lnTo>
                      <a:lnTo>
                        <a:pt x="96" y="112"/>
                      </a:lnTo>
                      <a:lnTo>
                        <a:pt x="112" y="112"/>
                      </a:lnTo>
                      <a:lnTo>
                        <a:pt x="120" y="120"/>
                      </a:lnTo>
                      <a:lnTo>
                        <a:pt x="120" y="136"/>
                      </a:lnTo>
                      <a:lnTo>
                        <a:pt x="120" y="144"/>
                      </a:lnTo>
                      <a:lnTo>
                        <a:pt x="128" y="136"/>
                      </a:lnTo>
                      <a:lnTo>
                        <a:pt x="144" y="144"/>
                      </a:lnTo>
                      <a:lnTo>
                        <a:pt x="152" y="152"/>
                      </a:lnTo>
                      <a:lnTo>
                        <a:pt x="160" y="160"/>
                      </a:lnTo>
                      <a:lnTo>
                        <a:pt x="160" y="168"/>
                      </a:lnTo>
                      <a:lnTo>
                        <a:pt x="144" y="176"/>
                      </a:lnTo>
                      <a:lnTo>
                        <a:pt x="128" y="176"/>
                      </a:lnTo>
                      <a:lnTo>
                        <a:pt x="120" y="192"/>
                      </a:lnTo>
                      <a:lnTo>
                        <a:pt x="128" y="192"/>
                      </a:lnTo>
                      <a:lnTo>
                        <a:pt x="136" y="192"/>
                      </a:lnTo>
                      <a:lnTo>
                        <a:pt x="144" y="208"/>
                      </a:lnTo>
                      <a:lnTo>
                        <a:pt x="136" y="208"/>
                      </a:lnTo>
                      <a:lnTo>
                        <a:pt x="144" y="224"/>
                      </a:lnTo>
                      <a:lnTo>
                        <a:pt x="152" y="264"/>
                      </a:lnTo>
                      <a:lnTo>
                        <a:pt x="152" y="272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55" name="Freeform 351"/>
                <p:cNvSpPr>
                  <a:spLocks noChangeAspect="1"/>
                </p:cNvSpPr>
                <p:nvPr/>
              </p:nvSpPr>
              <p:spPr bwMode="auto">
                <a:xfrm>
                  <a:off x="4365" y="1390"/>
                  <a:ext cx="28" cy="17"/>
                </a:xfrm>
                <a:custGeom>
                  <a:avLst/>
                  <a:gdLst>
                    <a:gd name="T0" fmla="*/ 1 w 40"/>
                    <a:gd name="T1" fmla="*/ 0 h 24"/>
                    <a:gd name="T2" fmla="*/ 1 w 40"/>
                    <a:gd name="T3" fmla="*/ 0 h 24"/>
                    <a:gd name="T4" fmla="*/ 1 w 40"/>
                    <a:gd name="T5" fmla="*/ 0 h 24"/>
                    <a:gd name="T6" fmla="*/ 1 w 40"/>
                    <a:gd name="T7" fmla="*/ 1 h 24"/>
                    <a:gd name="T8" fmla="*/ 1 w 40"/>
                    <a:gd name="T9" fmla="*/ 1 h 24"/>
                    <a:gd name="T10" fmla="*/ 1 w 40"/>
                    <a:gd name="T11" fmla="*/ 1 h 24"/>
                    <a:gd name="T12" fmla="*/ 1 w 40"/>
                    <a:gd name="T13" fmla="*/ 1 h 24"/>
                    <a:gd name="T14" fmla="*/ 1 w 40"/>
                    <a:gd name="T15" fmla="*/ 1 h 24"/>
                    <a:gd name="T16" fmla="*/ 0 w 40"/>
                    <a:gd name="T17" fmla="*/ 1 h 24"/>
                    <a:gd name="T18" fmla="*/ 1 w 40"/>
                    <a:gd name="T19" fmla="*/ 1 h 24"/>
                    <a:gd name="T20" fmla="*/ 1 w 40"/>
                    <a:gd name="T21" fmla="*/ 0 h 2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40"/>
                    <a:gd name="T34" fmla="*/ 0 h 24"/>
                    <a:gd name="T35" fmla="*/ 40 w 40"/>
                    <a:gd name="T36" fmla="*/ 24 h 2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40" h="24">
                      <a:moveTo>
                        <a:pt x="8" y="0"/>
                      </a:move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40" y="8"/>
                      </a:lnTo>
                      <a:lnTo>
                        <a:pt x="32" y="8"/>
                      </a:lnTo>
                      <a:lnTo>
                        <a:pt x="32" y="16"/>
                      </a:lnTo>
                      <a:lnTo>
                        <a:pt x="16" y="24"/>
                      </a:lnTo>
                      <a:lnTo>
                        <a:pt x="8" y="16"/>
                      </a:lnTo>
                      <a:lnTo>
                        <a:pt x="0" y="8"/>
                      </a:lnTo>
                      <a:lnTo>
                        <a:pt x="8" y="8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56" name="Freeform 352"/>
                <p:cNvSpPr>
                  <a:spLocks noChangeAspect="1"/>
                </p:cNvSpPr>
                <p:nvPr/>
              </p:nvSpPr>
              <p:spPr bwMode="auto">
                <a:xfrm>
                  <a:off x="4365" y="1390"/>
                  <a:ext cx="28" cy="17"/>
                </a:xfrm>
                <a:custGeom>
                  <a:avLst/>
                  <a:gdLst>
                    <a:gd name="T0" fmla="*/ 1 w 40"/>
                    <a:gd name="T1" fmla="*/ 0 h 24"/>
                    <a:gd name="T2" fmla="*/ 1 w 40"/>
                    <a:gd name="T3" fmla="*/ 1 h 24"/>
                    <a:gd name="T4" fmla="*/ 0 w 40"/>
                    <a:gd name="T5" fmla="*/ 1 h 24"/>
                    <a:gd name="T6" fmla="*/ 1 w 40"/>
                    <a:gd name="T7" fmla="*/ 1 h 24"/>
                    <a:gd name="T8" fmla="*/ 1 w 40"/>
                    <a:gd name="T9" fmla="*/ 1 h 24"/>
                    <a:gd name="T10" fmla="*/ 1 w 40"/>
                    <a:gd name="T11" fmla="*/ 1 h 24"/>
                    <a:gd name="T12" fmla="*/ 1 w 40"/>
                    <a:gd name="T13" fmla="*/ 1 h 24"/>
                    <a:gd name="T14" fmla="*/ 1 w 40"/>
                    <a:gd name="T15" fmla="*/ 1 h 24"/>
                    <a:gd name="T16" fmla="*/ 1 w 40"/>
                    <a:gd name="T17" fmla="*/ 0 h 24"/>
                    <a:gd name="T18" fmla="*/ 1 w 40"/>
                    <a:gd name="T19" fmla="*/ 0 h 24"/>
                    <a:gd name="T20" fmla="*/ 1 w 40"/>
                    <a:gd name="T21" fmla="*/ 0 h 2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40"/>
                    <a:gd name="T34" fmla="*/ 0 h 24"/>
                    <a:gd name="T35" fmla="*/ 40 w 40"/>
                    <a:gd name="T36" fmla="*/ 24 h 2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40" h="24">
                      <a:moveTo>
                        <a:pt x="8" y="0"/>
                      </a:moveTo>
                      <a:lnTo>
                        <a:pt x="8" y="8"/>
                      </a:lnTo>
                      <a:lnTo>
                        <a:pt x="0" y="8"/>
                      </a:lnTo>
                      <a:lnTo>
                        <a:pt x="8" y="16"/>
                      </a:lnTo>
                      <a:lnTo>
                        <a:pt x="16" y="24"/>
                      </a:lnTo>
                      <a:lnTo>
                        <a:pt x="32" y="16"/>
                      </a:lnTo>
                      <a:lnTo>
                        <a:pt x="32" y="8"/>
                      </a:lnTo>
                      <a:lnTo>
                        <a:pt x="40" y="8"/>
                      </a:lnTo>
                      <a:lnTo>
                        <a:pt x="40" y="0"/>
                      </a:lnTo>
                      <a:lnTo>
                        <a:pt x="24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57" name="Freeform 353"/>
                <p:cNvSpPr>
                  <a:spLocks noChangeAspect="1"/>
                </p:cNvSpPr>
                <p:nvPr/>
              </p:nvSpPr>
              <p:spPr bwMode="auto">
                <a:xfrm>
                  <a:off x="4995" y="2042"/>
                  <a:ext cx="17" cy="12"/>
                </a:xfrm>
                <a:custGeom>
                  <a:avLst/>
                  <a:gdLst>
                    <a:gd name="T0" fmla="*/ 1 w 24"/>
                    <a:gd name="T1" fmla="*/ 0 h 16"/>
                    <a:gd name="T2" fmla="*/ 1 w 24"/>
                    <a:gd name="T3" fmla="*/ 2 h 16"/>
                    <a:gd name="T4" fmla="*/ 1 w 24"/>
                    <a:gd name="T5" fmla="*/ 2 h 16"/>
                    <a:gd name="T6" fmla="*/ 0 w 24"/>
                    <a:gd name="T7" fmla="*/ 2 h 16"/>
                    <a:gd name="T8" fmla="*/ 1 w 24"/>
                    <a:gd name="T9" fmla="*/ 2 h 16"/>
                    <a:gd name="T10" fmla="*/ 1 w 24"/>
                    <a:gd name="T11" fmla="*/ 0 h 1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4"/>
                    <a:gd name="T19" fmla="*/ 0 h 16"/>
                    <a:gd name="T20" fmla="*/ 24 w 24"/>
                    <a:gd name="T21" fmla="*/ 16 h 1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4" h="16">
                      <a:moveTo>
                        <a:pt x="24" y="0"/>
                      </a:moveTo>
                      <a:lnTo>
                        <a:pt x="24" y="16"/>
                      </a:lnTo>
                      <a:lnTo>
                        <a:pt x="8" y="16"/>
                      </a:lnTo>
                      <a:lnTo>
                        <a:pt x="0" y="16"/>
                      </a:lnTo>
                      <a:lnTo>
                        <a:pt x="16" y="8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58" name="Rectangle 354"/>
                <p:cNvSpPr>
                  <a:spLocks noChangeAspect="1" noChangeArrowheads="1"/>
                </p:cNvSpPr>
                <p:nvPr/>
              </p:nvSpPr>
              <p:spPr bwMode="auto">
                <a:xfrm>
                  <a:off x="4989" y="2065"/>
                  <a:ext cx="6" cy="5"/>
                </a:xfrm>
                <a:prstGeom prst="rect">
                  <a:avLst/>
                </a:prstGeom>
                <a:grpFill/>
                <a:ln w="1270">
                  <a:solidFill>
                    <a:schemeClr val="bg1"/>
                  </a:solidFill>
                  <a:miter lim="800000"/>
                  <a:headEnd/>
                  <a:tailEnd/>
                </a:ln>
              </p:spPr>
              <p:txBody>
                <a:bodyPr/>
                <a:lstStyle>
                  <a:lvl1pPr>
                    <a:spcBef>
                      <a:spcPct val="50000"/>
                    </a:spcBef>
                    <a:buClr>
                      <a:schemeClr val="tx2"/>
                    </a:buClr>
                    <a:buSzPct val="70000"/>
                    <a:buFont typeface="Wingdings" pitchFamily="2" charset="2"/>
                    <a:buChar char="§"/>
                    <a:defRPr sz="3200">
                      <a:solidFill>
                        <a:srgbClr val="000000"/>
                      </a:solidFill>
                      <a:latin typeface="Arial" charset="0"/>
                    </a:defRPr>
                  </a:lvl1pPr>
                  <a:lvl2pPr marL="742950" indent="-285750">
                    <a:spcBef>
                      <a:spcPct val="50000"/>
                    </a:spcBef>
                    <a:buClr>
                      <a:schemeClr val="tx2"/>
                    </a:buClr>
                    <a:buSzPct val="70000"/>
                    <a:buFont typeface="Wingdings" pitchFamily="2" charset="2"/>
                    <a:buChar char="§"/>
                    <a:defRPr sz="2800">
                      <a:solidFill>
                        <a:srgbClr val="000000"/>
                      </a:solidFill>
                      <a:latin typeface="Arial" charset="0"/>
                    </a:defRPr>
                  </a:lvl2pPr>
                  <a:lvl3pPr marL="1143000" indent="-228600">
                    <a:spcBef>
                      <a:spcPct val="50000"/>
                    </a:spcBef>
                    <a:buClr>
                      <a:schemeClr val="tx2"/>
                    </a:buClr>
                    <a:buSzPct val="70000"/>
                    <a:buFont typeface="Wingdings" pitchFamily="2" charset="2"/>
                    <a:buChar char="§"/>
                    <a:defRPr sz="1600">
                      <a:solidFill>
                        <a:srgbClr val="000000"/>
                      </a:solidFill>
                      <a:latin typeface="Arial" charset="0"/>
                    </a:defRPr>
                  </a:lvl3pPr>
                  <a:lvl4pPr marL="1600200" indent="-228600">
                    <a:spcBef>
                      <a:spcPct val="50000"/>
                    </a:spcBef>
                    <a:buClr>
                      <a:schemeClr val="tx2"/>
                    </a:buClr>
                    <a:buSzPct val="70000"/>
                    <a:buFont typeface="Wingdings" pitchFamily="2" charset="2"/>
                    <a:buChar char="§"/>
                    <a:defRPr sz="1400">
                      <a:solidFill>
                        <a:srgbClr val="000000"/>
                      </a:solidFill>
                      <a:latin typeface="Arial" charset="0"/>
                    </a:defRPr>
                  </a:lvl4pPr>
                  <a:lvl5pPr marL="2057400" indent="-228600">
                    <a:spcBef>
                      <a:spcPct val="50000"/>
                    </a:spcBef>
                    <a:buClr>
                      <a:schemeClr val="tx2"/>
                    </a:buClr>
                    <a:buSzPct val="70000"/>
                    <a:buFont typeface="Wingdings" pitchFamily="2" charset="2"/>
                    <a:buChar char="§"/>
                    <a:defRPr sz="1400">
                      <a:solidFill>
                        <a:srgbClr val="000000"/>
                      </a:solidFill>
                      <a:latin typeface="Arial" charset="0"/>
                    </a:defRPr>
                  </a:lvl5pPr>
                  <a:lvl6pPr marL="2514600" indent="-2286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0000"/>
                    <a:buFont typeface="Wingdings" pitchFamily="2" charset="2"/>
                    <a:buChar char="§"/>
                    <a:defRPr sz="1400">
                      <a:solidFill>
                        <a:srgbClr val="000000"/>
                      </a:solidFill>
                      <a:latin typeface="Arial" charset="0"/>
                    </a:defRPr>
                  </a:lvl6pPr>
                  <a:lvl7pPr marL="2971800" indent="-2286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0000"/>
                    <a:buFont typeface="Wingdings" pitchFamily="2" charset="2"/>
                    <a:buChar char="§"/>
                    <a:defRPr sz="1400">
                      <a:solidFill>
                        <a:srgbClr val="000000"/>
                      </a:solidFill>
                      <a:latin typeface="Arial" charset="0"/>
                    </a:defRPr>
                  </a:lvl7pPr>
                  <a:lvl8pPr marL="3429000" indent="-2286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0000"/>
                    <a:buFont typeface="Wingdings" pitchFamily="2" charset="2"/>
                    <a:buChar char="§"/>
                    <a:defRPr sz="1400">
                      <a:solidFill>
                        <a:srgbClr val="000000"/>
                      </a:solidFill>
                      <a:latin typeface="Arial" charset="0"/>
                    </a:defRPr>
                  </a:lvl8pPr>
                  <a:lvl9pPr marL="3886200" indent="-228600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70000"/>
                    <a:buFont typeface="Wingdings" pitchFamily="2" charset="2"/>
                    <a:buChar char="§"/>
                    <a:defRPr sz="1400">
                      <a:solidFill>
                        <a:srgbClr val="000000"/>
                      </a:solidFill>
                      <a:latin typeface="Arial" charset="0"/>
                    </a:defRPr>
                  </a:lvl9pPr>
                </a:lstStyle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</a:pPr>
                  <a:endParaRPr lang="en-US" altLang="en-US" sz="1800">
                    <a:cs typeface="Arial" charset="0"/>
                  </a:endParaRPr>
                </a:p>
              </p:txBody>
            </p:sp>
            <p:sp>
              <p:nvSpPr>
                <p:cNvPr id="159" name="Freeform 355"/>
                <p:cNvSpPr>
                  <a:spLocks noChangeAspect="1"/>
                </p:cNvSpPr>
                <p:nvPr/>
              </p:nvSpPr>
              <p:spPr bwMode="auto">
                <a:xfrm>
                  <a:off x="4984" y="2076"/>
                  <a:ext cx="5" cy="11"/>
                </a:xfrm>
                <a:custGeom>
                  <a:avLst/>
                  <a:gdLst>
                    <a:gd name="T0" fmla="*/ 0 w 8"/>
                    <a:gd name="T1" fmla="*/ 1 h 16"/>
                    <a:gd name="T2" fmla="*/ 0 w 8"/>
                    <a:gd name="T3" fmla="*/ 0 h 16"/>
                    <a:gd name="T4" fmla="*/ 1 w 8"/>
                    <a:gd name="T5" fmla="*/ 0 h 16"/>
                    <a:gd name="T6" fmla="*/ 1 w 8"/>
                    <a:gd name="T7" fmla="*/ 1 h 16"/>
                    <a:gd name="T8" fmla="*/ 0 w 8"/>
                    <a:gd name="T9" fmla="*/ 1 h 16"/>
                    <a:gd name="T10" fmla="*/ 0 w 8"/>
                    <a:gd name="T11" fmla="*/ 1 h 1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8"/>
                    <a:gd name="T19" fmla="*/ 0 h 16"/>
                    <a:gd name="T20" fmla="*/ 8 w 8"/>
                    <a:gd name="T21" fmla="*/ 16 h 1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8" h="16">
                      <a:moveTo>
                        <a:pt x="0" y="8"/>
                      </a:moveTo>
                      <a:lnTo>
                        <a:pt x="0" y="0"/>
                      </a:lnTo>
                      <a:lnTo>
                        <a:pt x="8" y="0"/>
                      </a:lnTo>
                      <a:lnTo>
                        <a:pt x="8" y="8"/>
                      </a:lnTo>
                      <a:lnTo>
                        <a:pt x="0" y="16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60" name="Freeform 356"/>
                <p:cNvSpPr>
                  <a:spLocks noChangeAspect="1"/>
                </p:cNvSpPr>
                <p:nvPr/>
              </p:nvSpPr>
              <p:spPr bwMode="auto">
                <a:xfrm>
                  <a:off x="3065" y="1907"/>
                  <a:ext cx="79" cy="62"/>
                </a:xfrm>
                <a:custGeom>
                  <a:avLst/>
                  <a:gdLst>
                    <a:gd name="T0" fmla="*/ 0 w 112"/>
                    <a:gd name="T1" fmla="*/ 1 h 88"/>
                    <a:gd name="T2" fmla="*/ 1 w 112"/>
                    <a:gd name="T3" fmla="*/ 1 h 88"/>
                    <a:gd name="T4" fmla="*/ 1 w 112"/>
                    <a:gd name="T5" fmla="*/ 1 h 88"/>
                    <a:gd name="T6" fmla="*/ 1 w 112"/>
                    <a:gd name="T7" fmla="*/ 1 h 88"/>
                    <a:gd name="T8" fmla="*/ 1 w 112"/>
                    <a:gd name="T9" fmla="*/ 1 h 88"/>
                    <a:gd name="T10" fmla="*/ 1 w 112"/>
                    <a:gd name="T11" fmla="*/ 1 h 88"/>
                    <a:gd name="T12" fmla="*/ 1 w 112"/>
                    <a:gd name="T13" fmla="*/ 1 h 88"/>
                    <a:gd name="T14" fmla="*/ 1 w 112"/>
                    <a:gd name="T15" fmla="*/ 1 h 88"/>
                    <a:gd name="T16" fmla="*/ 1 w 112"/>
                    <a:gd name="T17" fmla="*/ 1 h 88"/>
                    <a:gd name="T18" fmla="*/ 1 w 112"/>
                    <a:gd name="T19" fmla="*/ 1 h 88"/>
                    <a:gd name="T20" fmla="*/ 1 w 112"/>
                    <a:gd name="T21" fmla="*/ 1 h 88"/>
                    <a:gd name="T22" fmla="*/ 1 w 112"/>
                    <a:gd name="T23" fmla="*/ 1 h 88"/>
                    <a:gd name="T24" fmla="*/ 1 w 112"/>
                    <a:gd name="T25" fmla="*/ 1 h 88"/>
                    <a:gd name="T26" fmla="*/ 1 w 112"/>
                    <a:gd name="T27" fmla="*/ 0 h 88"/>
                    <a:gd name="T28" fmla="*/ 1 w 112"/>
                    <a:gd name="T29" fmla="*/ 0 h 88"/>
                    <a:gd name="T30" fmla="*/ 0 w 112"/>
                    <a:gd name="T31" fmla="*/ 1 h 88"/>
                    <a:gd name="T32" fmla="*/ 0 w 112"/>
                    <a:gd name="T33" fmla="*/ 1 h 88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12"/>
                    <a:gd name="T52" fmla="*/ 0 h 88"/>
                    <a:gd name="T53" fmla="*/ 112 w 112"/>
                    <a:gd name="T54" fmla="*/ 88 h 88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12" h="88">
                      <a:moveTo>
                        <a:pt x="0" y="48"/>
                      </a:moveTo>
                      <a:lnTo>
                        <a:pt x="16" y="56"/>
                      </a:lnTo>
                      <a:lnTo>
                        <a:pt x="24" y="56"/>
                      </a:lnTo>
                      <a:lnTo>
                        <a:pt x="32" y="72"/>
                      </a:lnTo>
                      <a:lnTo>
                        <a:pt x="40" y="72"/>
                      </a:lnTo>
                      <a:lnTo>
                        <a:pt x="48" y="80"/>
                      </a:lnTo>
                      <a:lnTo>
                        <a:pt x="64" y="88"/>
                      </a:lnTo>
                      <a:lnTo>
                        <a:pt x="72" y="80"/>
                      </a:lnTo>
                      <a:lnTo>
                        <a:pt x="72" y="72"/>
                      </a:lnTo>
                      <a:lnTo>
                        <a:pt x="88" y="64"/>
                      </a:lnTo>
                      <a:lnTo>
                        <a:pt x="96" y="48"/>
                      </a:lnTo>
                      <a:lnTo>
                        <a:pt x="112" y="32"/>
                      </a:lnTo>
                      <a:lnTo>
                        <a:pt x="88" y="8"/>
                      </a:lnTo>
                      <a:lnTo>
                        <a:pt x="56" y="0"/>
                      </a:lnTo>
                      <a:lnTo>
                        <a:pt x="8" y="0"/>
                      </a:lnTo>
                      <a:lnTo>
                        <a:pt x="0" y="8"/>
                      </a:lnTo>
                      <a:lnTo>
                        <a:pt x="0" y="4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61" name="Freeform 357"/>
                <p:cNvSpPr>
                  <a:spLocks noChangeAspect="1"/>
                </p:cNvSpPr>
                <p:nvPr/>
              </p:nvSpPr>
              <p:spPr bwMode="auto">
                <a:xfrm>
                  <a:off x="3048" y="1941"/>
                  <a:ext cx="39" cy="23"/>
                </a:xfrm>
                <a:custGeom>
                  <a:avLst/>
                  <a:gdLst>
                    <a:gd name="T0" fmla="*/ 1 w 56"/>
                    <a:gd name="T1" fmla="*/ 1 h 32"/>
                    <a:gd name="T2" fmla="*/ 1 w 56"/>
                    <a:gd name="T3" fmla="*/ 1 h 32"/>
                    <a:gd name="T4" fmla="*/ 1 w 56"/>
                    <a:gd name="T5" fmla="*/ 1 h 32"/>
                    <a:gd name="T6" fmla="*/ 0 w 56"/>
                    <a:gd name="T7" fmla="*/ 1 h 32"/>
                    <a:gd name="T8" fmla="*/ 0 w 56"/>
                    <a:gd name="T9" fmla="*/ 1 h 32"/>
                    <a:gd name="T10" fmla="*/ 0 w 56"/>
                    <a:gd name="T11" fmla="*/ 1 h 32"/>
                    <a:gd name="T12" fmla="*/ 1 w 56"/>
                    <a:gd name="T13" fmla="*/ 1 h 32"/>
                    <a:gd name="T14" fmla="*/ 1 w 56"/>
                    <a:gd name="T15" fmla="*/ 0 h 32"/>
                    <a:gd name="T16" fmla="*/ 1 w 56"/>
                    <a:gd name="T17" fmla="*/ 1 h 32"/>
                    <a:gd name="T18" fmla="*/ 1 w 56"/>
                    <a:gd name="T19" fmla="*/ 1 h 32"/>
                    <a:gd name="T20" fmla="*/ 1 w 56"/>
                    <a:gd name="T21" fmla="*/ 1 h 32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56"/>
                    <a:gd name="T34" fmla="*/ 0 h 32"/>
                    <a:gd name="T35" fmla="*/ 56 w 56"/>
                    <a:gd name="T36" fmla="*/ 32 h 32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56" h="32">
                      <a:moveTo>
                        <a:pt x="56" y="24"/>
                      </a:moveTo>
                      <a:lnTo>
                        <a:pt x="32" y="32"/>
                      </a:lnTo>
                      <a:lnTo>
                        <a:pt x="8" y="24"/>
                      </a:lnTo>
                      <a:lnTo>
                        <a:pt x="0" y="24"/>
                      </a:lnTo>
                      <a:lnTo>
                        <a:pt x="0" y="16"/>
                      </a:lnTo>
                      <a:lnTo>
                        <a:pt x="0" y="8"/>
                      </a:lnTo>
                      <a:lnTo>
                        <a:pt x="24" y="8"/>
                      </a:lnTo>
                      <a:lnTo>
                        <a:pt x="24" y="0"/>
                      </a:lnTo>
                      <a:lnTo>
                        <a:pt x="40" y="8"/>
                      </a:lnTo>
                      <a:lnTo>
                        <a:pt x="48" y="8"/>
                      </a:lnTo>
                      <a:lnTo>
                        <a:pt x="56" y="24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62" name="Freeform 358"/>
                <p:cNvSpPr>
                  <a:spLocks noChangeAspect="1"/>
                </p:cNvSpPr>
                <p:nvPr/>
              </p:nvSpPr>
              <p:spPr bwMode="auto">
                <a:xfrm>
                  <a:off x="3093" y="1823"/>
                  <a:ext cx="62" cy="51"/>
                </a:xfrm>
                <a:custGeom>
                  <a:avLst/>
                  <a:gdLst>
                    <a:gd name="T0" fmla="*/ 1 w 88"/>
                    <a:gd name="T1" fmla="*/ 1 h 72"/>
                    <a:gd name="T2" fmla="*/ 1 w 88"/>
                    <a:gd name="T3" fmla="*/ 1 h 72"/>
                    <a:gd name="T4" fmla="*/ 1 w 88"/>
                    <a:gd name="T5" fmla="*/ 1 h 72"/>
                    <a:gd name="T6" fmla="*/ 1 w 88"/>
                    <a:gd name="T7" fmla="*/ 1 h 72"/>
                    <a:gd name="T8" fmla="*/ 1 w 88"/>
                    <a:gd name="T9" fmla="*/ 1 h 72"/>
                    <a:gd name="T10" fmla="*/ 1 w 88"/>
                    <a:gd name="T11" fmla="*/ 1 h 72"/>
                    <a:gd name="T12" fmla="*/ 1 w 88"/>
                    <a:gd name="T13" fmla="*/ 1 h 72"/>
                    <a:gd name="T14" fmla="*/ 1 w 88"/>
                    <a:gd name="T15" fmla="*/ 1 h 72"/>
                    <a:gd name="T16" fmla="*/ 1 w 88"/>
                    <a:gd name="T17" fmla="*/ 1 h 72"/>
                    <a:gd name="T18" fmla="*/ 0 w 88"/>
                    <a:gd name="T19" fmla="*/ 1 h 72"/>
                    <a:gd name="T20" fmla="*/ 1 w 88"/>
                    <a:gd name="T21" fmla="*/ 1 h 72"/>
                    <a:gd name="T22" fmla="*/ 1 w 88"/>
                    <a:gd name="T23" fmla="*/ 0 h 72"/>
                    <a:gd name="T24" fmla="*/ 1 w 88"/>
                    <a:gd name="T25" fmla="*/ 1 h 72"/>
                    <a:gd name="T26" fmla="*/ 1 w 88"/>
                    <a:gd name="T27" fmla="*/ 0 h 72"/>
                    <a:gd name="T28" fmla="*/ 1 w 88"/>
                    <a:gd name="T29" fmla="*/ 0 h 72"/>
                    <a:gd name="T30" fmla="*/ 1 w 88"/>
                    <a:gd name="T31" fmla="*/ 1 h 72"/>
                    <a:gd name="T32" fmla="*/ 1 w 88"/>
                    <a:gd name="T33" fmla="*/ 1 h 72"/>
                    <a:gd name="T34" fmla="*/ 1 w 88"/>
                    <a:gd name="T35" fmla="*/ 1 h 72"/>
                    <a:gd name="T36" fmla="*/ 1 w 88"/>
                    <a:gd name="T37" fmla="*/ 1 h 72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88"/>
                    <a:gd name="T58" fmla="*/ 0 h 72"/>
                    <a:gd name="T59" fmla="*/ 88 w 88"/>
                    <a:gd name="T60" fmla="*/ 72 h 72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88" h="72">
                      <a:moveTo>
                        <a:pt x="88" y="72"/>
                      </a:moveTo>
                      <a:lnTo>
                        <a:pt x="64" y="72"/>
                      </a:lnTo>
                      <a:lnTo>
                        <a:pt x="56" y="72"/>
                      </a:lnTo>
                      <a:lnTo>
                        <a:pt x="48" y="64"/>
                      </a:lnTo>
                      <a:lnTo>
                        <a:pt x="40" y="56"/>
                      </a:lnTo>
                      <a:lnTo>
                        <a:pt x="24" y="64"/>
                      </a:lnTo>
                      <a:lnTo>
                        <a:pt x="24" y="56"/>
                      </a:lnTo>
                      <a:lnTo>
                        <a:pt x="8" y="48"/>
                      </a:lnTo>
                      <a:lnTo>
                        <a:pt x="8" y="32"/>
                      </a:lnTo>
                      <a:lnTo>
                        <a:pt x="0" y="24"/>
                      </a:lnTo>
                      <a:lnTo>
                        <a:pt x="8" y="24"/>
                      </a:lnTo>
                      <a:lnTo>
                        <a:pt x="24" y="0"/>
                      </a:lnTo>
                      <a:lnTo>
                        <a:pt x="40" y="8"/>
                      </a:lnTo>
                      <a:lnTo>
                        <a:pt x="56" y="0"/>
                      </a:lnTo>
                      <a:lnTo>
                        <a:pt x="64" y="0"/>
                      </a:lnTo>
                      <a:lnTo>
                        <a:pt x="88" y="8"/>
                      </a:lnTo>
                      <a:lnTo>
                        <a:pt x="80" y="40"/>
                      </a:lnTo>
                      <a:lnTo>
                        <a:pt x="88" y="56"/>
                      </a:lnTo>
                      <a:lnTo>
                        <a:pt x="88" y="72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63" name="Freeform 359"/>
                <p:cNvSpPr>
                  <a:spLocks noChangeAspect="1"/>
                </p:cNvSpPr>
                <p:nvPr/>
              </p:nvSpPr>
              <p:spPr bwMode="auto">
                <a:xfrm>
                  <a:off x="3059" y="1862"/>
                  <a:ext cx="101" cy="68"/>
                </a:xfrm>
                <a:custGeom>
                  <a:avLst/>
                  <a:gdLst>
                    <a:gd name="T0" fmla="*/ 1 w 144"/>
                    <a:gd name="T1" fmla="*/ 1 h 96"/>
                    <a:gd name="T2" fmla="*/ 1 w 144"/>
                    <a:gd name="T3" fmla="*/ 1 h 96"/>
                    <a:gd name="T4" fmla="*/ 1 w 144"/>
                    <a:gd name="T5" fmla="*/ 1 h 96"/>
                    <a:gd name="T6" fmla="*/ 1 w 144"/>
                    <a:gd name="T7" fmla="*/ 1 h 96"/>
                    <a:gd name="T8" fmla="*/ 1 w 144"/>
                    <a:gd name="T9" fmla="*/ 1 h 96"/>
                    <a:gd name="T10" fmla="*/ 1 w 144"/>
                    <a:gd name="T11" fmla="*/ 1 h 96"/>
                    <a:gd name="T12" fmla="*/ 1 w 144"/>
                    <a:gd name="T13" fmla="*/ 1 h 96"/>
                    <a:gd name="T14" fmla="*/ 1 w 144"/>
                    <a:gd name="T15" fmla="*/ 0 h 96"/>
                    <a:gd name="T16" fmla="*/ 1 w 144"/>
                    <a:gd name="T17" fmla="*/ 1 h 96"/>
                    <a:gd name="T18" fmla="*/ 1 w 144"/>
                    <a:gd name="T19" fmla="*/ 1 h 96"/>
                    <a:gd name="T20" fmla="*/ 1 w 144"/>
                    <a:gd name="T21" fmla="*/ 1 h 96"/>
                    <a:gd name="T22" fmla="*/ 1 w 144"/>
                    <a:gd name="T23" fmla="*/ 1 h 96"/>
                    <a:gd name="T24" fmla="*/ 1 w 144"/>
                    <a:gd name="T25" fmla="*/ 1 h 96"/>
                    <a:gd name="T26" fmla="*/ 1 w 144"/>
                    <a:gd name="T27" fmla="*/ 1 h 96"/>
                    <a:gd name="T28" fmla="*/ 1 w 144"/>
                    <a:gd name="T29" fmla="*/ 1 h 96"/>
                    <a:gd name="T30" fmla="*/ 1 w 144"/>
                    <a:gd name="T31" fmla="*/ 1 h 96"/>
                    <a:gd name="T32" fmla="*/ 1 w 144"/>
                    <a:gd name="T33" fmla="*/ 1 h 96"/>
                    <a:gd name="T34" fmla="*/ 0 w 144"/>
                    <a:gd name="T35" fmla="*/ 1 h 96"/>
                    <a:gd name="T36" fmla="*/ 0 w 144"/>
                    <a:gd name="T37" fmla="*/ 1 h 96"/>
                    <a:gd name="T38" fmla="*/ 1 w 144"/>
                    <a:gd name="T39" fmla="*/ 1 h 96"/>
                    <a:gd name="T40" fmla="*/ 1 w 144"/>
                    <a:gd name="T41" fmla="*/ 1 h 96"/>
                    <a:gd name="T42" fmla="*/ 1 w 144"/>
                    <a:gd name="T43" fmla="*/ 1 h 96"/>
                    <a:gd name="T44" fmla="*/ 1 w 144"/>
                    <a:gd name="T45" fmla="*/ 1 h 96"/>
                    <a:gd name="T46" fmla="*/ 1 w 144"/>
                    <a:gd name="T47" fmla="*/ 1 h 96"/>
                    <a:gd name="T48" fmla="*/ 1 w 144"/>
                    <a:gd name="T49" fmla="*/ 1 h 96"/>
                    <a:gd name="T50" fmla="*/ 1 w 144"/>
                    <a:gd name="T51" fmla="*/ 1 h 9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144"/>
                    <a:gd name="T79" fmla="*/ 0 h 96"/>
                    <a:gd name="T80" fmla="*/ 144 w 144"/>
                    <a:gd name="T81" fmla="*/ 96 h 9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144" h="96">
                      <a:moveTo>
                        <a:pt x="144" y="72"/>
                      </a:moveTo>
                      <a:lnTo>
                        <a:pt x="144" y="48"/>
                      </a:lnTo>
                      <a:lnTo>
                        <a:pt x="136" y="40"/>
                      </a:lnTo>
                      <a:lnTo>
                        <a:pt x="136" y="16"/>
                      </a:lnTo>
                      <a:lnTo>
                        <a:pt x="112" y="16"/>
                      </a:lnTo>
                      <a:lnTo>
                        <a:pt x="104" y="16"/>
                      </a:lnTo>
                      <a:lnTo>
                        <a:pt x="96" y="8"/>
                      </a:lnTo>
                      <a:lnTo>
                        <a:pt x="88" y="0"/>
                      </a:lnTo>
                      <a:lnTo>
                        <a:pt x="72" y="8"/>
                      </a:lnTo>
                      <a:lnTo>
                        <a:pt x="72" y="16"/>
                      </a:lnTo>
                      <a:lnTo>
                        <a:pt x="72" y="40"/>
                      </a:lnTo>
                      <a:lnTo>
                        <a:pt x="56" y="48"/>
                      </a:lnTo>
                      <a:lnTo>
                        <a:pt x="48" y="32"/>
                      </a:lnTo>
                      <a:lnTo>
                        <a:pt x="40" y="16"/>
                      </a:lnTo>
                      <a:lnTo>
                        <a:pt x="24" y="24"/>
                      </a:lnTo>
                      <a:lnTo>
                        <a:pt x="8" y="24"/>
                      </a:lnTo>
                      <a:lnTo>
                        <a:pt x="16" y="48"/>
                      </a:lnTo>
                      <a:lnTo>
                        <a:pt x="0" y="56"/>
                      </a:lnTo>
                      <a:lnTo>
                        <a:pt x="0" y="64"/>
                      </a:lnTo>
                      <a:lnTo>
                        <a:pt x="8" y="72"/>
                      </a:lnTo>
                      <a:lnTo>
                        <a:pt x="16" y="64"/>
                      </a:lnTo>
                      <a:lnTo>
                        <a:pt x="64" y="64"/>
                      </a:lnTo>
                      <a:lnTo>
                        <a:pt x="96" y="72"/>
                      </a:lnTo>
                      <a:lnTo>
                        <a:pt x="120" y="96"/>
                      </a:lnTo>
                      <a:lnTo>
                        <a:pt x="128" y="96"/>
                      </a:lnTo>
                      <a:lnTo>
                        <a:pt x="144" y="72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164" name="Freeform 360"/>
                <p:cNvSpPr>
                  <a:spLocks noChangeAspect="1"/>
                </p:cNvSpPr>
                <p:nvPr/>
              </p:nvSpPr>
              <p:spPr bwMode="auto">
                <a:xfrm>
                  <a:off x="3053" y="2228"/>
                  <a:ext cx="102" cy="45"/>
                </a:xfrm>
                <a:custGeom>
                  <a:avLst/>
                  <a:gdLst>
                    <a:gd name="T0" fmla="*/ 1 w 144"/>
                    <a:gd name="T1" fmla="*/ 0 h 64"/>
                    <a:gd name="T2" fmla="*/ 1 w 144"/>
                    <a:gd name="T3" fmla="*/ 0 h 64"/>
                    <a:gd name="T4" fmla="*/ 1 w 144"/>
                    <a:gd name="T5" fmla="*/ 0 h 64"/>
                    <a:gd name="T6" fmla="*/ 1 w 144"/>
                    <a:gd name="T7" fmla="*/ 1 h 64"/>
                    <a:gd name="T8" fmla="*/ 1 w 144"/>
                    <a:gd name="T9" fmla="*/ 1 h 64"/>
                    <a:gd name="T10" fmla="*/ 1 w 144"/>
                    <a:gd name="T11" fmla="*/ 1 h 64"/>
                    <a:gd name="T12" fmla="*/ 1 w 144"/>
                    <a:gd name="T13" fmla="*/ 1 h 64"/>
                    <a:gd name="T14" fmla="*/ 1 w 144"/>
                    <a:gd name="T15" fmla="*/ 1 h 64"/>
                    <a:gd name="T16" fmla="*/ 1 w 144"/>
                    <a:gd name="T17" fmla="*/ 1 h 64"/>
                    <a:gd name="T18" fmla="*/ 1 w 144"/>
                    <a:gd name="T19" fmla="*/ 1 h 64"/>
                    <a:gd name="T20" fmla="*/ 1 w 144"/>
                    <a:gd name="T21" fmla="*/ 1 h 64"/>
                    <a:gd name="T22" fmla="*/ 1 w 144"/>
                    <a:gd name="T23" fmla="*/ 1 h 64"/>
                    <a:gd name="T24" fmla="*/ 1 w 144"/>
                    <a:gd name="T25" fmla="*/ 1 h 64"/>
                    <a:gd name="T26" fmla="*/ 1 w 144"/>
                    <a:gd name="T27" fmla="*/ 1 h 64"/>
                    <a:gd name="T28" fmla="*/ 0 w 144"/>
                    <a:gd name="T29" fmla="*/ 1 h 64"/>
                    <a:gd name="T30" fmla="*/ 1 w 144"/>
                    <a:gd name="T31" fmla="*/ 0 h 64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44"/>
                    <a:gd name="T49" fmla="*/ 0 h 64"/>
                    <a:gd name="T50" fmla="*/ 144 w 144"/>
                    <a:gd name="T51" fmla="*/ 64 h 64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44" h="64">
                      <a:moveTo>
                        <a:pt x="144" y="0"/>
                      </a:moveTo>
                      <a:lnTo>
                        <a:pt x="136" y="0"/>
                      </a:lnTo>
                      <a:lnTo>
                        <a:pt x="120" y="0"/>
                      </a:lnTo>
                      <a:lnTo>
                        <a:pt x="112" y="16"/>
                      </a:lnTo>
                      <a:lnTo>
                        <a:pt x="104" y="16"/>
                      </a:lnTo>
                      <a:lnTo>
                        <a:pt x="96" y="16"/>
                      </a:lnTo>
                      <a:lnTo>
                        <a:pt x="80" y="8"/>
                      </a:lnTo>
                      <a:lnTo>
                        <a:pt x="72" y="16"/>
                      </a:lnTo>
                      <a:lnTo>
                        <a:pt x="56" y="16"/>
                      </a:lnTo>
                      <a:lnTo>
                        <a:pt x="48" y="16"/>
                      </a:lnTo>
                      <a:lnTo>
                        <a:pt x="40" y="32"/>
                      </a:lnTo>
                      <a:lnTo>
                        <a:pt x="16" y="32"/>
                      </a:lnTo>
                      <a:lnTo>
                        <a:pt x="16" y="40"/>
                      </a:lnTo>
                      <a:lnTo>
                        <a:pt x="8" y="56"/>
                      </a:lnTo>
                      <a:lnTo>
                        <a:pt x="0" y="64"/>
                      </a:lnTo>
                      <a:lnTo>
                        <a:pt x="144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</p:grpSp>
          <p:grpSp>
            <p:nvGrpSpPr>
              <p:cNvPr id="22" name="Group 361"/>
              <p:cNvGrpSpPr>
                <a:grpSpLocks noChangeAspect="1"/>
              </p:cNvGrpSpPr>
              <p:nvPr/>
            </p:nvGrpSpPr>
            <p:grpSpPr bwMode="auto">
              <a:xfrm>
                <a:off x="2513" y="2042"/>
                <a:ext cx="884" cy="636"/>
                <a:chOff x="2513" y="2042"/>
                <a:chExt cx="884" cy="636"/>
              </a:xfrm>
              <a:grpFill/>
            </p:grpSpPr>
            <p:sp>
              <p:nvSpPr>
                <p:cNvPr id="23" name="Freeform 362"/>
                <p:cNvSpPr>
                  <a:spLocks noChangeAspect="1"/>
                </p:cNvSpPr>
                <p:nvPr/>
              </p:nvSpPr>
              <p:spPr bwMode="auto">
                <a:xfrm>
                  <a:off x="2958" y="2132"/>
                  <a:ext cx="79" cy="90"/>
                </a:xfrm>
                <a:custGeom>
                  <a:avLst/>
                  <a:gdLst>
                    <a:gd name="T0" fmla="*/ 1 w 112"/>
                    <a:gd name="T1" fmla="*/ 1 h 128"/>
                    <a:gd name="T2" fmla="*/ 1 w 112"/>
                    <a:gd name="T3" fmla="*/ 1 h 128"/>
                    <a:gd name="T4" fmla="*/ 1 w 112"/>
                    <a:gd name="T5" fmla="*/ 1 h 128"/>
                    <a:gd name="T6" fmla="*/ 1 w 112"/>
                    <a:gd name="T7" fmla="*/ 1 h 128"/>
                    <a:gd name="T8" fmla="*/ 1 w 112"/>
                    <a:gd name="T9" fmla="*/ 1 h 128"/>
                    <a:gd name="T10" fmla="*/ 1 w 112"/>
                    <a:gd name="T11" fmla="*/ 1 h 128"/>
                    <a:gd name="T12" fmla="*/ 1 w 112"/>
                    <a:gd name="T13" fmla="*/ 1 h 128"/>
                    <a:gd name="T14" fmla="*/ 1 w 112"/>
                    <a:gd name="T15" fmla="*/ 1 h 128"/>
                    <a:gd name="T16" fmla="*/ 1 w 112"/>
                    <a:gd name="T17" fmla="*/ 1 h 128"/>
                    <a:gd name="T18" fmla="*/ 1 w 112"/>
                    <a:gd name="T19" fmla="*/ 1 h 128"/>
                    <a:gd name="T20" fmla="*/ 1 w 112"/>
                    <a:gd name="T21" fmla="*/ 1 h 128"/>
                    <a:gd name="T22" fmla="*/ 0 w 112"/>
                    <a:gd name="T23" fmla="*/ 1 h 128"/>
                    <a:gd name="T24" fmla="*/ 0 w 112"/>
                    <a:gd name="T25" fmla="*/ 1 h 128"/>
                    <a:gd name="T26" fmla="*/ 1 w 112"/>
                    <a:gd name="T27" fmla="*/ 1 h 128"/>
                    <a:gd name="T28" fmla="*/ 1 w 112"/>
                    <a:gd name="T29" fmla="*/ 1 h 128"/>
                    <a:gd name="T30" fmla="*/ 1 w 112"/>
                    <a:gd name="T31" fmla="*/ 1 h 128"/>
                    <a:gd name="T32" fmla="*/ 1 w 112"/>
                    <a:gd name="T33" fmla="*/ 1 h 128"/>
                    <a:gd name="T34" fmla="*/ 1 w 112"/>
                    <a:gd name="T35" fmla="*/ 0 h 128"/>
                    <a:gd name="T36" fmla="*/ 1 w 112"/>
                    <a:gd name="T37" fmla="*/ 1 h 128"/>
                    <a:gd name="T38" fmla="*/ 1 w 112"/>
                    <a:gd name="T39" fmla="*/ 1 h 128"/>
                    <a:gd name="T40" fmla="*/ 1 w 112"/>
                    <a:gd name="T41" fmla="*/ 1 h 128"/>
                    <a:gd name="T42" fmla="*/ 1 w 112"/>
                    <a:gd name="T43" fmla="*/ 1 h 128"/>
                    <a:gd name="T44" fmla="*/ 1 w 112"/>
                    <a:gd name="T45" fmla="*/ 1 h 128"/>
                    <a:gd name="T46" fmla="*/ 1 w 112"/>
                    <a:gd name="T47" fmla="*/ 1 h 128"/>
                    <a:gd name="T48" fmla="*/ 1 w 112"/>
                    <a:gd name="T49" fmla="*/ 1 h 128"/>
                    <a:gd name="T50" fmla="*/ 1 w 112"/>
                    <a:gd name="T51" fmla="*/ 1 h 128"/>
                    <a:gd name="T52" fmla="*/ 1 w 112"/>
                    <a:gd name="T53" fmla="*/ 1 h 128"/>
                    <a:gd name="T54" fmla="*/ 1 w 112"/>
                    <a:gd name="T55" fmla="*/ 1 h 128"/>
                    <a:gd name="T56" fmla="*/ 1 w 112"/>
                    <a:gd name="T57" fmla="*/ 1 h 128"/>
                    <a:gd name="T58" fmla="*/ 1 w 112"/>
                    <a:gd name="T59" fmla="*/ 1 h 128"/>
                    <a:gd name="T60" fmla="*/ 1 w 112"/>
                    <a:gd name="T61" fmla="*/ 1 h 128"/>
                    <a:gd name="T62" fmla="*/ 1 w 112"/>
                    <a:gd name="T63" fmla="*/ 1 h 128"/>
                    <a:gd name="T64" fmla="*/ 1 w 112"/>
                    <a:gd name="T65" fmla="*/ 1 h 128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112"/>
                    <a:gd name="T100" fmla="*/ 0 h 128"/>
                    <a:gd name="T101" fmla="*/ 112 w 112"/>
                    <a:gd name="T102" fmla="*/ 128 h 128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112" h="128">
                      <a:moveTo>
                        <a:pt x="96" y="128"/>
                      </a:moveTo>
                      <a:lnTo>
                        <a:pt x="80" y="120"/>
                      </a:lnTo>
                      <a:lnTo>
                        <a:pt x="80" y="112"/>
                      </a:lnTo>
                      <a:lnTo>
                        <a:pt x="56" y="96"/>
                      </a:lnTo>
                      <a:lnTo>
                        <a:pt x="40" y="88"/>
                      </a:lnTo>
                      <a:lnTo>
                        <a:pt x="32" y="80"/>
                      </a:lnTo>
                      <a:lnTo>
                        <a:pt x="32" y="64"/>
                      </a:lnTo>
                      <a:lnTo>
                        <a:pt x="24" y="64"/>
                      </a:lnTo>
                      <a:lnTo>
                        <a:pt x="16" y="48"/>
                      </a:lnTo>
                      <a:lnTo>
                        <a:pt x="8" y="56"/>
                      </a:lnTo>
                      <a:lnTo>
                        <a:pt x="8" y="64"/>
                      </a:lnTo>
                      <a:lnTo>
                        <a:pt x="0" y="48"/>
                      </a:lnTo>
                      <a:lnTo>
                        <a:pt x="0" y="40"/>
                      </a:lnTo>
                      <a:lnTo>
                        <a:pt x="8" y="32"/>
                      </a:lnTo>
                      <a:lnTo>
                        <a:pt x="40" y="32"/>
                      </a:lnTo>
                      <a:lnTo>
                        <a:pt x="48" y="16"/>
                      </a:lnTo>
                      <a:lnTo>
                        <a:pt x="48" y="8"/>
                      </a:lnTo>
                      <a:lnTo>
                        <a:pt x="56" y="0"/>
                      </a:lnTo>
                      <a:lnTo>
                        <a:pt x="64" y="8"/>
                      </a:lnTo>
                      <a:lnTo>
                        <a:pt x="80" y="24"/>
                      </a:lnTo>
                      <a:lnTo>
                        <a:pt x="104" y="32"/>
                      </a:lnTo>
                      <a:lnTo>
                        <a:pt x="112" y="48"/>
                      </a:lnTo>
                      <a:lnTo>
                        <a:pt x="88" y="48"/>
                      </a:lnTo>
                      <a:lnTo>
                        <a:pt x="72" y="40"/>
                      </a:lnTo>
                      <a:lnTo>
                        <a:pt x="64" y="48"/>
                      </a:lnTo>
                      <a:lnTo>
                        <a:pt x="56" y="56"/>
                      </a:lnTo>
                      <a:lnTo>
                        <a:pt x="48" y="56"/>
                      </a:lnTo>
                      <a:lnTo>
                        <a:pt x="48" y="72"/>
                      </a:lnTo>
                      <a:lnTo>
                        <a:pt x="64" y="88"/>
                      </a:lnTo>
                      <a:lnTo>
                        <a:pt x="80" y="104"/>
                      </a:lnTo>
                      <a:lnTo>
                        <a:pt x="88" y="120"/>
                      </a:lnTo>
                      <a:lnTo>
                        <a:pt x="96" y="120"/>
                      </a:lnTo>
                      <a:lnTo>
                        <a:pt x="96" y="12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4" name="Freeform 363"/>
                <p:cNvSpPr>
                  <a:spLocks noChangeAspect="1"/>
                </p:cNvSpPr>
                <p:nvPr/>
              </p:nvSpPr>
              <p:spPr bwMode="auto">
                <a:xfrm>
                  <a:off x="2992" y="2160"/>
                  <a:ext cx="50" cy="57"/>
                </a:xfrm>
                <a:custGeom>
                  <a:avLst/>
                  <a:gdLst>
                    <a:gd name="T0" fmla="*/ 1 w 72"/>
                    <a:gd name="T1" fmla="*/ 1 h 80"/>
                    <a:gd name="T2" fmla="*/ 1 w 72"/>
                    <a:gd name="T3" fmla="*/ 1 h 80"/>
                    <a:gd name="T4" fmla="*/ 1 w 72"/>
                    <a:gd name="T5" fmla="*/ 1 h 80"/>
                    <a:gd name="T6" fmla="*/ 1 w 72"/>
                    <a:gd name="T7" fmla="*/ 1 h 80"/>
                    <a:gd name="T8" fmla="*/ 0 w 72"/>
                    <a:gd name="T9" fmla="*/ 1 h 80"/>
                    <a:gd name="T10" fmla="*/ 0 w 72"/>
                    <a:gd name="T11" fmla="*/ 1 h 80"/>
                    <a:gd name="T12" fmla="*/ 1 w 72"/>
                    <a:gd name="T13" fmla="*/ 1 h 80"/>
                    <a:gd name="T14" fmla="*/ 1 w 72"/>
                    <a:gd name="T15" fmla="*/ 1 h 80"/>
                    <a:gd name="T16" fmla="*/ 1 w 72"/>
                    <a:gd name="T17" fmla="*/ 0 h 80"/>
                    <a:gd name="T18" fmla="*/ 1 w 72"/>
                    <a:gd name="T19" fmla="*/ 1 h 80"/>
                    <a:gd name="T20" fmla="*/ 1 w 72"/>
                    <a:gd name="T21" fmla="*/ 1 h 80"/>
                    <a:gd name="T22" fmla="*/ 1 w 72"/>
                    <a:gd name="T23" fmla="*/ 1 h 80"/>
                    <a:gd name="T24" fmla="*/ 1 w 72"/>
                    <a:gd name="T25" fmla="*/ 1 h 80"/>
                    <a:gd name="T26" fmla="*/ 1 w 72"/>
                    <a:gd name="T27" fmla="*/ 1 h 80"/>
                    <a:gd name="T28" fmla="*/ 1 w 72"/>
                    <a:gd name="T29" fmla="*/ 1 h 80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72"/>
                    <a:gd name="T46" fmla="*/ 0 h 80"/>
                    <a:gd name="T47" fmla="*/ 72 w 72"/>
                    <a:gd name="T48" fmla="*/ 80 h 80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72" h="80">
                      <a:moveTo>
                        <a:pt x="48" y="80"/>
                      </a:moveTo>
                      <a:lnTo>
                        <a:pt x="40" y="80"/>
                      </a:lnTo>
                      <a:lnTo>
                        <a:pt x="32" y="64"/>
                      </a:lnTo>
                      <a:lnTo>
                        <a:pt x="16" y="48"/>
                      </a:lnTo>
                      <a:lnTo>
                        <a:pt x="0" y="32"/>
                      </a:lnTo>
                      <a:lnTo>
                        <a:pt x="0" y="16"/>
                      </a:lnTo>
                      <a:lnTo>
                        <a:pt x="8" y="16"/>
                      </a:lnTo>
                      <a:lnTo>
                        <a:pt x="16" y="8"/>
                      </a:lnTo>
                      <a:lnTo>
                        <a:pt x="24" y="0"/>
                      </a:lnTo>
                      <a:lnTo>
                        <a:pt x="40" y="8"/>
                      </a:lnTo>
                      <a:lnTo>
                        <a:pt x="64" y="8"/>
                      </a:lnTo>
                      <a:lnTo>
                        <a:pt x="64" y="24"/>
                      </a:lnTo>
                      <a:lnTo>
                        <a:pt x="72" y="48"/>
                      </a:lnTo>
                      <a:lnTo>
                        <a:pt x="56" y="72"/>
                      </a:lnTo>
                      <a:lnTo>
                        <a:pt x="48" y="8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5" name="Freeform 364"/>
                <p:cNvSpPr>
                  <a:spLocks noChangeAspect="1"/>
                </p:cNvSpPr>
                <p:nvPr/>
              </p:nvSpPr>
              <p:spPr bwMode="auto">
                <a:xfrm>
                  <a:off x="3138" y="2228"/>
                  <a:ext cx="259" cy="118"/>
                </a:xfrm>
                <a:custGeom>
                  <a:avLst/>
                  <a:gdLst>
                    <a:gd name="T0" fmla="*/ 1 w 368"/>
                    <a:gd name="T1" fmla="*/ 1 h 168"/>
                    <a:gd name="T2" fmla="*/ 1 w 368"/>
                    <a:gd name="T3" fmla="*/ 1 h 168"/>
                    <a:gd name="T4" fmla="*/ 1 w 368"/>
                    <a:gd name="T5" fmla="*/ 1 h 168"/>
                    <a:gd name="T6" fmla="*/ 1 w 368"/>
                    <a:gd name="T7" fmla="*/ 1 h 168"/>
                    <a:gd name="T8" fmla="*/ 1 w 368"/>
                    <a:gd name="T9" fmla="*/ 1 h 168"/>
                    <a:gd name="T10" fmla="*/ 1 w 368"/>
                    <a:gd name="T11" fmla="*/ 1 h 168"/>
                    <a:gd name="T12" fmla="*/ 1 w 368"/>
                    <a:gd name="T13" fmla="*/ 1 h 168"/>
                    <a:gd name="T14" fmla="*/ 1 w 368"/>
                    <a:gd name="T15" fmla="*/ 1 h 168"/>
                    <a:gd name="T16" fmla="*/ 1 w 368"/>
                    <a:gd name="T17" fmla="*/ 1 h 168"/>
                    <a:gd name="T18" fmla="*/ 1 w 368"/>
                    <a:gd name="T19" fmla="*/ 1 h 168"/>
                    <a:gd name="T20" fmla="*/ 1 w 368"/>
                    <a:gd name="T21" fmla="*/ 1 h 168"/>
                    <a:gd name="T22" fmla="*/ 1 w 368"/>
                    <a:gd name="T23" fmla="*/ 1 h 168"/>
                    <a:gd name="T24" fmla="*/ 1 w 368"/>
                    <a:gd name="T25" fmla="*/ 1 h 168"/>
                    <a:gd name="T26" fmla="*/ 1 w 368"/>
                    <a:gd name="T27" fmla="*/ 1 h 168"/>
                    <a:gd name="T28" fmla="*/ 1 w 368"/>
                    <a:gd name="T29" fmla="*/ 1 h 168"/>
                    <a:gd name="T30" fmla="*/ 1 w 368"/>
                    <a:gd name="T31" fmla="*/ 1 h 168"/>
                    <a:gd name="T32" fmla="*/ 1 w 368"/>
                    <a:gd name="T33" fmla="*/ 1 h 168"/>
                    <a:gd name="T34" fmla="*/ 1 w 368"/>
                    <a:gd name="T35" fmla="*/ 1 h 168"/>
                    <a:gd name="T36" fmla="*/ 1 w 368"/>
                    <a:gd name="T37" fmla="*/ 1 h 168"/>
                    <a:gd name="T38" fmla="*/ 1 w 368"/>
                    <a:gd name="T39" fmla="*/ 1 h 168"/>
                    <a:gd name="T40" fmla="*/ 1 w 368"/>
                    <a:gd name="T41" fmla="*/ 1 h 168"/>
                    <a:gd name="T42" fmla="*/ 0 w 368"/>
                    <a:gd name="T43" fmla="*/ 1 h 168"/>
                    <a:gd name="T44" fmla="*/ 1 w 368"/>
                    <a:gd name="T45" fmla="*/ 1 h 168"/>
                    <a:gd name="T46" fmla="*/ 1 w 368"/>
                    <a:gd name="T47" fmla="*/ 1 h 168"/>
                    <a:gd name="T48" fmla="*/ 1 w 368"/>
                    <a:gd name="T49" fmla="*/ 1 h 168"/>
                    <a:gd name="T50" fmla="*/ 1 w 368"/>
                    <a:gd name="T51" fmla="*/ 1 h 168"/>
                    <a:gd name="T52" fmla="*/ 1 w 368"/>
                    <a:gd name="T53" fmla="*/ 1 h 168"/>
                    <a:gd name="T54" fmla="*/ 1 w 368"/>
                    <a:gd name="T55" fmla="*/ 1 h 168"/>
                    <a:gd name="T56" fmla="*/ 1 w 368"/>
                    <a:gd name="T57" fmla="*/ 1 h 168"/>
                    <a:gd name="T58" fmla="*/ 1 w 368"/>
                    <a:gd name="T59" fmla="*/ 1 h 168"/>
                    <a:gd name="T60" fmla="*/ 1 w 368"/>
                    <a:gd name="T61" fmla="*/ 1 h 168"/>
                    <a:gd name="T62" fmla="*/ 1 w 368"/>
                    <a:gd name="T63" fmla="*/ 0 h 168"/>
                    <a:gd name="T64" fmla="*/ 1 w 368"/>
                    <a:gd name="T65" fmla="*/ 1 h 168"/>
                    <a:gd name="T66" fmla="*/ 1 w 368"/>
                    <a:gd name="T67" fmla="*/ 1 h 168"/>
                    <a:gd name="T68" fmla="*/ 1 w 368"/>
                    <a:gd name="T69" fmla="*/ 1 h 168"/>
                    <a:gd name="T70" fmla="*/ 1 w 368"/>
                    <a:gd name="T71" fmla="*/ 1 h 168"/>
                    <a:gd name="T72" fmla="*/ 1 w 368"/>
                    <a:gd name="T73" fmla="*/ 1 h 168"/>
                    <a:gd name="T74" fmla="*/ 1 w 368"/>
                    <a:gd name="T75" fmla="*/ 1 h 168"/>
                    <a:gd name="T76" fmla="*/ 1 w 368"/>
                    <a:gd name="T77" fmla="*/ 1 h 168"/>
                    <a:gd name="T78" fmla="*/ 1 w 368"/>
                    <a:gd name="T79" fmla="*/ 1 h 168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368"/>
                    <a:gd name="T121" fmla="*/ 0 h 168"/>
                    <a:gd name="T122" fmla="*/ 368 w 368"/>
                    <a:gd name="T123" fmla="*/ 168 h 168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368" h="168">
                      <a:moveTo>
                        <a:pt x="368" y="64"/>
                      </a:moveTo>
                      <a:lnTo>
                        <a:pt x="360" y="72"/>
                      </a:lnTo>
                      <a:lnTo>
                        <a:pt x="368" y="112"/>
                      </a:lnTo>
                      <a:lnTo>
                        <a:pt x="368" y="128"/>
                      </a:lnTo>
                      <a:lnTo>
                        <a:pt x="360" y="128"/>
                      </a:lnTo>
                      <a:lnTo>
                        <a:pt x="352" y="120"/>
                      </a:lnTo>
                      <a:lnTo>
                        <a:pt x="336" y="120"/>
                      </a:lnTo>
                      <a:lnTo>
                        <a:pt x="320" y="128"/>
                      </a:lnTo>
                      <a:lnTo>
                        <a:pt x="312" y="120"/>
                      </a:lnTo>
                      <a:lnTo>
                        <a:pt x="296" y="128"/>
                      </a:lnTo>
                      <a:lnTo>
                        <a:pt x="272" y="136"/>
                      </a:lnTo>
                      <a:lnTo>
                        <a:pt x="248" y="136"/>
                      </a:lnTo>
                      <a:lnTo>
                        <a:pt x="232" y="136"/>
                      </a:lnTo>
                      <a:lnTo>
                        <a:pt x="208" y="144"/>
                      </a:lnTo>
                      <a:lnTo>
                        <a:pt x="208" y="152"/>
                      </a:lnTo>
                      <a:lnTo>
                        <a:pt x="192" y="168"/>
                      </a:lnTo>
                      <a:lnTo>
                        <a:pt x="192" y="160"/>
                      </a:lnTo>
                      <a:lnTo>
                        <a:pt x="192" y="152"/>
                      </a:lnTo>
                      <a:lnTo>
                        <a:pt x="192" y="136"/>
                      </a:lnTo>
                      <a:lnTo>
                        <a:pt x="168" y="136"/>
                      </a:lnTo>
                      <a:lnTo>
                        <a:pt x="168" y="144"/>
                      </a:lnTo>
                      <a:lnTo>
                        <a:pt x="152" y="144"/>
                      </a:lnTo>
                      <a:lnTo>
                        <a:pt x="152" y="152"/>
                      </a:lnTo>
                      <a:lnTo>
                        <a:pt x="136" y="152"/>
                      </a:lnTo>
                      <a:lnTo>
                        <a:pt x="120" y="152"/>
                      </a:lnTo>
                      <a:lnTo>
                        <a:pt x="96" y="136"/>
                      </a:lnTo>
                      <a:lnTo>
                        <a:pt x="80" y="136"/>
                      </a:lnTo>
                      <a:lnTo>
                        <a:pt x="80" y="144"/>
                      </a:lnTo>
                      <a:lnTo>
                        <a:pt x="72" y="144"/>
                      </a:lnTo>
                      <a:lnTo>
                        <a:pt x="56" y="152"/>
                      </a:lnTo>
                      <a:lnTo>
                        <a:pt x="48" y="144"/>
                      </a:lnTo>
                      <a:lnTo>
                        <a:pt x="40" y="144"/>
                      </a:lnTo>
                      <a:lnTo>
                        <a:pt x="32" y="152"/>
                      </a:lnTo>
                      <a:lnTo>
                        <a:pt x="24" y="160"/>
                      </a:lnTo>
                      <a:lnTo>
                        <a:pt x="24" y="152"/>
                      </a:lnTo>
                      <a:lnTo>
                        <a:pt x="32" y="144"/>
                      </a:lnTo>
                      <a:lnTo>
                        <a:pt x="32" y="136"/>
                      </a:lnTo>
                      <a:lnTo>
                        <a:pt x="24" y="136"/>
                      </a:lnTo>
                      <a:lnTo>
                        <a:pt x="16" y="136"/>
                      </a:lnTo>
                      <a:lnTo>
                        <a:pt x="24" y="128"/>
                      </a:lnTo>
                      <a:lnTo>
                        <a:pt x="16" y="120"/>
                      </a:lnTo>
                      <a:lnTo>
                        <a:pt x="16" y="112"/>
                      </a:lnTo>
                      <a:lnTo>
                        <a:pt x="8" y="104"/>
                      </a:lnTo>
                      <a:lnTo>
                        <a:pt x="0" y="96"/>
                      </a:lnTo>
                      <a:lnTo>
                        <a:pt x="8" y="96"/>
                      </a:lnTo>
                      <a:lnTo>
                        <a:pt x="8" y="88"/>
                      </a:lnTo>
                      <a:lnTo>
                        <a:pt x="8" y="72"/>
                      </a:lnTo>
                      <a:lnTo>
                        <a:pt x="8" y="64"/>
                      </a:lnTo>
                      <a:lnTo>
                        <a:pt x="0" y="64"/>
                      </a:lnTo>
                      <a:lnTo>
                        <a:pt x="8" y="48"/>
                      </a:lnTo>
                      <a:lnTo>
                        <a:pt x="16" y="40"/>
                      </a:lnTo>
                      <a:lnTo>
                        <a:pt x="32" y="40"/>
                      </a:lnTo>
                      <a:lnTo>
                        <a:pt x="40" y="40"/>
                      </a:lnTo>
                      <a:lnTo>
                        <a:pt x="56" y="40"/>
                      </a:lnTo>
                      <a:lnTo>
                        <a:pt x="64" y="40"/>
                      </a:lnTo>
                      <a:lnTo>
                        <a:pt x="64" y="32"/>
                      </a:lnTo>
                      <a:lnTo>
                        <a:pt x="56" y="32"/>
                      </a:lnTo>
                      <a:lnTo>
                        <a:pt x="56" y="24"/>
                      </a:lnTo>
                      <a:lnTo>
                        <a:pt x="64" y="16"/>
                      </a:lnTo>
                      <a:lnTo>
                        <a:pt x="80" y="16"/>
                      </a:lnTo>
                      <a:lnTo>
                        <a:pt x="96" y="24"/>
                      </a:lnTo>
                      <a:lnTo>
                        <a:pt x="112" y="8"/>
                      </a:lnTo>
                      <a:lnTo>
                        <a:pt x="136" y="0"/>
                      </a:lnTo>
                      <a:lnTo>
                        <a:pt x="160" y="0"/>
                      </a:lnTo>
                      <a:lnTo>
                        <a:pt x="168" y="0"/>
                      </a:lnTo>
                      <a:lnTo>
                        <a:pt x="176" y="8"/>
                      </a:lnTo>
                      <a:lnTo>
                        <a:pt x="192" y="8"/>
                      </a:lnTo>
                      <a:lnTo>
                        <a:pt x="208" y="24"/>
                      </a:lnTo>
                      <a:lnTo>
                        <a:pt x="216" y="24"/>
                      </a:lnTo>
                      <a:lnTo>
                        <a:pt x="240" y="32"/>
                      </a:lnTo>
                      <a:lnTo>
                        <a:pt x="248" y="24"/>
                      </a:lnTo>
                      <a:lnTo>
                        <a:pt x="264" y="32"/>
                      </a:lnTo>
                      <a:lnTo>
                        <a:pt x="280" y="24"/>
                      </a:lnTo>
                      <a:lnTo>
                        <a:pt x="304" y="16"/>
                      </a:lnTo>
                      <a:lnTo>
                        <a:pt x="304" y="8"/>
                      </a:lnTo>
                      <a:lnTo>
                        <a:pt x="320" y="8"/>
                      </a:lnTo>
                      <a:lnTo>
                        <a:pt x="336" y="8"/>
                      </a:lnTo>
                      <a:lnTo>
                        <a:pt x="352" y="32"/>
                      </a:lnTo>
                      <a:lnTo>
                        <a:pt x="352" y="48"/>
                      </a:lnTo>
                      <a:lnTo>
                        <a:pt x="368" y="56"/>
                      </a:lnTo>
                      <a:lnTo>
                        <a:pt x="368" y="64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6" name="Freeform 365"/>
                <p:cNvSpPr>
                  <a:spLocks noChangeAspect="1"/>
                </p:cNvSpPr>
                <p:nvPr/>
              </p:nvSpPr>
              <p:spPr bwMode="auto">
                <a:xfrm>
                  <a:off x="3250" y="2380"/>
                  <a:ext cx="29" cy="67"/>
                </a:xfrm>
                <a:custGeom>
                  <a:avLst/>
                  <a:gdLst>
                    <a:gd name="T0" fmla="*/ 0 w 40"/>
                    <a:gd name="T1" fmla="*/ 1 h 96"/>
                    <a:gd name="T2" fmla="*/ 1 w 40"/>
                    <a:gd name="T3" fmla="*/ 1 h 96"/>
                    <a:gd name="T4" fmla="*/ 1 w 40"/>
                    <a:gd name="T5" fmla="*/ 1 h 96"/>
                    <a:gd name="T6" fmla="*/ 1 w 40"/>
                    <a:gd name="T7" fmla="*/ 1 h 96"/>
                    <a:gd name="T8" fmla="*/ 1 w 40"/>
                    <a:gd name="T9" fmla="*/ 1 h 96"/>
                    <a:gd name="T10" fmla="*/ 1 w 40"/>
                    <a:gd name="T11" fmla="*/ 0 h 96"/>
                    <a:gd name="T12" fmla="*/ 1 w 40"/>
                    <a:gd name="T13" fmla="*/ 1 h 96"/>
                    <a:gd name="T14" fmla="*/ 1 w 40"/>
                    <a:gd name="T15" fmla="*/ 0 h 96"/>
                    <a:gd name="T16" fmla="*/ 1 w 40"/>
                    <a:gd name="T17" fmla="*/ 0 h 96"/>
                    <a:gd name="T18" fmla="*/ 1 w 40"/>
                    <a:gd name="T19" fmla="*/ 1 h 96"/>
                    <a:gd name="T20" fmla="*/ 1 w 40"/>
                    <a:gd name="T21" fmla="*/ 1 h 96"/>
                    <a:gd name="T22" fmla="*/ 1 w 40"/>
                    <a:gd name="T23" fmla="*/ 1 h 96"/>
                    <a:gd name="T24" fmla="*/ 1 w 40"/>
                    <a:gd name="T25" fmla="*/ 1 h 96"/>
                    <a:gd name="T26" fmla="*/ 1 w 40"/>
                    <a:gd name="T27" fmla="*/ 1 h 96"/>
                    <a:gd name="T28" fmla="*/ 1 w 40"/>
                    <a:gd name="T29" fmla="*/ 1 h 96"/>
                    <a:gd name="T30" fmla="*/ 1 w 40"/>
                    <a:gd name="T31" fmla="*/ 1 h 96"/>
                    <a:gd name="T32" fmla="*/ 1 w 40"/>
                    <a:gd name="T33" fmla="*/ 1 h 96"/>
                    <a:gd name="T34" fmla="*/ 0 w 40"/>
                    <a:gd name="T35" fmla="*/ 1 h 96"/>
                    <a:gd name="T36" fmla="*/ 0 w 40"/>
                    <a:gd name="T37" fmla="*/ 1 h 96"/>
                    <a:gd name="T38" fmla="*/ 1 w 40"/>
                    <a:gd name="T39" fmla="*/ 1 h 96"/>
                    <a:gd name="T40" fmla="*/ 1 w 40"/>
                    <a:gd name="T41" fmla="*/ 1 h 96"/>
                    <a:gd name="T42" fmla="*/ 0 w 40"/>
                    <a:gd name="T43" fmla="*/ 1 h 9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40"/>
                    <a:gd name="T67" fmla="*/ 0 h 96"/>
                    <a:gd name="T68" fmla="*/ 40 w 40"/>
                    <a:gd name="T69" fmla="*/ 96 h 96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40" h="96">
                      <a:moveTo>
                        <a:pt x="0" y="56"/>
                      </a:moveTo>
                      <a:lnTo>
                        <a:pt x="8" y="40"/>
                      </a:lnTo>
                      <a:lnTo>
                        <a:pt x="8" y="32"/>
                      </a:lnTo>
                      <a:lnTo>
                        <a:pt x="16" y="24"/>
                      </a:lnTo>
                      <a:lnTo>
                        <a:pt x="16" y="16"/>
                      </a:lnTo>
                      <a:lnTo>
                        <a:pt x="24" y="0"/>
                      </a:lnTo>
                      <a:lnTo>
                        <a:pt x="24" y="8"/>
                      </a:lnTo>
                      <a:lnTo>
                        <a:pt x="32" y="0"/>
                      </a:lnTo>
                      <a:lnTo>
                        <a:pt x="40" y="0"/>
                      </a:lnTo>
                      <a:lnTo>
                        <a:pt x="32" y="32"/>
                      </a:lnTo>
                      <a:lnTo>
                        <a:pt x="24" y="32"/>
                      </a:lnTo>
                      <a:lnTo>
                        <a:pt x="16" y="32"/>
                      </a:lnTo>
                      <a:lnTo>
                        <a:pt x="16" y="40"/>
                      </a:lnTo>
                      <a:lnTo>
                        <a:pt x="16" y="48"/>
                      </a:lnTo>
                      <a:lnTo>
                        <a:pt x="24" y="56"/>
                      </a:lnTo>
                      <a:lnTo>
                        <a:pt x="16" y="72"/>
                      </a:lnTo>
                      <a:lnTo>
                        <a:pt x="8" y="96"/>
                      </a:lnTo>
                      <a:lnTo>
                        <a:pt x="0" y="80"/>
                      </a:lnTo>
                      <a:lnTo>
                        <a:pt x="0" y="64"/>
                      </a:lnTo>
                      <a:lnTo>
                        <a:pt x="8" y="56"/>
                      </a:lnTo>
                      <a:lnTo>
                        <a:pt x="0" y="5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7" name="Freeform 366"/>
                <p:cNvSpPr>
                  <a:spLocks noChangeAspect="1"/>
                </p:cNvSpPr>
                <p:nvPr/>
              </p:nvSpPr>
              <p:spPr bwMode="auto">
                <a:xfrm>
                  <a:off x="2935" y="2301"/>
                  <a:ext cx="45" cy="23"/>
                </a:xfrm>
                <a:custGeom>
                  <a:avLst/>
                  <a:gdLst>
                    <a:gd name="T0" fmla="*/ 1 w 64"/>
                    <a:gd name="T1" fmla="*/ 0 h 32"/>
                    <a:gd name="T2" fmla="*/ 1 w 64"/>
                    <a:gd name="T3" fmla="*/ 1 h 32"/>
                    <a:gd name="T4" fmla="*/ 1 w 64"/>
                    <a:gd name="T5" fmla="*/ 1 h 32"/>
                    <a:gd name="T6" fmla="*/ 1 w 64"/>
                    <a:gd name="T7" fmla="*/ 1 h 32"/>
                    <a:gd name="T8" fmla="*/ 1 w 64"/>
                    <a:gd name="T9" fmla="*/ 1 h 32"/>
                    <a:gd name="T10" fmla="*/ 1 w 64"/>
                    <a:gd name="T11" fmla="*/ 1 h 32"/>
                    <a:gd name="T12" fmla="*/ 0 w 64"/>
                    <a:gd name="T13" fmla="*/ 1 h 32"/>
                    <a:gd name="T14" fmla="*/ 1 w 64"/>
                    <a:gd name="T15" fmla="*/ 0 h 32"/>
                    <a:gd name="T16" fmla="*/ 1 w 64"/>
                    <a:gd name="T17" fmla="*/ 0 h 32"/>
                    <a:gd name="T18" fmla="*/ 1 w 64"/>
                    <a:gd name="T19" fmla="*/ 0 h 32"/>
                    <a:gd name="T20" fmla="*/ 1 w 64"/>
                    <a:gd name="T21" fmla="*/ 0 h 32"/>
                    <a:gd name="T22" fmla="*/ 1 w 64"/>
                    <a:gd name="T23" fmla="*/ 0 h 32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64"/>
                    <a:gd name="T37" fmla="*/ 0 h 32"/>
                    <a:gd name="T38" fmla="*/ 64 w 64"/>
                    <a:gd name="T39" fmla="*/ 32 h 32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64" h="32">
                      <a:moveTo>
                        <a:pt x="64" y="0"/>
                      </a:moveTo>
                      <a:lnTo>
                        <a:pt x="56" y="16"/>
                      </a:lnTo>
                      <a:lnTo>
                        <a:pt x="56" y="32"/>
                      </a:lnTo>
                      <a:lnTo>
                        <a:pt x="32" y="24"/>
                      </a:lnTo>
                      <a:lnTo>
                        <a:pt x="16" y="16"/>
                      </a:lnTo>
                      <a:lnTo>
                        <a:pt x="8" y="8"/>
                      </a:lnTo>
                      <a:lnTo>
                        <a:pt x="0" y="8"/>
                      </a:lnTo>
                      <a:lnTo>
                        <a:pt x="8" y="0"/>
                      </a:lnTo>
                      <a:lnTo>
                        <a:pt x="16" y="0"/>
                      </a:lnTo>
                      <a:lnTo>
                        <a:pt x="32" y="0"/>
                      </a:lnTo>
                      <a:lnTo>
                        <a:pt x="48" y="0"/>
                      </a:lnTo>
                      <a:lnTo>
                        <a:pt x="64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8" name="Freeform 367"/>
                <p:cNvSpPr>
                  <a:spLocks noChangeAspect="1"/>
                </p:cNvSpPr>
                <p:nvPr/>
              </p:nvSpPr>
              <p:spPr bwMode="auto">
                <a:xfrm>
                  <a:off x="2879" y="2239"/>
                  <a:ext cx="23" cy="45"/>
                </a:xfrm>
                <a:custGeom>
                  <a:avLst/>
                  <a:gdLst>
                    <a:gd name="T0" fmla="*/ 0 w 32"/>
                    <a:gd name="T1" fmla="*/ 1 h 64"/>
                    <a:gd name="T2" fmla="*/ 1 w 32"/>
                    <a:gd name="T3" fmla="*/ 1 h 64"/>
                    <a:gd name="T4" fmla="*/ 1 w 32"/>
                    <a:gd name="T5" fmla="*/ 0 h 64"/>
                    <a:gd name="T6" fmla="*/ 1 w 32"/>
                    <a:gd name="T7" fmla="*/ 1 h 64"/>
                    <a:gd name="T8" fmla="*/ 1 w 32"/>
                    <a:gd name="T9" fmla="*/ 1 h 64"/>
                    <a:gd name="T10" fmla="*/ 1 w 32"/>
                    <a:gd name="T11" fmla="*/ 1 h 64"/>
                    <a:gd name="T12" fmla="*/ 1 w 32"/>
                    <a:gd name="T13" fmla="*/ 1 h 64"/>
                    <a:gd name="T14" fmla="*/ 1 w 32"/>
                    <a:gd name="T15" fmla="*/ 1 h 64"/>
                    <a:gd name="T16" fmla="*/ 1 w 32"/>
                    <a:gd name="T17" fmla="*/ 1 h 64"/>
                    <a:gd name="T18" fmla="*/ 1 w 32"/>
                    <a:gd name="T19" fmla="*/ 1 h 64"/>
                    <a:gd name="T20" fmla="*/ 0 w 32"/>
                    <a:gd name="T21" fmla="*/ 1 h 64"/>
                    <a:gd name="T22" fmla="*/ 0 w 32"/>
                    <a:gd name="T23" fmla="*/ 1 h 64"/>
                    <a:gd name="T24" fmla="*/ 0 w 32"/>
                    <a:gd name="T25" fmla="*/ 1 h 64"/>
                    <a:gd name="T26" fmla="*/ 0 w 32"/>
                    <a:gd name="T27" fmla="*/ 1 h 64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32"/>
                    <a:gd name="T43" fmla="*/ 0 h 64"/>
                    <a:gd name="T44" fmla="*/ 32 w 32"/>
                    <a:gd name="T45" fmla="*/ 64 h 64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32" h="64">
                      <a:moveTo>
                        <a:pt x="0" y="16"/>
                      </a:moveTo>
                      <a:lnTo>
                        <a:pt x="16" y="8"/>
                      </a:lnTo>
                      <a:lnTo>
                        <a:pt x="24" y="0"/>
                      </a:lnTo>
                      <a:lnTo>
                        <a:pt x="24" y="8"/>
                      </a:lnTo>
                      <a:lnTo>
                        <a:pt x="24" y="16"/>
                      </a:lnTo>
                      <a:lnTo>
                        <a:pt x="32" y="24"/>
                      </a:lnTo>
                      <a:lnTo>
                        <a:pt x="32" y="48"/>
                      </a:lnTo>
                      <a:lnTo>
                        <a:pt x="24" y="56"/>
                      </a:lnTo>
                      <a:lnTo>
                        <a:pt x="16" y="64"/>
                      </a:lnTo>
                      <a:lnTo>
                        <a:pt x="8" y="64"/>
                      </a:lnTo>
                      <a:lnTo>
                        <a:pt x="0" y="64"/>
                      </a:lnTo>
                      <a:lnTo>
                        <a:pt x="0" y="48"/>
                      </a:lnTo>
                      <a:lnTo>
                        <a:pt x="0" y="24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29" name="Freeform 368"/>
                <p:cNvSpPr>
                  <a:spLocks noChangeAspect="1"/>
                </p:cNvSpPr>
                <p:nvPr/>
              </p:nvSpPr>
              <p:spPr bwMode="auto">
                <a:xfrm>
                  <a:off x="2885" y="2206"/>
                  <a:ext cx="11" cy="33"/>
                </a:xfrm>
                <a:custGeom>
                  <a:avLst/>
                  <a:gdLst>
                    <a:gd name="T0" fmla="*/ 1 w 16"/>
                    <a:gd name="T1" fmla="*/ 0 h 48"/>
                    <a:gd name="T2" fmla="*/ 1 w 16"/>
                    <a:gd name="T3" fmla="*/ 1 h 48"/>
                    <a:gd name="T4" fmla="*/ 1 w 16"/>
                    <a:gd name="T5" fmla="*/ 1 h 48"/>
                    <a:gd name="T6" fmla="*/ 1 w 16"/>
                    <a:gd name="T7" fmla="*/ 1 h 48"/>
                    <a:gd name="T8" fmla="*/ 1 w 16"/>
                    <a:gd name="T9" fmla="*/ 1 h 48"/>
                    <a:gd name="T10" fmla="*/ 0 w 16"/>
                    <a:gd name="T11" fmla="*/ 1 h 48"/>
                    <a:gd name="T12" fmla="*/ 0 w 16"/>
                    <a:gd name="T13" fmla="*/ 1 h 48"/>
                    <a:gd name="T14" fmla="*/ 0 w 16"/>
                    <a:gd name="T15" fmla="*/ 1 h 48"/>
                    <a:gd name="T16" fmla="*/ 1 w 16"/>
                    <a:gd name="T17" fmla="*/ 1 h 48"/>
                    <a:gd name="T18" fmla="*/ 1 w 16"/>
                    <a:gd name="T19" fmla="*/ 0 h 48"/>
                    <a:gd name="T20" fmla="*/ 1 w 16"/>
                    <a:gd name="T21" fmla="*/ 0 h 4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16"/>
                    <a:gd name="T34" fmla="*/ 0 h 48"/>
                    <a:gd name="T35" fmla="*/ 16 w 16"/>
                    <a:gd name="T36" fmla="*/ 48 h 4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16" h="48">
                      <a:moveTo>
                        <a:pt x="16" y="0"/>
                      </a:moveTo>
                      <a:lnTo>
                        <a:pt x="16" y="8"/>
                      </a:lnTo>
                      <a:lnTo>
                        <a:pt x="16" y="16"/>
                      </a:lnTo>
                      <a:lnTo>
                        <a:pt x="8" y="40"/>
                      </a:lnTo>
                      <a:lnTo>
                        <a:pt x="8" y="48"/>
                      </a:lnTo>
                      <a:lnTo>
                        <a:pt x="0" y="40"/>
                      </a:lnTo>
                      <a:lnTo>
                        <a:pt x="0" y="24"/>
                      </a:lnTo>
                      <a:lnTo>
                        <a:pt x="0" y="16"/>
                      </a:lnTo>
                      <a:lnTo>
                        <a:pt x="8" y="8"/>
                      </a:lnTo>
                      <a:lnTo>
                        <a:pt x="8" y="0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0" name="Freeform 369"/>
                <p:cNvSpPr>
                  <a:spLocks noChangeAspect="1"/>
                </p:cNvSpPr>
                <p:nvPr/>
              </p:nvSpPr>
              <p:spPr bwMode="auto">
                <a:xfrm>
                  <a:off x="3104" y="2346"/>
                  <a:ext cx="34" cy="11"/>
                </a:xfrm>
                <a:custGeom>
                  <a:avLst/>
                  <a:gdLst>
                    <a:gd name="T0" fmla="*/ 0 w 48"/>
                    <a:gd name="T1" fmla="*/ 1 h 16"/>
                    <a:gd name="T2" fmla="*/ 0 w 48"/>
                    <a:gd name="T3" fmla="*/ 0 h 16"/>
                    <a:gd name="T4" fmla="*/ 1 w 48"/>
                    <a:gd name="T5" fmla="*/ 0 h 16"/>
                    <a:gd name="T6" fmla="*/ 1 w 48"/>
                    <a:gd name="T7" fmla="*/ 1 h 16"/>
                    <a:gd name="T8" fmla="*/ 1 w 48"/>
                    <a:gd name="T9" fmla="*/ 1 h 16"/>
                    <a:gd name="T10" fmla="*/ 1 w 48"/>
                    <a:gd name="T11" fmla="*/ 1 h 16"/>
                    <a:gd name="T12" fmla="*/ 1 w 48"/>
                    <a:gd name="T13" fmla="*/ 1 h 16"/>
                    <a:gd name="T14" fmla="*/ 1 w 48"/>
                    <a:gd name="T15" fmla="*/ 1 h 16"/>
                    <a:gd name="T16" fmla="*/ 1 w 48"/>
                    <a:gd name="T17" fmla="*/ 1 h 16"/>
                    <a:gd name="T18" fmla="*/ 1 w 48"/>
                    <a:gd name="T19" fmla="*/ 1 h 16"/>
                    <a:gd name="T20" fmla="*/ 1 w 48"/>
                    <a:gd name="T21" fmla="*/ 1 h 16"/>
                    <a:gd name="T22" fmla="*/ 1 w 48"/>
                    <a:gd name="T23" fmla="*/ 1 h 16"/>
                    <a:gd name="T24" fmla="*/ 1 w 48"/>
                    <a:gd name="T25" fmla="*/ 1 h 16"/>
                    <a:gd name="T26" fmla="*/ 1 w 48"/>
                    <a:gd name="T27" fmla="*/ 1 h 16"/>
                    <a:gd name="T28" fmla="*/ 0 w 48"/>
                    <a:gd name="T29" fmla="*/ 1 h 1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48"/>
                    <a:gd name="T46" fmla="*/ 0 h 16"/>
                    <a:gd name="T47" fmla="*/ 48 w 48"/>
                    <a:gd name="T48" fmla="*/ 16 h 1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48" h="16">
                      <a:moveTo>
                        <a:pt x="0" y="8"/>
                      </a:moveTo>
                      <a:lnTo>
                        <a:pt x="0" y="0"/>
                      </a:lnTo>
                      <a:lnTo>
                        <a:pt x="8" y="0"/>
                      </a:lnTo>
                      <a:lnTo>
                        <a:pt x="16" y="8"/>
                      </a:lnTo>
                      <a:lnTo>
                        <a:pt x="24" y="8"/>
                      </a:lnTo>
                      <a:lnTo>
                        <a:pt x="32" y="8"/>
                      </a:lnTo>
                      <a:lnTo>
                        <a:pt x="40" y="8"/>
                      </a:lnTo>
                      <a:lnTo>
                        <a:pt x="48" y="8"/>
                      </a:lnTo>
                      <a:lnTo>
                        <a:pt x="48" y="16"/>
                      </a:lnTo>
                      <a:lnTo>
                        <a:pt x="40" y="16"/>
                      </a:lnTo>
                      <a:lnTo>
                        <a:pt x="32" y="16"/>
                      </a:lnTo>
                      <a:lnTo>
                        <a:pt x="16" y="16"/>
                      </a:lnTo>
                      <a:lnTo>
                        <a:pt x="8" y="16"/>
                      </a:lnTo>
                      <a:lnTo>
                        <a:pt x="8" y="8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1" name="Freeform 370"/>
                <p:cNvSpPr>
                  <a:spLocks noChangeAspect="1"/>
                </p:cNvSpPr>
                <p:nvPr/>
              </p:nvSpPr>
              <p:spPr bwMode="auto">
                <a:xfrm>
                  <a:off x="2778" y="2284"/>
                  <a:ext cx="11" cy="6"/>
                </a:xfrm>
                <a:custGeom>
                  <a:avLst/>
                  <a:gdLst>
                    <a:gd name="T0" fmla="*/ 0 w 16"/>
                    <a:gd name="T1" fmla="*/ 2 h 8"/>
                    <a:gd name="T2" fmla="*/ 1 w 16"/>
                    <a:gd name="T3" fmla="*/ 0 h 8"/>
                    <a:gd name="T4" fmla="*/ 1 w 16"/>
                    <a:gd name="T5" fmla="*/ 0 h 8"/>
                    <a:gd name="T6" fmla="*/ 1 w 16"/>
                    <a:gd name="T7" fmla="*/ 2 h 8"/>
                    <a:gd name="T8" fmla="*/ 0 w 16"/>
                    <a:gd name="T9" fmla="*/ 2 h 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6"/>
                    <a:gd name="T16" fmla="*/ 0 h 8"/>
                    <a:gd name="T17" fmla="*/ 16 w 16"/>
                    <a:gd name="T18" fmla="*/ 8 h 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6" h="8">
                      <a:moveTo>
                        <a:pt x="0" y="8"/>
                      </a:moveTo>
                      <a:lnTo>
                        <a:pt x="8" y="0"/>
                      </a:lnTo>
                      <a:lnTo>
                        <a:pt x="16" y="0"/>
                      </a:lnTo>
                      <a:lnTo>
                        <a:pt x="8" y="8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32" name="Freeform 371"/>
                <p:cNvSpPr>
                  <a:spLocks noChangeAspect="1"/>
                </p:cNvSpPr>
                <p:nvPr/>
              </p:nvSpPr>
              <p:spPr bwMode="auto">
                <a:xfrm>
                  <a:off x="2795" y="2273"/>
                  <a:ext cx="11" cy="11"/>
                </a:xfrm>
                <a:custGeom>
                  <a:avLst/>
                  <a:gdLst>
                    <a:gd name="T0" fmla="*/ 0 w 16"/>
                    <a:gd name="T1" fmla="*/ 1 h 16"/>
                    <a:gd name="T2" fmla="*/ 0 w 16"/>
                    <a:gd name="T3" fmla="*/ 0 h 16"/>
                    <a:gd name="T4" fmla="*/ 1 w 16"/>
                    <a:gd name="T5" fmla="*/ 0 h 16"/>
                    <a:gd name="T6" fmla="*/ 1 w 16"/>
                    <a:gd name="T7" fmla="*/ 1 h 16"/>
                    <a:gd name="T8" fmla="*/ 1 w 16"/>
                    <a:gd name="T9" fmla="*/ 1 h 16"/>
                    <a:gd name="T10" fmla="*/ 1 w 16"/>
                    <a:gd name="T11" fmla="*/ 1 h 16"/>
                    <a:gd name="T12" fmla="*/ 0 w 16"/>
                    <a:gd name="T13" fmla="*/ 1 h 1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6"/>
                    <a:gd name="T22" fmla="*/ 0 h 16"/>
                    <a:gd name="T23" fmla="*/ 16 w 16"/>
                    <a:gd name="T24" fmla="*/ 16 h 1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6" h="16">
                      <a:moveTo>
                        <a:pt x="0" y="16"/>
                      </a:moveTo>
                      <a:lnTo>
                        <a:pt x="0" y="0"/>
                      </a:lnTo>
                      <a:lnTo>
                        <a:pt x="16" y="0"/>
                      </a:lnTo>
                      <a:lnTo>
                        <a:pt x="16" y="8"/>
                      </a:lnTo>
                      <a:lnTo>
                        <a:pt x="16" y="16"/>
                      </a:lnTo>
                      <a:lnTo>
                        <a:pt x="8" y="16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41" name="Freeform 372"/>
                <p:cNvSpPr>
                  <a:spLocks noChangeAspect="1"/>
                </p:cNvSpPr>
                <p:nvPr/>
              </p:nvSpPr>
              <p:spPr bwMode="auto">
                <a:xfrm>
                  <a:off x="2812" y="2267"/>
                  <a:ext cx="11" cy="6"/>
                </a:xfrm>
                <a:custGeom>
                  <a:avLst/>
                  <a:gdLst>
                    <a:gd name="T0" fmla="*/ 0 w 16"/>
                    <a:gd name="T1" fmla="*/ 2 h 8"/>
                    <a:gd name="T2" fmla="*/ 0 w 16"/>
                    <a:gd name="T3" fmla="*/ 0 h 8"/>
                    <a:gd name="T4" fmla="*/ 1 w 16"/>
                    <a:gd name="T5" fmla="*/ 0 h 8"/>
                    <a:gd name="T6" fmla="*/ 1 w 16"/>
                    <a:gd name="T7" fmla="*/ 0 h 8"/>
                    <a:gd name="T8" fmla="*/ 1 w 16"/>
                    <a:gd name="T9" fmla="*/ 2 h 8"/>
                    <a:gd name="T10" fmla="*/ 0 w 16"/>
                    <a:gd name="T11" fmla="*/ 2 h 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6"/>
                    <a:gd name="T19" fmla="*/ 0 h 8"/>
                    <a:gd name="T20" fmla="*/ 16 w 16"/>
                    <a:gd name="T21" fmla="*/ 8 h 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6" h="8">
                      <a:moveTo>
                        <a:pt x="0" y="8"/>
                      </a:moveTo>
                      <a:lnTo>
                        <a:pt x="0" y="0"/>
                      </a:lnTo>
                      <a:lnTo>
                        <a:pt x="8" y="0"/>
                      </a:lnTo>
                      <a:lnTo>
                        <a:pt x="16" y="0"/>
                      </a:lnTo>
                      <a:lnTo>
                        <a:pt x="16" y="8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42" name="Freeform 373"/>
                <p:cNvSpPr>
                  <a:spLocks noChangeAspect="1"/>
                </p:cNvSpPr>
                <p:nvPr/>
              </p:nvSpPr>
              <p:spPr bwMode="auto">
                <a:xfrm>
                  <a:off x="3099" y="2284"/>
                  <a:ext cx="16" cy="23"/>
                </a:xfrm>
                <a:custGeom>
                  <a:avLst/>
                  <a:gdLst>
                    <a:gd name="T0" fmla="*/ 0 w 24"/>
                    <a:gd name="T1" fmla="*/ 1 h 32"/>
                    <a:gd name="T2" fmla="*/ 1 w 24"/>
                    <a:gd name="T3" fmla="*/ 1 h 32"/>
                    <a:gd name="T4" fmla="*/ 1 w 24"/>
                    <a:gd name="T5" fmla="*/ 1 h 32"/>
                    <a:gd name="T6" fmla="*/ 1 w 24"/>
                    <a:gd name="T7" fmla="*/ 1 h 32"/>
                    <a:gd name="T8" fmla="*/ 1 w 24"/>
                    <a:gd name="T9" fmla="*/ 1 h 32"/>
                    <a:gd name="T10" fmla="*/ 1 w 24"/>
                    <a:gd name="T11" fmla="*/ 0 h 32"/>
                    <a:gd name="T12" fmla="*/ 0 w 24"/>
                    <a:gd name="T13" fmla="*/ 0 h 32"/>
                    <a:gd name="T14" fmla="*/ 0 w 24"/>
                    <a:gd name="T15" fmla="*/ 1 h 3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4"/>
                    <a:gd name="T25" fmla="*/ 0 h 32"/>
                    <a:gd name="T26" fmla="*/ 24 w 24"/>
                    <a:gd name="T27" fmla="*/ 32 h 32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4" h="32">
                      <a:moveTo>
                        <a:pt x="0" y="8"/>
                      </a:moveTo>
                      <a:lnTo>
                        <a:pt x="8" y="16"/>
                      </a:lnTo>
                      <a:lnTo>
                        <a:pt x="16" y="24"/>
                      </a:lnTo>
                      <a:lnTo>
                        <a:pt x="24" y="32"/>
                      </a:lnTo>
                      <a:lnTo>
                        <a:pt x="24" y="16"/>
                      </a:ln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43" name="Freeform 374"/>
                <p:cNvSpPr>
                  <a:spLocks noChangeAspect="1"/>
                </p:cNvSpPr>
                <p:nvPr/>
              </p:nvSpPr>
              <p:spPr bwMode="auto">
                <a:xfrm>
                  <a:off x="3132" y="2284"/>
                  <a:ext cx="6" cy="12"/>
                </a:xfrm>
                <a:custGeom>
                  <a:avLst/>
                  <a:gdLst>
                    <a:gd name="T0" fmla="*/ 2 w 8"/>
                    <a:gd name="T1" fmla="*/ 2 h 16"/>
                    <a:gd name="T2" fmla="*/ 2 w 8"/>
                    <a:gd name="T3" fmla="*/ 2 h 16"/>
                    <a:gd name="T4" fmla="*/ 2 w 8"/>
                    <a:gd name="T5" fmla="*/ 0 h 16"/>
                    <a:gd name="T6" fmla="*/ 0 w 8"/>
                    <a:gd name="T7" fmla="*/ 0 h 16"/>
                    <a:gd name="T8" fmla="*/ 0 w 8"/>
                    <a:gd name="T9" fmla="*/ 2 h 16"/>
                    <a:gd name="T10" fmla="*/ 2 w 8"/>
                    <a:gd name="T11" fmla="*/ 2 h 1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8"/>
                    <a:gd name="T19" fmla="*/ 0 h 16"/>
                    <a:gd name="T20" fmla="*/ 8 w 8"/>
                    <a:gd name="T21" fmla="*/ 16 h 1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8" h="16">
                      <a:moveTo>
                        <a:pt x="8" y="16"/>
                      </a:moveTo>
                      <a:lnTo>
                        <a:pt x="8" y="8"/>
                      </a:ln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lnTo>
                        <a:pt x="8" y="1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44" name="Freeform 375"/>
                <p:cNvSpPr>
                  <a:spLocks noChangeAspect="1"/>
                </p:cNvSpPr>
                <p:nvPr/>
              </p:nvSpPr>
              <p:spPr bwMode="auto">
                <a:xfrm>
                  <a:off x="3138" y="2307"/>
                  <a:ext cx="6" cy="5"/>
                </a:xfrm>
                <a:custGeom>
                  <a:avLst/>
                  <a:gdLst>
                    <a:gd name="T0" fmla="*/ 0 w 8"/>
                    <a:gd name="T1" fmla="*/ 1 h 8"/>
                    <a:gd name="T2" fmla="*/ 0 w 8"/>
                    <a:gd name="T3" fmla="*/ 0 h 8"/>
                    <a:gd name="T4" fmla="*/ 2 w 8"/>
                    <a:gd name="T5" fmla="*/ 1 h 8"/>
                    <a:gd name="T6" fmla="*/ 2 w 8"/>
                    <a:gd name="T7" fmla="*/ 1 h 8"/>
                    <a:gd name="T8" fmla="*/ 0 w 8"/>
                    <a:gd name="T9" fmla="*/ 1 h 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8"/>
                    <a:gd name="T17" fmla="*/ 8 w 8"/>
                    <a:gd name="T18" fmla="*/ 8 h 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8">
                      <a:moveTo>
                        <a:pt x="0" y="8"/>
                      </a:moveTo>
                      <a:lnTo>
                        <a:pt x="0" y="0"/>
                      </a:lnTo>
                      <a:lnTo>
                        <a:pt x="8" y="8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45" name="Freeform 376"/>
                <p:cNvSpPr>
                  <a:spLocks noChangeAspect="1"/>
                </p:cNvSpPr>
                <p:nvPr/>
              </p:nvSpPr>
              <p:spPr bwMode="auto">
                <a:xfrm>
                  <a:off x="3121" y="2318"/>
                  <a:ext cx="11" cy="6"/>
                </a:xfrm>
                <a:custGeom>
                  <a:avLst/>
                  <a:gdLst>
                    <a:gd name="T0" fmla="*/ 0 w 16"/>
                    <a:gd name="T1" fmla="*/ 0 h 8"/>
                    <a:gd name="T2" fmla="*/ 1 w 16"/>
                    <a:gd name="T3" fmla="*/ 0 h 8"/>
                    <a:gd name="T4" fmla="*/ 1 w 16"/>
                    <a:gd name="T5" fmla="*/ 0 h 8"/>
                    <a:gd name="T6" fmla="*/ 1 w 16"/>
                    <a:gd name="T7" fmla="*/ 2 h 8"/>
                    <a:gd name="T8" fmla="*/ 1 w 16"/>
                    <a:gd name="T9" fmla="*/ 2 h 8"/>
                    <a:gd name="T10" fmla="*/ 0 w 16"/>
                    <a:gd name="T11" fmla="*/ 0 h 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6"/>
                    <a:gd name="T19" fmla="*/ 0 h 8"/>
                    <a:gd name="T20" fmla="*/ 16 w 16"/>
                    <a:gd name="T21" fmla="*/ 8 h 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6" h="8">
                      <a:moveTo>
                        <a:pt x="0" y="0"/>
                      </a:moveTo>
                      <a:lnTo>
                        <a:pt x="8" y="0"/>
                      </a:lnTo>
                      <a:lnTo>
                        <a:pt x="16" y="0"/>
                      </a:lnTo>
                      <a:lnTo>
                        <a:pt x="16" y="8"/>
                      </a:lnTo>
                      <a:lnTo>
                        <a:pt x="8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46" name="Freeform 377"/>
                <p:cNvSpPr>
                  <a:spLocks noChangeAspect="1"/>
                </p:cNvSpPr>
                <p:nvPr/>
              </p:nvSpPr>
              <p:spPr bwMode="auto">
                <a:xfrm>
                  <a:off x="2631" y="2228"/>
                  <a:ext cx="40" cy="96"/>
                </a:xfrm>
                <a:custGeom>
                  <a:avLst/>
                  <a:gdLst>
                    <a:gd name="T0" fmla="*/ 1 w 56"/>
                    <a:gd name="T1" fmla="*/ 1 h 136"/>
                    <a:gd name="T2" fmla="*/ 1 w 56"/>
                    <a:gd name="T3" fmla="*/ 1 h 136"/>
                    <a:gd name="T4" fmla="*/ 1 w 56"/>
                    <a:gd name="T5" fmla="*/ 1 h 136"/>
                    <a:gd name="T6" fmla="*/ 1 w 56"/>
                    <a:gd name="T7" fmla="*/ 1 h 136"/>
                    <a:gd name="T8" fmla="*/ 1 w 56"/>
                    <a:gd name="T9" fmla="*/ 1 h 136"/>
                    <a:gd name="T10" fmla="*/ 0 w 56"/>
                    <a:gd name="T11" fmla="*/ 1 h 136"/>
                    <a:gd name="T12" fmla="*/ 0 w 56"/>
                    <a:gd name="T13" fmla="*/ 1 h 136"/>
                    <a:gd name="T14" fmla="*/ 0 w 56"/>
                    <a:gd name="T15" fmla="*/ 1 h 136"/>
                    <a:gd name="T16" fmla="*/ 0 w 56"/>
                    <a:gd name="T17" fmla="*/ 1 h 136"/>
                    <a:gd name="T18" fmla="*/ 1 w 56"/>
                    <a:gd name="T19" fmla="*/ 1 h 136"/>
                    <a:gd name="T20" fmla="*/ 1 w 56"/>
                    <a:gd name="T21" fmla="*/ 1 h 136"/>
                    <a:gd name="T22" fmla="*/ 0 w 56"/>
                    <a:gd name="T23" fmla="*/ 1 h 136"/>
                    <a:gd name="T24" fmla="*/ 1 w 56"/>
                    <a:gd name="T25" fmla="*/ 1 h 136"/>
                    <a:gd name="T26" fmla="*/ 1 w 56"/>
                    <a:gd name="T27" fmla="*/ 1 h 136"/>
                    <a:gd name="T28" fmla="*/ 1 w 56"/>
                    <a:gd name="T29" fmla="*/ 1 h 136"/>
                    <a:gd name="T30" fmla="*/ 1 w 56"/>
                    <a:gd name="T31" fmla="*/ 1 h 136"/>
                    <a:gd name="T32" fmla="*/ 1 w 56"/>
                    <a:gd name="T33" fmla="*/ 1 h 136"/>
                    <a:gd name="T34" fmla="*/ 1 w 56"/>
                    <a:gd name="T35" fmla="*/ 1 h 136"/>
                    <a:gd name="T36" fmla="*/ 1 w 56"/>
                    <a:gd name="T37" fmla="*/ 1 h 136"/>
                    <a:gd name="T38" fmla="*/ 1 w 56"/>
                    <a:gd name="T39" fmla="*/ 1 h 136"/>
                    <a:gd name="T40" fmla="*/ 1 w 56"/>
                    <a:gd name="T41" fmla="*/ 1 h 136"/>
                    <a:gd name="T42" fmla="*/ 1 w 56"/>
                    <a:gd name="T43" fmla="*/ 1 h 136"/>
                    <a:gd name="T44" fmla="*/ 1 w 56"/>
                    <a:gd name="T45" fmla="*/ 1 h 136"/>
                    <a:gd name="T46" fmla="*/ 1 w 56"/>
                    <a:gd name="T47" fmla="*/ 0 h 136"/>
                    <a:gd name="T48" fmla="*/ 1 w 56"/>
                    <a:gd name="T49" fmla="*/ 1 h 136"/>
                    <a:gd name="T50" fmla="*/ 1 w 56"/>
                    <a:gd name="T51" fmla="*/ 1 h 136"/>
                    <a:gd name="T52" fmla="*/ 1 w 56"/>
                    <a:gd name="T53" fmla="*/ 1 h 1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56"/>
                    <a:gd name="T82" fmla="*/ 0 h 136"/>
                    <a:gd name="T83" fmla="*/ 56 w 56"/>
                    <a:gd name="T84" fmla="*/ 136 h 136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56" h="136">
                      <a:moveTo>
                        <a:pt x="8" y="8"/>
                      </a:moveTo>
                      <a:lnTo>
                        <a:pt x="8" y="16"/>
                      </a:lnTo>
                      <a:lnTo>
                        <a:pt x="8" y="24"/>
                      </a:lnTo>
                      <a:lnTo>
                        <a:pt x="8" y="40"/>
                      </a:lnTo>
                      <a:lnTo>
                        <a:pt x="8" y="56"/>
                      </a:lnTo>
                      <a:lnTo>
                        <a:pt x="0" y="64"/>
                      </a:lnTo>
                      <a:lnTo>
                        <a:pt x="0" y="72"/>
                      </a:lnTo>
                      <a:lnTo>
                        <a:pt x="0" y="80"/>
                      </a:lnTo>
                      <a:lnTo>
                        <a:pt x="0" y="96"/>
                      </a:lnTo>
                      <a:lnTo>
                        <a:pt x="8" y="104"/>
                      </a:lnTo>
                      <a:lnTo>
                        <a:pt x="8" y="128"/>
                      </a:lnTo>
                      <a:lnTo>
                        <a:pt x="0" y="136"/>
                      </a:lnTo>
                      <a:lnTo>
                        <a:pt x="16" y="136"/>
                      </a:lnTo>
                      <a:lnTo>
                        <a:pt x="24" y="136"/>
                      </a:lnTo>
                      <a:lnTo>
                        <a:pt x="32" y="136"/>
                      </a:lnTo>
                      <a:lnTo>
                        <a:pt x="32" y="120"/>
                      </a:lnTo>
                      <a:lnTo>
                        <a:pt x="40" y="112"/>
                      </a:lnTo>
                      <a:lnTo>
                        <a:pt x="48" y="88"/>
                      </a:lnTo>
                      <a:lnTo>
                        <a:pt x="40" y="72"/>
                      </a:lnTo>
                      <a:lnTo>
                        <a:pt x="48" y="64"/>
                      </a:lnTo>
                      <a:lnTo>
                        <a:pt x="48" y="40"/>
                      </a:lnTo>
                      <a:lnTo>
                        <a:pt x="56" y="32"/>
                      </a:lnTo>
                      <a:lnTo>
                        <a:pt x="56" y="16"/>
                      </a:lnTo>
                      <a:lnTo>
                        <a:pt x="48" y="0"/>
                      </a:lnTo>
                      <a:lnTo>
                        <a:pt x="40" y="8"/>
                      </a:lnTo>
                      <a:lnTo>
                        <a:pt x="16" y="8"/>
                      </a:lnTo>
                      <a:lnTo>
                        <a:pt x="8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47" name="Freeform 378"/>
                <p:cNvSpPr>
                  <a:spLocks noChangeAspect="1"/>
                </p:cNvSpPr>
                <p:nvPr/>
              </p:nvSpPr>
              <p:spPr bwMode="auto">
                <a:xfrm>
                  <a:off x="2631" y="2194"/>
                  <a:ext cx="175" cy="147"/>
                </a:xfrm>
                <a:custGeom>
                  <a:avLst/>
                  <a:gdLst>
                    <a:gd name="T0" fmla="*/ 1 w 248"/>
                    <a:gd name="T1" fmla="*/ 1 h 208"/>
                    <a:gd name="T2" fmla="*/ 1 w 248"/>
                    <a:gd name="T3" fmla="*/ 1 h 208"/>
                    <a:gd name="T4" fmla="*/ 1 w 248"/>
                    <a:gd name="T5" fmla="*/ 1 h 208"/>
                    <a:gd name="T6" fmla="*/ 1 w 248"/>
                    <a:gd name="T7" fmla="*/ 1 h 208"/>
                    <a:gd name="T8" fmla="*/ 1 w 248"/>
                    <a:gd name="T9" fmla="*/ 1 h 208"/>
                    <a:gd name="T10" fmla="*/ 1 w 248"/>
                    <a:gd name="T11" fmla="*/ 1 h 208"/>
                    <a:gd name="T12" fmla="*/ 1 w 248"/>
                    <a:gd name="T13" fmla="*/ 1 h 208"/>
                    <a:gd name="T14" fmla="*/ 1 w 248"/>
                    <a:gd name="T15" fmla="*/ 1 h 208"/>
                    <a:gd name="T16" fmla="*/ 1 w 248"/>
                    <a:gd name="T17" fmla="*/ 1 h 208"/>
                    <a:gd name="T18" fmla="*/ 1 w 248"/>
                    <a:gd name="T19" fmla="*/ 1 h 208"/>
                    <a:gd name="T20" fmla="*/ 1 w 248"/>
                    <a:gd name="T21" fmla="*/ 1 h 208"/>
                    <a:gd name="T22" fmla="*/ 1 w 248"/>
                    <a:gd name="T23" fmla="*/ 1 h 208"/>
                    <a:gd name="T24" fmla="*/ 1 w 248"/>
                    <a:gd name="T25" fmla="*/ 1 h 208"/>
                    <a:gd name="T26" fmla="*/ 1 w 248"/>
                    <a:gd name="T27" fmla="*/ 1 h 208"/>
                    <a:gd name="T28" fmla="*/ 1 w 248"/>
                    <a:gd name="T29" fmla="*/ 1 h 208"/>
                    <a:gd name="T30" fmla="*/ 1 w 248"/>
                    <a:gd name="T31" fmla="*/ 1 h 208"/>
                    <a:gd name="T32" fmla="*/ 1 w 248"/>
                    <a:gd name="T33" fmla="*/ 1 h 208"/>
                    <a:gd name="T34" fmla="*/ 1 w 248"/>
                    <a:gd name="T35" fmla="*/ 1 h 208"/>
                    <a:gd name="T36" fmla="*/ 1 w 248"/>
                    <a:gd name="T37" fmla="*/ 1 h 208"/>
                    <a:gd name="T38" fmla="*/ 1 w 248"/>
                    <a:gd name="T39" fmla="*/ 1 h 208"/>
                    <a:gd name="T40" fmla="*/ 1 w 248"/>
                    <a:gd name="T41" fmla="*/ 1 h 208"/>
                    <a:gd name="T42" fmla="*/ 1 w 248"/>
                    <a:gd name="T43" fmla="*/ 1 h 208"/>
                    <a:gd name="T44" fmla="*/ 1 w 248"/>
                    <a:gd name="T45" fmla="*/ 1 h 208"/>
                    <a:gd name="T46" fmla="*/ 1 w 248"/>
                    <a:gd name="T47" fmla="*/ 1 h 208"/>
                    <a:gd name="T48" fmla="*/ 1 w 248"/>
                    <a:gd name="T49" fmla="*/ 1 h 208"/>
                    <a:gd name="T50" fmla="*/ 1 w 248"/>
                    <a:gd name="T51" fmla="*/ 1 h 208"/>
                    <a:gd name="T52" fmla="*/ 1 w 248"/>
                    <a:gd name="T53" fmla="*/ 1 h 208"/>
                    <a:gd name="T54" fmla="*/ 1 w 248"/>
                    <a:gd name="T55" fmla="*/ 1 h 208"/>
                    <a:gd name="T56" fmla="*/ 1 w 248"/>
                    <a:gd name="T57" fmla="*/ 1 h 208"/>
                    <a:gd name="T58" fmla="*/ 1 w 248"/>
                    <a:gd name="T59" fmla="*/ 1 h 208"/>
                    <a:gd name="T60" fmla="*/ 1 w 248"/>
                    <a:gd name="T61" fmla="*/ 1 h 208"/>
                    <a:gd name="T62" fmla="*/ 1 w 248"/>
                    <a:gd name="T63" fmla="*/ 1 h 208"/>
                    <a:gd name="T64" fmla="*/ 1 w 248"/>
                    <a:gd name="T65" fmla="*/ 1 h 208"/>
                    <a:gd name="T66" fmla="*/ 1 w 248"/>
                    <a:gd name="T67" fmla="*/ 1 h 208"/>
                    <a:gd name="T68" fmla="*/ 1 w 248"/>
                    <a:gd name="T69" fmla="*/ 1 h 208"/>
                    <a:gd name="T70" fmla="*/ 1 w 248"/>
                    <a:gd name="T71" fmla="*/ 1 h 208"/>
                    <a:gd name="T72" fmla="*/ 1 w 248"/>
                    <a:gd name="T73" fmla="*/ 1 h 208"/>
                    <a:gd name="T74" fmla="*/ 1 w 248"/>
                    <a:gd name="T75" fmla="*/ 1 h 208"/>
                    <a:gd name="T76" fmla="*/ 1 w 248"/>
                    <a:gd name="T77" fmla="*/ 1 h 208"/>
                    <a:gd name="T78" fmla="*/ 0 w 248"/>
                    <a:gd name="T79" fmla="*/ 1 h 208"/>
                    <a:gd name="T80" fmla="*/ 0 w 248"/>
                    <a:gd name="T81" fmla="*/ 1 h 208"/>
                    <a:gd name="T82" fmla="*/ 1 w 248"/>
                    <a:gd name="T83" fmla="*/ 1 h 208"/>
                    <a:gd name="T84" fmla="*/ 1 w 248"/>
                    <a:gd name="T85" fmla="*/ 0 h 208"/>
                    <a:gd name="T86" fmla="*/ 1 w 248"/>
                    <a:gd name="T87" fmla="*/ 0 h 208"/>
                    <a:gd name="T88" fmla="*/ 1 w 248"/>
                    <a:gd name="T89" fmla="*/ 1 h 208"/>
                    <a:gd name="T90" fmla="*/ 1 w 248"/>
                    <a:gd name="T91" fmla="*/ 1 h 208"/>
                    <a:gd name="T92" fmla="*/ 1 w 248"/>
                    <a:gd name="T93" fmla="*/ 1 h 208"/>
                    <a:gd name="T94" fmla="*/ 1 w 248"/>
                    <a:gd name="T95" fmla="*/ 1 h 208"/>
                    <a:gd name="T96" fmla="*/ 1 w 248"/>
                    <a:gd name="T97" fmla="*/ 1 h 208"/>
                    <a:gd name="T98" fmla="*/ 1 w 248"/>
                    <a:gd name="T99" fmla="*/ 1 h 208"/>
                    <a:gd name="T100" fmla="*/ 1 w 248"/>
                    <a:gd name="T101" fmla="*/ 1 h 208"/>
                    <a:gd name="T102" fmla="*/ 1 w 248"/>
                    <a:gd name="T103" fmla="*/ 1 h 208"/>
                    <a:gd name="T104" fmla="*/ 1 w 248"/>
                    <a:gd name="T105" fmla="*/ 1 h 208"/>
                    <a:gd name="T106" fmla="*/ 1 w 248"/>
                    <a:gd name="T107" fmla="*/ 1 h 208"/>
                    <a:gd name="T108" fmla="*/ 1 w 248"/>
                    <a:gd name="T109" fmla="*/ 1 h 208"/>
                    <a:gd name="T110" fmla="*/ 1 w 248"/>
                    <a:gd name="T111" fmla="*/ 1 h 208"/>
                    <a:gd name="T112" fmla="*/ 1 w 248"/>
                    <a:gd name="T113" fmla="*/ 1 h 208"/>
                    <a:gd name="T114" fmla="*/ 1 w 248"/>
                    <a:gd name="T115" fmla="*/ 1 h 208"/>
                    <a:gd name="T116" fmla="*/ 1 w 248"/>
                    <a:gd name="T117" fmla="*/ 1 h 208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248"/>
                    <a:gd name="T178" fmla="*/ 0 h 208"/>
                    <a:gd name="T179" fmla="*/ 248 w 248"/>
                    <a:gd name="T180" fmla="*/ 208 h 208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248" h="208">
                      <a:moveTo>
                        <a:pt x="248" y="32"/>
                      </a:moveTo>
                      <a:lnTo>
                        <a:pt x="248" y="48"/>
                      </a:lnTo>
                      <a:lnTo>
                        <a:pt x="240" y="64"/>
                      </a:lnTo>
                      <a:lnTo>
                        <a:pt x="224" y="72"/>
                      </a:lnTo>
                      <a:lnTo>
                        <a:pt x="208" y="72"/>
                      </a:lnTo>
                      <a:lnTo>
                        <a:pt x="200" y="80"/>
                      </a:lnTo>
                      <a:lnTo>
                        <a:pt x="200" y="88"/>
                      </a:lnTo>
                      <a:lnTo>
                        <a:pt x="184" y="104"/>
                      </a:lnTo>
                      <a:lnTo>
                        <a:pt x="184" y="120"/>
                      </a:lnTo>
                      <a:lnTo>
                        <a:pt x="184" y="144"/>
                      </a:lnTo>
                      <a:lnTo>
                        <a:pt x="176" y="152"/>
                      </a:lnTo>
                      <a:lnTo>
                        <a:pt x="176" y="168"/>
                      </a:lnTo>
                      <a:lnTo>
                        <a:pt x="160" y="176"/>
                      </a:lnTo>
                      <a:lnTo>
                        <a:pt x="152" y="184"/>
                      </a:lnTo>
                      <a:lnTo>
                        <a:pt x="144" y="184"/>
                      </a:lnTo>
                      <a:lnTo>
                        <a:pt x="144" y="192"/>
                      </a:lnTo>
                      <a:lnTo>
                        <a:pt x="128" y="200"/>
                      </a:lnTo>
                      <a:lnTo>
                        <a:pt x="120" y="192"/>
                      </a:lnTo>
                      <a:lnTo>
                        <a:pt x="104" y="192"/>
                      </a:lnTo>
                      <a:lnTo>
                        <a:pt x="88" y="200"/>
                      </a:lnTo>
                      <a:lnTo>
                        <a:pt x="72" y="208"/>
                      </a:lnTo>
                      <a:lnTo>
                        <a:pt x="64" y="208"/>
                      </a:lnTo>
                      <a:lnTo>
                        <a:pt x="56" y="200"/>
                      </a:lnTo>
                      <a:lnTo>
                        <a:pt x="48" y="184"/>
                      </a:lnTo>
                      <a:lnTo>
                        <a:pt x="40" y="184"/>
                      </a:lnTo>
                      <a:lnTo>
                        <a:pt x="32" y="184"/>
                      </a:lnTo>
                      <a:lnTo>
                        <a:pt x="32" y="168"/>
                      </a:lnTo>
                      <a:lnTo>
                        <a:pt x="40" y="160"/>
                      </a:lnTo>
                      <a:lnTo>
                        <a:pt x="48" y="136"/>
                      </a:lnTo>
                      <a:lnTo>
                        <a:pt x="40" y="120"/>
                      </a:lnTo>
                      <a:lnTo>
                        <a:pt x="48" y="112"/>
                      </a:lnTo>
                      <a:lnTo>
                        <a:pt x="48" y="88"/>
                      </a:lnTo>
                      <a:lnTo>
                        <a:pt x="56" y="80"/>
                      </a:lnTo>
                      <a:lnTo>
                        <a:pt x="56" y="64"/>
                      </a:lnTo>
                      <a:lnTo>
                        <a:pt x="48" y="48"/>
                      </a:lnTo>
                      <a:lnTo>
                        <a:pt x="40" y="56"/>
                      </a:lnTo>
                      <a:lnTo>
                        <a:pt x="16" y="56"/>
                      </a:lnTo>
                      <a:lnTo>
                        <a:pt x="8" y="56"/>
                      </a:lnTo>
                      <a:lnTo>
                        <a:pt x="8" y="40"/>
                      </a:lnTo>
                      <a:lnTo>
                        <a:pt x="0" y="24"/>
                      </a:lnTo>
                      <a:lnTo>
                        <a:pt x="0" y="16"/>
                      </a:lnTo>
                      <a:lnTo>
                        <a:pt x="16" y="8"/>
                      </a:lnTo>
                      <a:lnTo>
                        <a:pt x="24" y="0"/>
                      </a:lnTo>
                      <a:lnTo>
                        <a:pt x="32" y="0"/>
                      </a:lnTo>
                      <a:lnTo>
                        <a:pt x="32" y="8"/>
                      </a:lnTo>
                      <a:lnTo>
                        <a:pt x="56" y="8"/>
                      </a:lnTo>
                      <a:lnTo>
                        <a:pt x="64" y="8"/>
                      </a:lnTo>
                      <a:lnTo>
                        <a:pt x="72" y="8"/>
                      </a:lnTo>
                      <a:lnTo>
                        <a:pt x="96" y="8"/>
                      </a:lnTo>
                      <a:lnTo>
                        <a:pt x="112" y="8"/>
                      </a:lnTo>
                      <a:lnTo>
                        <a:pt x="128" y="16"/>
                      </a:lnTo>
                      <a:lnTo>
                        <a:pt x="152" y="16"/>
                      </a:lnTo>
                      <a:lnTo>
                        <a:pt x="168" y="24"/>
                      </a:lnTo>
                      <a:lnTo>
                        <a:pt x="176" y="24"/>
                      </a:lnTo>
                      <a:lnTo>
                        <a:pt x="184" y="32"/>
                      </a:lnTo>
                      <a:lnTo>
                        <a:pt x="208" y="32"/>
                      </a:lnTo>
                      <a:lnTo>
                        <a:pt x="216" y="32"/>
                      </a:lnTo>
                      <a:lnTo>
                        <a:pt x="224" y="32"/>
                      </a:lnTo>
                      <a:lnTo>
                        <a:pt x="248" y="32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48" name="Freeform 379"/>
                <p:cNvSpPr>
                  <a:spLocks noChangeAspect="1"/>
                </p:cNvSpPr>
                <p:nvPr/>
              </p:nvSpPr>
              <p:spPr bwMode="auto">
                <a:xfrm>
                  <a:off x="2693" y="2042"/>
                  <a:ext cx="186" cy="175"/>
                </a:xfrm>
                <a:custGeom>
                  <a:avLst/>
                  <a:gdLst>
                    <a:gd name="T0" fmla="*/ 1 w 264"/>
                    <a:gd name="T1" fmla="*/ 1 h 248"/>
                    <a:gd name="T2" fmla="*/ 1 w 264"/>
                    <a:gd name="T3" fmla="*/ 1 h 248"/>
                    <a:gd name="T4" fmla="*/ 1 w 264"/>
                    <a:gd name="T5" fmla="*/ 1 h 248"/>
                    <a:gd name="T6" fmla="*/ 1 w 264"/>
                    <a:gd name="T7" fmla="*/ 1 h 248"/>
                    <a:gd name="T8" fmla="*/ 1 w 264"/>
                    <a:gd name="T9" fmla="*/ 1 h 248"/>
                    <a:gd name="T10" fmla="*/ 1 w 264"/>
                    <a:gd name="T11" fmla="*/ 1 h 248"/>
                    <a:gd name="T12" fmla="*/ 1 w 264"/>
                    <a:gd name="T13" fmla="*/ 1 h 248"/>
                    <a:gd name="T14" fmla="*/ 1 w 264"/>
                    <a:gd name="T15" fmla="*/ 1 h 248"/>
                    <a:gd name="T16" fmla="*/ 1 w 264"/>
                    <a:gd name="T17" fmla="*/ 1 h 248"/>
                    <a:gd name="T18" fmla="*/ 1 w 264"/>
                    <a:gd name="T19" fmla="*/ 1 h 248"/>
                    <a:gd name="T20" fmla="*/ 1 w 264"/>
                    <a:gd name="T21" fmla="*/ 1 h 248"/>
                    <a:gd name="T22" fmla="*/ 1 w 264"/>
                    <a:gd name="T23" fmla="*/ 1 h 248"/>
                    <a:gd name="T24" fmla="*/ 1 w 264"/>
                    <a:gd name="T25" fmla="*/ 1 h 248"/>
                    <a:gd name="T26" fmla="*/ 1 w 264"/>
                    <a:gd name="T27" fmla="*/ 1 h 248"/>
                    <a:gd name="T28" fmla="*/ 1 w 264"/>
                    <a:gd name="T29" fmla="*/ 1 h 248"/>
                    <a:gd name="T30" fmla="*/ 1 w 264"/>
                    <a:gd name="T31" fmla="*/ 1 h 248"/>
                    <a:gd name="T32" fmla="*/ 1 w 264"/>
                    <a:gd name="T33" fmla="*/ 0 h 248"/>
                    <a:gd name="T34" fmla="*/ 1 w 264"/>
                    <a:gd name="T35" fmla="*/ 1 h 248"/>
                    <a:gd name="T36" fmla="*/ 1 w 264"/>
                    <a:gd name="T37" fmla="*/ 1 h 248"/>
                    <a:gd name="T38" fmla="*/ 1 w 264"/>
                    <a:gd name="T39" fmla="*/ 1 h 248"/>
                    <a:gd name="T40" fmla="*/ 1 w 264"/>
                    <a:gd name="T41" fmla="*/ 1 h 248"/>
                    <a:gd name="T42" fmla="*/ 1 w 264"/>
                    <a:gd name="T43" fmla="*/ 1 h 248"/>
                    <a:gd name="T44" fmla="*/ 1 w 264"/>
                    <a:gd name="T45" fmla="*/ 1 h 248"/>
                    <a:gd name="T46" fmla="*/ 1 w 264"/>
                    <a:gd name="T47" fmla="*/ 1 h 248"/>
                    <a:gd name="T48" fmla="*/ 1 w 264"/>
                    <a:gd name="T49" fmla="*/ 1 h 248"/>
                    <a:gd name="T50" fmla="*/ 0 w 264"/>
                    <a:gd name="T51" fmla="*/ 1 h 248"/>
                    <a:gd name="T52" fmla="*/ 1 w 264"/>
                    <a:gd name="T53" fmla="*/ 1 h 248"/>
                    <a:gd name="T54" fmla="*/ 1 w 264"/>
                    <a:gd name="T55" fmla="*/ 1 h 248"/>
                    <a:gd name="T56" fmla="*/ 1 w 264"/>
                    <a:gd name="T57" fmla="*/ 1 h 248"/>
                    <a:gd name="T58" fmla="*/ 1 w 264"/>
                    <a:gd name="T59" fmla="*/ 1 h 248"/>
                    <a:gd name="T60" fmla="*/ 1 w 264"/>
                    <a:gd name="T61" fmla="*/ 1 h 248"/>
                    <a:gd name="T62" fmla="*/ 1 w 264"/>
                    <a:gd name="T63" fmla="*/ 1 h 248"/>
                    <a:gd name="T64" fmla="*/ 1 w 264"/>
                    <a:gd name="T65" fmla="*/ 1 h 248"/>
                    <a:gd name="T66" fmla="*/ 1 w 264"/>
                    <a:gd name="T67" fmla="*/ 1 h 248"/>
                    <a:gd name="T68" fmla="*/ 1 w 264"/>
                    <a:gd name="T69" fmla="*/ 1 h 248"/>
                    <a:gd name="T70" fmla="*/ 1 w 264"/>
                    <a:gd name="T71" fmla="*/ 1 h 248"/>
                    <a:gd name="T72" fmla="*/ 1 w 264"/>
                    <a:gd name="T73" fmla="*/ 1 h 248"/>
                    <a:gd name="T74" fmla="*/ 1 w 264"/>
                    <a:gd name="T75" fmla="*/ 1 h 248"/>
                    <a:gd name="T76" fmla="*/ 1 w 264"/>
                    <a:gd name="T77" fmla="*/ 1 h 248"/>
                    <a:gd name="T78" fmla="*/ 1 w 264"/>
                    <a:gd name="T79" fmla="*/ 1 h 248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64"/>
                    <a:gd name="T121" fmla="*/ 0 h 248"/>
                    <a:gd name="T122" fmla="*/ 264 w 264"/>
                    <a:gd name="T123" fmla="*/ 248 h 248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64" h="248">
                      <a:moveTo>
                        <a:pt x="160" y="248"/>
                      </a:moveTo>
                      <a:lnTo>
                        <a:pt x="160" y="232"/>
                      </a:lnTo>
                      <a:lnTo>
                        <a:pt x="176" y="224"/>
                      </a:lnTo>
                      <a:lnTo>
                        <a:pt x="192" y="232"/>
                      </a:lnTo>
                      <a:lnTo>
                        <a:pt x="208" y="232"/>
                      </a:lnTo>
                      <a:lnTo>
                        <a:pt x="216" y="232"/>
                      </a:lnTo>
                      <a:lnTo>
                        <a:pt x="224" y="232"/>
                      </a:lnTo>
                      <a:lnTo>
                        <a:pt x="232" y="224"/>
                      </a:lnTo>
                      <a:lnTo>
                        <a:pt x="248" y="224"/>
                      </a:lnTo>
                      <a:lnTo>
                        <a:pt x="256" y="216"/>
                      </a:lnTo>
                      <a:lnTo>
                        <a:pt x="248" y="208"/>
                      </a:lnTo>
                      <a:lnTo>
                        <a:pt x="240" y="200"/>
                      </a:lnTo>
                      <a:lnTo>
                        <a:pt x="232" y="184"/>
                      </a:lnTo>
                      <a:lnTo>
                        <a:pt x="232" y="160"/>
                      </a:lnTo>
                      <a:lnTo>
                        <a:pt x="232" y="144"/>
                      </a:lnTo>
                      <a:lnTo>
                        <a:pt x="224" y="144"/>
                      </a:lnTo>
                      <a:lnTo>
                        <a:pt x="216" y="152"/>
                      </a:lnTo>
                      <a:lnTo>
                        <a:pt x="216" y="144"/>
                      </a:lnTo>
                      <a:lnTo>
                        <a:pt x="224" y="136"/>
                      </a:lnTo>
                      <a:lnTo>
                        <a:pt x="224" y="128"/>
                      </a:lnTo>
                      <a:lnTo>
                        <a:pt x="232" y="128"/>
                      </a:lnTo>
                      <a:lnTo>
                        <a:pt x="232" y="112"/>
                      </a:lnTo>
                      <a:lnTo>
                        <a:pt x="240" y="104"/>
                      </a:lnTo>
                      <a:lnTo>
                        <a:pt x="248" y="112"/>
                      </a:lnTo>
                      <a:lnTo>
                        <a:pt x="256" y="80"/>
                      </a:lnTo>
                      <a:lnTo>
                        <a:pt x="264" y="56"/>
                      </a:lnTo>
                      <a:lnTo>
                        <a:pt x="248" y="48"/>
                      </a:lnTo>
                      <a:lnTo>
                        <a:pt x="232" y="48"/>
                      </a:lnTo>
                      <a:lnTo>
                        <a:pt x="216" y="48"/>
                      </a:lnTo>
                      <a:lnTo>
                        <a:pt x="200" y="32"/>
                      </a:lnTo>
                      <a:lnTo>
                        <a:pt x="192" y="32"/>
                      </a:lnTo>
                      <a:lnTo>
                        <a:pt x="176" y="24"/>
                      </a:lnTo>
                      <a:lnTo>
                        <a:pt x="160" y="16"/>
                      </a:lnTo>
                      <a:lnTo>
                        <a:pt x="144" y="0"/>
                      </a:lnTo>
                      <a:lnTo>
                        <a:pt x="128" y="0"/>
                      </a:lnTo>
                      <a:lnTo>
                        <a:pt x="120" y="24"/>
                      </a:lnTo>
                      <a:lnTo>
                        <a:pt x="104" y="40"/>
                      </a:lnTo>
                      <a:lnTo>
                        <a:pt x="96" y="48"/>
                      </a:lnTo>
                      <a:lnTo>
                        <a:pt x="80" y="48"/>
                      </a:lnTo>
                      <a:lnTo>
                        <a:pt x="72" y="40"/>
                      </a:lnTo>
                      <a:lnTo>
                        <a:pt x="56" y="40"/>
                      </a:lnTo>
                      <a:lnTo>
                        <a:pt x="56" y="48"/>
                      </a:lnTo>
                      <a:lnTo>
                        <a:pt x="64" y="64"/>
                      </a:lnTo>
                      <a:lnTo>
                        <a:pt x="72" y="72"/>
                      </a:lnTo>
                      <a:lnTo>
                        <a:pt x="64" y="80"/>
                      </a:lnTo>
                      <a:lnTo>
                        <a:pt x="56" y="72"/>
                      </a:lnTo>
                      <a:lnTo>
                        <a:pt x="48" y="80"/>
                      </a:lnTo>
                      <a:lnTo>
                        <a:pt x="32" y="72"/>
                      </a:lnTo>
                      <a:lnTo>
                        <a:pt x="24" y="72"/>
                      </a:lnTo>
                      <a:lnTo>
                        <a:pt x="16" y="80"/>
                      </a:lnTo>
                      <a:lnTo>
                        <a:pt x="8" y="80"/>
                      </a:lnTo>
                      <a:lnTo>
                        <a:pt x="0" y="88"/>
                      </a:lnTo>
                      <a:lnTo>
                        <a:pt x="8" y="88"/>
                      </a:lnTo>
                      <a:lnTo>
                        <a:pt x="8" y="96"/>
                      </a:lnTo>
                      <a:lnTo>
                        <a:pt x="16" y="104"/>
                      </a:lnTo>
                      <a:lnTo>
                        <a:pt x="32" y="104"/>
                      </a:lnTo>
                      <a:lnTo>
                        <a:pt x="40" y="104"/>
                      </a:lnTo>
                      <a:lnTo>
                        <a:pt x="40" y="112"/>
                      </a:lnTo>
                      <a:lnTo>
                        <a:pt x="48" y="112"/>
                      </a:lnTo>
                      <a:lnTo>
                        <a:pt x="56" y="120"/>
                      </a:lnTo>
                      <a:lnTo>
                        <a:pt x="56" y="128"/>
                      </a:lnTo>
                      <a:lnTo>
                        <a:pt x="72" y="144"/>
                      </a:lnTo>
                      <a:lnTo>
                        <a:pt x="72" y="152"/>
                      </a:lnTo>
                      <a:lnTo>
                        <a:pt x="72" y="168"/>
                      </a:lnTo>
                      <a:lnTo>
                        <a:pt x="72" y="176"/>
                      </a:lnTo>
                      <a:lnTo>
                        <a:pt x="80" y="184"/>
                      </a:lnTo>
                      <a:lnTo>
                        <a:pt x="80" y="192"/>
                      </a:lnTo>
                      <a:lnTo>
                        <a:pt x="80" y="184"/>
                      </a:lnTo>
                      <a:lnTo>
                        <a:pt x="80" y="200"/>
                      </a:lnTo>
                      <a:lnTo>
                        <a:pt x="72" y="216"/>
                      </a:lnTo>
                      <a:lnTo>
                        <a:pt x="64" y="232"/>
                      </a:lnTo>
                      <a:lnTo>
                        <a:pt x="80" y="240"/>
                      </a:lnTo>
                      <a:lnTo>
                        <a:pt x="88" y="240"/>
                      </a:lnTo>
                      <a:lnTo>
                        <a:pt x="96" y="248"/>
                      </a:lnTo>
                      <a:lnTo>
                        <a:pt x="120" y="248"/>
                      </a:lnTo>
                      <a:lnTo>
                        <a:pt x="120" y="240"/>
                      </a:lnTo>
                      <a:lnTo>
                        <a:pt x="128" y="240"/>
                      </a:lnTo>
                      <a:lnTo>
                        <a:pt x="128" y="248"/>
                      </a:lnTo>
                      <a:lnTo>
                        <a:pt x="136" y="248"/>
                      </a:lnTo>
                      <a:lnTo>
                        <a:pt x="160" y="24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49" name="Freeform 380"/>
                <p:cNvSpPr>
                  <a:spLocks noChangeAspect="1"/>
                </p:cNvSpPr>
                <p:nvPr/>
              </p:nvSpPr>
              <p:spPr bwMode="auto">
                <a:xfrm>
                  <a:off x="2857" y="2132"/>
                  <a:ext cx="174" cy="175"/>
                </a:xfrm>
                <a:custGeom>
                  <a:avLst/>
                  <a:gdLst>
                    <a:gd name="T0" fmla="*/ 1 w 248"/>
                    <a:gd name="T1" fmla="*/ 1 h 248"/>
                    <a:gd name="T2" fmla="*/ 1 w 248"/>
                    <a:gd name="T3" fmla="*/ 1 h 248"/>
                    <a:gd name="T4" fmla="*/ 1 w 248"/>
                    <a:gd name="T5" fmla="*/ 1 h 248"/>
                    <a:gd name="T6" fmla="*/ 1 w 248"/>
                    <a:gd name="T7" fmla="*/ 1 h 248"/>
                    <a:gd name="T8" fmla="*/ 1 w 248"/>
                    <a:gd name="T9" fmla="*/ 1 h 248"/>
                    <a:gd name="T10" fmla="*/ 1 w 248"/>
                    <a:gd name="T11" fmla="*/ 1 h 248"/>
                    <a:gd name="T12" fmla="*/ 1 w 248"/>
                    <a:gd name="T13" fmla="*/ 1 h 248"/>
                    <a:gd name="T14" fmla="*/ 1 w 248"/>
                    <a:gd name="T15" fmla="*/ 1 h 248"/>
                    <a:gd name="T16" fmla="*/ 1 w 248"/>
                    <a:gd name="T17" fmla="*/ 1 h 248"/>
                    <a:gd name="T18" fmla="*/ 1 w 248"/>
                    <a:gd name="T19" fmla="*/ 1 h 248"/>
                    <a:gd name="T20" fmla="*/ 1 w 248"/>
                    <a:gd name="T21" fmla="*/ 1 h 248"/>
                    <a:gd name="T22" fmla="*/ 1 w 248"/>
                    <a:gd name="T23" fmla="*/ 1 h 248"/>
                    <a:gd name="T24" fmla="*/ 1 w 248"/>
                    <a:gd name="T25" fmla="*/ 1 h 248"/>
                    <a:gd name="T26" fmla="*/ 1 w 248"/>
                    <a:gd name="T27" fmla="*/ 1 h 248"/>
                    <a:gd name="T28" fmla="*/ 1 w 248"/>
                    <a:gd name="T29" fmla="*/ 1 h 248"/>
                    <a:gd name="T30" fmla="*/ 1 w 248"/>
                    <a:gd name="T31" fmla="*/ 1 h 248"/>
                    <a:gd name="T32" fmla="*/ 1 w 248"/>
                    <a:gd name="T33" fmla="*/ 1 h 248"/>
                    <a:gd name="T34" fmla="*/ 1 w 248"/>
                    <a:gd name="T35" fmla="*/ 1 h 248"/>
                    <a:gd name="T36" fmla="*/ 1 w 248"/>
                    <a:gd name="T37" fmla="*/ 1 h 248"/>
                    <a:gd name="T38" fmla="*/ 1 w 248"/>
                    <a:gd name="T39" fmla="*/ 1 h 248"/>
                    <a:gd name="T40" fmla="*/ 1 w 248"/>
                    <a:gd name="T41" fmla="*/ 1 h 248"/>
                    <a:gd name="T42" fmla="*/ 1 w 248"/>
                    <a:gd name="T43" fmla="*/ 1 h 248"/>
                    <a:gd name="T44" fmla="*/ 1 w 248"/>
                    <a:gd name="T45" fmla="*/ 1 h 248"/>
                    <a:gd name="T46" fmla="*/ 1 w 248"/>
                    <a:gd name="T47" fmla="*/ 1 h 248"/>
                    <a:gd name="T48" fmla="*/ 1 w 248"/>
                    <a:gd name="T49" fmla="*/ 1 h 248"/>
                    <a:gd name="T50" fmla="*/ 1 w 248"/>
                    <a:gd name="T51" fmla="*/ 1 h 248"/>
                    <a:gd name="T52" fmla="*/ 1 w 248"/>
                    <a:gd name="T53" fmla="*/ 1 h 248"/>
                    <a:gd name="T54" fmla="*/ 1 w 248"/>
                    <a:gd name="T55" fmla="*/ 1 h 248"/>
                    <a:gd name="T56" fmla="*/ 1 w 248"/>
                    <a:gd name="T57" fmla="*/ 1 h 248"/>
                    <a:gd name="T58" fmla="*/ 1 w 248"/>
                    <a:gd name="T59" fmla="*/ 0 h 248"/>
                    <a:gd name="T60" fmla="*/ 1 w 248"/>
                    <a:gd name="T61" fmla="*/ 0 h 248"/>
                    <a:gd name="T62" fmla="*/ 1 w 248"/>
                    <a:gd name="T63" fmla="*/ 0 h 248"/>
                    <a:gd name="T64" fmla="*/ 1 w 248"/>
                    <a:gd name="T65" fmla="*/ 1 h 248"/>
                    <a:gd name="T66" fmla="*/ 1 w 248"/>
                    <a:gd name="T67" fmla="*/ 1 h 248"/>
                    <a:gd name="T68" fmla="*/ 1 w 248"/>
                    <a:gd name="T69" fmla="*/ 1 h 248"/>
                    <a:gd name="T70" fmla="*/ 0 w 248"/>
                    <a:gd name="T71" fmla="*/ 1 h 248"/>
                    <a:gd name="T72" fmla="*/ 1 w 248"/>
                    <a:gd name="T73" fmla="*/ 1 h 248"/>
                    <a:gd name="T74" fmla="*/ 1 w 248"/>
                    <a:gd name="T75" fmla="*/ 1 h 248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248"/>
                    <a:gd name="T115" fmla="*/ 0 h 248"/>
                    <a:gd name="T116" fmla="*/ 248 w 248"/>
                    <a:gd name="T117" fmla="*/ 248 h 248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248" h="248">
                      <a:moveTo>
                        <a:pt x="24" y="88"/>
                      </a:moveTo>
                      <a:lnTo>
                        <a:pt x="40" y="72"/>
                      </a:lnTo>
                      <a:lnTo>
                        <a:pt x="56" y="72"/>
                      </a:lnTo>
                      <a:lnTo>
                        <a:pt x="64" y="72"/>
                      </a:lnTo>
                      <a:lnTo>
                        <a:pt x="80" y="96"/>
                      </a:lnTo>
                      <a:lnTo>
                        <a:pt x="80" y="112"/>
                      </a:lnTo>
                      <a:lnTo>
                        <a:pt x="96" y="120"/>
                      </a:lnTo>
                      <a:lnTo>
                        <a:pt x="96" y="136"/>
                      </a:lnTo>
                      <a:lnTo>
                        <a:pt x="104" y="144"/>
                      </a:lnTo>
                      <a:lnTo>
                        <a:pt x="112" y="144"/>
                      </a:lnTo>
                      <a:lnTo>
                        <a:pt x="120" y="152"/>
                      </a:lnTo>
                      <a:lnTo>
                        <a:pt x="136" y="160"/>
                      </a:lnTo>
                      <a:lnTo>
                        <a:pt x="144" y="160"/>
                      </a:lnTo>
                      <a:lnTo>
                        <a:pt x="152" y="168"/>
                      </a:lnTo>
                      <a:lnTo>
                        <a:pt x="160" y="168"/>
                      </a:lnTo>
                      <a:lnTo>
                        <a:pt x="160" y="176"/>
                      </a:lnTo>
                      <a:lnTo>
                        <a:pt x="168" y="176"/>
                      </a:lnTo>
                      <a:lnTo>
                        <a:pt x="168" y="184"/>
                      </a:lnTo>
                      <a:lnTo>
                        <a:pt x="176" y="192"/>
                      </a:lnTo>
                      <a:lnTo>
                        <a:pt x="184" y="192"/>
                      </a:lnTo>
                      <a:lnTo>
                        <a:pt x="192" y="200"/>
                      </a:lnTo>
                      <a:lnTo>
                        <a:pt x="192" y="208"/>
                      </a:lnTo>
                      <a:lnTo>
                        <a:pt x="200" y="224"/>
                      </a:lnTo>
                      <a:lnTo>
                        <a:pt x="184" y="232"/>
                      </a:lnTo>
                      <a:lnTo>
                        <a:pt x="184" y="240"/>
                      </a:lnTo>
                      <a:lnTo>
                        <a:pt x="192" y="248"/>
                      </a:lnTo>
                      <a:lnTo>
                        <a:pt x="200" y="240"/>
                      </a:lnTo>
                      <a:lnTo>
                        <a:pt x="208" y="224"/>
                      </a:lnTo>
                      <a:lnTo>
                        <a:pt x="216" y="224"/>
                      </a:lnTo>
                      <a:lnTo>
                        <a:pt x="216" y="208"/>
                      </a:lnTo>
                      <a:lnTo>
                        <a:pt x="208" y="200"/>
                      </a:lnTo>
                      <a:lnTo>
                        <a:pt x="208" y="184"/>
                      </a:lnTo>
                      <a:lnTo>
                        <a:pt x="224" y="184"/>
                      </a:lnTo>
                      <a:lnTo>
                        <a:pt x="232" y="184"/>
                      </a:lnTo>
                      <a:lnTo>
                        <a:pt x="240" y="192"/>
                      </a:lnTo>
                      <a:lnTo>
                        <a:pt x="248" y="192"/>
                      </a:lnTo>
                      <a:lnTo>
                        <a:pt x="240" y="184"/>
                      </a:lnTo>
                      <a:lnTo>
                        <a:pt x="232" y="168"/>
                      </a:lnTo>
                      <a:lnTo>
                        <a:pt x="216" y="168"/>
                      </a:lnTo>
                      <a:lnTo>
                        <a:pt x="216" y="160"/>
                      </a:lnTo>
                      <a:lnTo>
                        <a:pt x="200" y="160"/>
                      </a:lnTo>
                      <a:lnTo>
                        <a:pt x="192" y="152"/>
                      </a:lnTo>
                      <a:lnTo>
                        <a:pt x="192" y="144"/>
                      </a:lnTo>
                      <a:lnTo>
                        <a:pt x="168" y="136"/>
                      </a:lnTo>
                      <a:lnTo>
                        <a:pt x="152" y="128"/>
                      </a:lnTo>
                      <a:lnTo>
                        <a:pt x="144" y="104"/>
                      </a:lnTo>
                      <a:lnTo>
                        <a:pt x="136" y="88"/>
                      </a:lnTo>
                      <a:lnTo>
                        <a:pt x="112" y="72"/>
                      </a:lnTo>
                      <a:lnTo>
                        <a:pt x="112" y="56"/>
                      </a:lnTo>
                      <a:lnTo>
                        <a:pt x="112" y="48"/>
                      </a:lnTo>
                      <a:lnTo>
                        <a:pt x="120" y="40"/>
                      </a:lnTo>
                      <a:lnTo>
                        <a:pt x="144" y="40"/>
                      </a:lnTo>
                      <a:lnTo>
                        <a:pt x="144" y="48"/>
                      </a:lnTo>
                      <a:lnTo>
                        <a:pt x="144" y="40"/>
                      </a:lnTo>
                      <a:lnTo>
                        <a:pt x="152" y="32"/>
                      </a:lnTo>
                      <a:lnTo>
                        <a:pt x="152" y="24"/>
                      </a:lnTo>
                      <a:lnTo>
                        <a:pt x="144" y="16"/>
                      </a:lnTo>
                      <a:lnTo>
                        <a:pt x="144" y="8"/>
                      </a:lnTo>
                      <a:lnTo>
                        <a:pt x="128" y="0"/>
                      </a:lnTo>
                      <a:lnTo>
                        <a:pt x="120" y="0"/>
                      </a:lnTo>
                      <a:lnTo>
                        <a:pt x="112" y="0"/>
                      </a:lnTo>
                      <a:lnTo>
                        <a:pt x="104" y="0"/>
                      </a:lnTo>
                      <a:lnTo>
                        <a:pt x="96" y="0"/>
                      </a:lnTo>
                      <a:lnTo>
                        <a:pt x="72" y="0"/>
                      </a:lnTo>
                      <a:lnTo>
                        <a:pt x="64" y="16"/>
                      </a:lnTo>
                      <a:lnTo>
                        <a:pt x="40" y="16"/>
                      </a:lnTo>
                      <a:lnTo>
                        <a:pt x="40" y="8"/>
                      </a:lnTo>
                      <a:lnTo>
                        <a:pt x="24" y="8"/>
                      </a:lnTo>
                      <a:lnTo>
                        <a:pt x="24" y="24"/>
                      </a:lnTo>
                      <a:lnTo>
                        <a:pt x="16" y="32"/>
                      </a:lnTo>
                      <a:lnTo>
                        <a:pt x="8" y="32"/>
                      </a:lnTo>
                      <a:lnTo>
                        <a:pt x="0" y="32"/>
                      </a:lnTo>
                      <a:lnTo>
                        <a:pt x="0" y="56"/>
                      </a:lnTo>
                      <a:lnTo>
                        <a:pt x="8" y="72"/>
                      </a:lnTo>
                      <a:lnTo>
                        <a:pt x="16" y="80"/>
                      </a:lnTo>
                      <a:lnTo>
                        <a:pt x="24" y="8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50" name="Freeform 381"/>
                <p:cNvSpPr>
                  <a:spLocks noChangeAspect="1"/>
                </p:cNvSpPr>
                <p:nvPr/>
              </p:nvSpPr>
              <p:spPr bwMode="auto">
                <a:xfrm>
                  <a:off x="3053" y="2228"/>
                  <a:ext cx="91" cy="101"/>
                </a:xfrm>
                <a:custGeom>
                  <a:avLst/>
                  <a:gdLst>
                    <a:gd name="T0" fmla="*/ 1 w 128"/>
                    <a:gd name="T1" fmla="*/ 1 h 144"/>
                    <a:gd name="T2" fmla="*/ 1 w 128"/>
                    <a:gd name="T3" fmla="*/ 1 h 144"/>
                    <a:gd name="T4" fmla="*/ 1 w 128"/>
                    <a:gd name="T5" fmla="*/ 1 h 144"/>
                    <a:gd name="T6" fmla="*/ 1 w 128"/>
                    <a:gd name="T7" fmla="*/ 0 h 144"/>
                    <a:gd name="T8" fmla="*/ 1 w 128"/>
                    <a:gd name="T9" fmla="*/ 1 h 144"/>
                    <a:gd name="T10" fmla="*/ 1 w 128"/>
                    <a:gd name="T11" fmla="*/ 1 h 144"/>
                    <a:gd name="T12" fmla="*/ 1 w 128"/>
                    <a:gd name="T13" fmla="*/ 1 h 144"/>
                    <a:gd name="T14" fmla="*/ 1 w 128"/>
                    <a:gd name="T15" fmla="*/ 1 h 144"/>
                    <a:gd name="T16" fmla="*/ 1 w 128"/>
                    <a:gd name="T17" fmla="*/ 1 h 144"/>
                    <a:gd name="T18" fmla="*/ 1 w 128"/>
                    <a:gd name="T19" fmla="*/ 1 h 144"/>
                    <a:gd name="T20" fmla="*/ 1 w 128"/>
                    <a:gd name="T21" fmla="*/ 1 h 144"/>
                    <a:gd name="T22" fmla="*/ 1 w 128"/>
                    <a:gd name="T23" fmla="*/ 1 h 144"/>
                    <a:gd name="T24" fmla="*/ 1 w 128"/>
                    <a:gd name="T25" fmla="*/ 1 h 144"/>
                    <a:gd name="T26" fmla="*/ 1 w 128"/>
                    <a:gd name="T27" fmla="*/ 1 h 144"/>
                    <a:gd name="T28" fmla="*/ 1 w 128"/>
                    <a:gd name="T29" fmla="*/ 1 h 144"/>
                    <a:gd name="T30" fmla="*/ 0 w 128"/>
                    <a:gd name="T31" fmla="*/ 1 h 144"/>
                    <a:gd name="T32" fmla="*/ 0 w 128"/>
                    <a:gd name="T33" fmla="*/ 1 h 144"/>
                    <a:gd name="T34" fmla="*/ 1 w 128"/>
                    <a:gd name="T35" fmla="*/ 1 h 144"/>
                    <a:gd name="T36" fmla="*/ 1 w 128"/>
                    <a:gd name="T37" fmla="*/ 1 h 144"/>
                    <a:gd name="T38" fmla="*/ 1 w 128"/>
                    <a:gd name="T39" fmla="*/ 1 h 144"/>
                    <a:gd name="T40" fmla="*/ 1 w 128"/>
                    <a:gd name="T41" fmla="*/ 1 h 144"/>
                    <a:gd name="T42" fmla="*/ 1 w 128"/>
                    <a:gd name="T43" fmla="*/ 1 h 144"/>
                    <a:gd name="T44" fmla="*/ 1 w 128"/>
                    <a:gd name="T45" fmla="*/ 1 h 144"/>
                    <a:gd name="T46" fmla="*/ 1 w 128"/>
                    <a:gd name="T47" fmla="*/ 1 h 144"/>
                    <a:gd name="T48" fmla="*/ 1 w 128"/>
                    <a:gd name="T49" fmla="*/ 1 h 144"/>
                    <a:gd name="T50" fmla="*/ 1 w 128"/>
                    <a:gd name="T51" fmla="*/ 1 h 144"/>
                    <a:gd name="T52" fmla="*/ 1 w 128"/>
                    <a:gd name="T53" fmla="*/ 1 h 144"/>
                    <a:gd name="T54" fmla="*/ 1 w 128"/>
                    <a:gd name="T55" fmla="*/ 1 h 144"/>
                    <a:gd name="T56" fmla="*/ 1 w 128"/>
                    <a:gd name="T57" fmla="*/ 1 h 144"/>
                    <a:gd name="T58" fmla="*/ 1 w 128"/>
                    <a:gd name="T59" fmla="*/ 1 h 144"/>
                    <a:gd name="T60" fmla="*/ 1 w 128"/>
                    <a:gd name="T61" fmla="*/ 1 h 144"/>
                    <a:gd name="T62" fmla="*/ 1 w 128"/>
                    <a:gd name="T63" fmla="*/ 1 h 144"/>
                    <a:gd name="T64" fmla="*/ 1 w 128"/>
                    <a:gd name="T65" fmla="*/ 1 h 144"/>
                    <a:gd name="T66" fmla="*/ 1 w 128"/>
                    <a:gd name="T67" fmla="*/ 1 h 144"/>
                    <a:gd name="T68" fmla="*/ 1 w 128"/>
                    <a:gd name="T69" fmla="*/ 1 h 144"/>
                    <a:gd name="T70" fmla="*/ 1 w 128"/>
                    <a:gd name="T71" fmla="*/ 1 h 144"/>
                    <a:gd name="T72" fmla="*/ 1 w 128"/>
                    <a:gd name="T73" fmla="*/ 1 h 144"/>
                    <a:gd name="T74" fmla="*/ 1 w 128"/>
                    <a:gd name="T75" fmla="*/ 1 h 144"/>
                    <a:gd name="T76" fmla="*/ 1 w 128"/>
                    <a:gd name="T77" fmla="*/ 1 h 144"/>
                    <a:gd name="T78" fmla="*/ 1 w 128"/>
                    <a:gd name="T79" fmla="*/ 1 h 144"/>
                    <a:gd name="T80" fmla="*/ 1 w 128"/>
                    <a:gd name="T81" fmla="*/ 1 h 144"/>
                    <a:gd name="T82" fmla="*/ 1 w 128"/>
                    <a:gd name="T83" fmla="*/ 1 h 144"/>
                    <a:gd name="T84" fmla="*/ 1 w 128"/>
                    <a:gd name="T85" fmla="*/ 1 h 144"/>
                    <a:gd name="T86" fmla="*/ 1 w 128"/>
                    <a:gd name="T87" fmla="*/ 1 h 144"/>
                    <a:gd name="T88" fmla="*/ 1 w 128"/>
                    <a:gd name="T89" fmla="*/ 1 h 144"/>
                    <a:gd name="T90" fmla="*/ 1 w 128"/>
                    <a:gd name="T91" fmla="*/ 1 h 144"/>
                    <a:gd name="T92" fmla="*/ 1 w 128"/>
                    <a:gd name="T93" fmla="*/ 1 h 144"/>
                    <a:gd name="T94" fmla="*/ 1 w 128"/>
                    <a:gd name="T95" fmla="*/ 1 h 144"/>
                    <a:gd name="T96" fmla="*/ 1 w 128"/>
                    <a:gd name="T97" fmla="*/ 1 h 144"/>
                    <a:gd name="T98" fmla="*/ 1 w 128"/>
                    <a:gd name="T99" fmla="*/ 1 h 144"/>
                    <a:gd name="T100" fmla="*/ 1 w 128"/>
                    <a:gd name="T101" fmla="*/ 1 h 144"/>
                    <a:gd name="T102" fmla="*/ 1 w 128"/>
                    <a:gd name="T103" fmla="*/ 1 h 144"/>
                    <a:gd name="T104" fmla="*/ 1 w 128"/>
                    <a:gd name="T105" fmla="*/ 1 h 144"/>
                    <a:gd name="T106" fmla="*/ 1 w 128"/>
                    <a:gd name="T107" fmla="*/ 1 h 144"/>
                    <a:gd name="T108" fmla="*/ 1 w 128"/>
                    <a:gd name="T109" fmla="*/ 1 h 144"/>
                    <a:gd name="T110" fmla="*/ 1 w 128"/>
                    <a:gd name="T111" fmla="*/ 1 h 144"/>
                    <a:gd name="T112" fmla="*/ 1 w 128"/>
                    <a:gd name="T113" fmla="*/ 1 h 144"/>
                    <a:gd name="T114" fmla="*/ 1 w 128"/>
                    <a:gd name="T115" fmla="*/ 1 h 144"/>
                    <a:gd name="T116" fmla="*/ 1 w 128"/>
                    <a:gd name="T117" fmla="*/ 1 h 144"/>
                    <a:gd name="T118" fmla="*/ 1 w 128"/>
                    <a:gd name="T119" fmla="*/ 1 h 144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128"/>
                    <a:gd name="T181" fmla="*/ 0 h 144"/>
                    <a:gd name="T182" fmla="*/ 128 w 128"/>
                    <a:gd name="T183" fmla="*/ 144 h 144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128" h="144">
                      <a:moveTo>
                        <a:pt x="112" y="32"/>
                      </a:moveTo>
                      <a:lnTo>
                        <a:pt x="128" y="24"/>
                      </a:lnTo>
                      <a:lnTo>
                        <a:pt x="128" y="16"/>
                      </a:lnTo>
                      <a:lnTo>
                        <a:pt x="120" y="0"/>
                      </a:lnTo>
                      <a:lnTo>
                        <a:pt x="112" y="16"/>
                      </a:lnTo>
                      <a:lnTo>
                        <a:pt x="104" y="16"/>
                      </a:lnTo>
                      <a:lnTo>
                        <a:pt x="96" y="16"/>
                      </a:lnTo>
                      <a:lnTo>
                        <a:pt x="80" y="8"/>
                      </a:lnTo>
                      <a:lnTo>
                        <a:pt x="72" y="16"/>
                      </a:lnTo>
                      <a:lnTo>
                        <a:pt x="56" y="16"/>
                      </a:lnTo>
                      <a:lnTo>
                        <a:pt x="48" y="16"/>
                      </a:lnTo>
                      <a:lnTo>
                        <a:pt x="40" y="32"/>
                      </a:lnTo>
                      <a:lnTo>
                        <a:pt x="16" y="32"/>
                      </a:lnTo>
                      <a:lnTo>
                        <a:pt x="16" y="40"/>
                      </a:lnTo>
                      <a:lnTo>
                        <a:pt x="8" y="56"/>
                      </a:lnTo>
                      <a:lnTo>
                        <a:pt x="0" y="64"/>
                      </a:lnTo>
                      <a:lnTo>
                        <a:pt x="0" y="72"/>
                      </a:lnTo>
                      <a:lnTo>
                        <a:pt x="8" y="80"/>
                      </a:lnTo>
                      <a:lnTo>
                        <a:pt x="8" y="96"/>
                      </a:lnTo>
                      <a:lnTo>
                        <a:pt x="24" y="104"/>
                      </a:lnTo>
                      <a:lnTo>
                        <a:pt x="32" y="96"/>
                      </a:lnTo>
                      <a:lnTo>
                        <a:pt x="48" y="96"/>
                      </a:lnTo>
                      <a:lnTo>
                        <a:pt x="56" y="104"/>
                      </a:lnTo>
                      <a:lnTo>
                        <a:pt x="32" y="104"/>
                      </a:lnTo>
                      <a:lnTo>
                        <a:pt x="24" y="104"/>
                      </a:lnTo>
                      <a:lnTo>
                        <a:pt x="24" y="112"/>
                      </a:lnTo>
                      <a:lnTo>
                        <a:pt x="32" y="120"/>
                      </a:lnTo>
                      <a:lnTo>
                        <a:pt x="24" y="136"/>
                      </a:lnTo>
                      <a:lnTo>
                        <a:pt x="32" y="136"/>
                      </a:lnTo>
                      <a:lnTo>
                        <a:pt x="40" y="136"/>
                      </a:lnTo>
                      <a:lnTo>
                        <a:pt x="40" y="144"/>
                      </a:lnTo>
                      <a:lnTo>
                        <a:pt x="48" y="144"/>
                      </a:lnTo>
                      <a:lnTo>
                        <a:pt x="56" y="144"/>
                      </a:lnTo>
                      <a:lnTo>
                        <a:pt x="56" y="136"/>
                      </a:lnTo>
                      <a:lnTo>
                        <a:pt x="48" y="128"/>
                      </a:lnTo>
                      <a:lnTo>
                        <a:pt x="56" y="120"/>
                      </a:lnTo>
                      <a:lnTo>
                        <a:pt x="64" y="128"/>
                      </a:lnTo>
                      <a:lnTo>
                        <a:pt x="64" y="112"/>
                      </a:lnTo>
                      <a:lnTo>
                        <a:pt x="72" y="112"/>
                      </a:lnTo>
                      <a:lnTo>
                        <a:pt x="72" y="104"/>
                      </a:lnTo>
                      <a:lnTo>
                        <a:pt x="64" y="96"/>
                      </a:lnTo>
                      <a:lnTo>
                        <a:pt x="56" y="88"/>
                      </a:lnTo>
                      <a:lnTo>
                        <a:pt x="56" y="72"/>
                      </a:lnTo>
                      <a:lnTo>
                        <a:pt x="40" y="56"/>
                      </a:lnTo>
                      <a:lnTo>
                        <a:pt x="40" y="48"/>
                      </a:lnTo>
                      <a:lnTo>
                        <a:pt x="48" y="40"/>
                      </a:lnTo>
                      <a:lnTo>
                        <a:pt x="56" y="48"/>
                      </a:lnTo>
                      <a:lnTo>
                        <a:pt x="64" y="56"/>
                      </a:lnTo>
                      <a:lnTo>
                        <a:pt x="64" y="48"/>
                      </a:lnTo>
                      <a:lnTo>
                        <a:pt x="72" y="56"/>
                      </a:lnTo>
                      <a:lnTo>
                        <a:pt x="72" y="48"/>
                      </a:lnTo>
                      <a:lnTo>
                        <a:pt x="80" y="56"/>
                      </a:lnTo>
                      <a:lnTo>
                        <a:pt x="80" y="48"/>
                      </a:lnTo>
                      <a:lnTo>
                        <a:pt x="72" y="48"/>
                      </a:lnTo>
                      <a:lnTo>
                        <a:pt x="72" y="32"/>
                      </a:lnTo>
                      <a:lnTo>
                        <a:pt x="80" y="32"/>
                      </a:lnTo>
                      <a:lnTo>
                        <a:pt x="88" y="32"/>
                      </a:lnTo>
                      <a:lnTo>
                        <a:pt x="96" y="32"/>
                      </a:lnTo>
                      <a:lnTo>
                        <a:pt x="104" y="32"/>
                      </a:lnTo>
                      <a:lnTo>
                        <a:pt x="112" y="32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51" name="Freeform 382"/>
                <p:cNvSpPr>
                  <a:spLocks noChangeAspect="1"/>
                </p:cNvSpPr>
                <p:nvPr/>
              </p:nvSpPr>
              <p:spPr bwMode="auto">
                <a:xfrm>
                  <a:off x="2637" y="2324"/>
                  <a:ext cx="298" cy="292"/>
                </a:xfrm>
                <a:custGeom>
                  <a:avLst/>
                  <a:gdLst>
                    <a:gd name="T0" fmla="*/ 1 w 424"/>
                    <a:gd name="T1" fmla="*/ 1 h 416"/>
                    <a:gd name="T2" fmla="*/ 1 w 424"/>
                    <a:gd name="T3" fmla="*/ 1 h 416"/>
                    <a:gd name="T4" fmla="*/ 1 w 424"/>
                    <a:gd name="T5" fmla="*/ 1 h 416"/>
                    <a:gd name="T6" fmla="*/ 1 w 424"/>
                    <a:gd name="T7" fmla="*/ 1 h 416"/>
                    <a:gd name="T8" fmla="*/ 1 w 424"/>
                    <a:gd name="T9" fmla="*/ 1 h 416"/>
                    <a:gd name="T10" fmla="*/ 1 w 424"/>
                    <a:gd name="T11" fmla="*/ 1 h 416"/>
                    <a:gd name="T12" fmla="*/ 1 w 424"/>
                    <a:gd name="T13" fmla="*/ 1 h 416"/>
                    <a:gd name="T14" fmla="*/ 1 w 424"/>
                    <a:gd name="T15" fmla="*/ 1 h 416"/>
                    <a:gd name="T16" fmla="*/ 1 w 424"/>
                    <a:gd name="T17" fmla="*/ 0 h 416"/>
                    <a:gd name="T18" fmla="*/ 1 w 424"/>
                    <a:gd name="T19" fmla="*/ 1 h 416"/>
                    <a:gd name="T20" fmla="*/ 1 w 424"/>
                    <a:gd name="T21" fmla="*/ 1 h 416"/>
                    <a:gd name="T22" fmla="*/ 1 w 424"/>
                    <a:gd name="T23" fmla="*/ 1 h 416"/>
                    <a:gd name="T24" fmla="*/ 1 w 424"/>
                    <a:gd name="T25" fmla="*/ 1 h 416"/>
                    <a:gd name="T26" fmla="*/ 1 w 424"/>
                    <a:gd name="T27" fmla="*/ 1 h 416"/>
                    <a:gd name="T28" fmla="*/ 1 w 424"/>
                    <a:gd name="T29" fmla="*/ 1 h 416"/>
                    <a:gd name="T30" fmla="*/ 1 w 424"/>
                    <a:gd name="T31" fmla="*/ 1 h 416"/>
                    <a:gd name="T32" fmla="*/ 1 w 424"/>
                    <a:gd name="T33" fmla="*/ 1 h 416"/>
                    <a:gd name="T34" fmla="*/ 1 w 424"/>
                    <a:gd name="T35" fmla="*/ 1 h 416"/>
                    <a:gd name="T36" fmla="*/ 1 w 424"/>
                    <a:gd name="T37" fmla="*/ 1 h 416"/>
                    <a:gd name="T38" fmla="*/ 1 w 424"/>
                    <a:gd name="T39" fmla="*/ 1 h 416"/>
                    <a:gd name="T40" fmla="*/ 1 w 424"/>
                    <a:gd name="T41" fmla="*/ 1 h 416"/>
                    <a:gd name="T42" fmla="*/ 1 w 424"/>
                    <a:gd name="T43" fmla="*/ 1 h 416"/>
                    <a:gd name="T44" fmla="*/ 1 w 424"/>
                    <a:gd name="T45" fmla="*/ 1 h 416"/>
                    <a:gd name="T46" fmla="*/ 1 w 424"/>
                    <a:gd name="T47" fmla="*/ 1 h 416"/>
                    <a:gd name="T48" fmla="*/ 1 w 424"/>
                    <a:gd name="T49" fmla="*/ 1 h 416"/>
                    <a:gd name="T50" fmla="*/ 1 w 424"/>
                    <a:gd name="T51" fmla="*/ 1 h 416"/>
                    <a:gd name="T52" fmla="*/ 1 w 424"/>
                    <a:gd name="T53" fmla="*/ 1 h 416"/>
                    <a:gd name="T54" fmla="*/ 1 w 424"/>
                    <a:gd name="T55" fmla="*/ 1 h 416"/>
                    <a:gd name="T56" fmla="*/ 1 w 424"/>
                    <a:gd name="T57" fmla="*/ 1 h 416"/>
                    <a:gd name="T58" fmla="*/ 1 w 424"/>
                    <a:gd name="T59" fmla="*/ 1 h 416"/>
                    <a:gd name="T60" fmla="*/ 1 w 424"/>
                    <a:gd name="T61" fmla="*/ 1 h 416"/>
                    <a:gd name="T62" fmla="*/ 1 w 424"/>
                    <a:gd name="T63" fmla="*/ 1 h 416"/>
                    <a:gd name="T64" fmla="*/ 1 w 424"/>
                    <a:gd name="T65" fmla="*/ 1 h 416"/>
                    <a:gd name="T66" fmla="*/ 1 w 424"/>
                    <a:gd name="T67" fmla="*/ 1 h 416"/>
                    <a:gd name="T68" fmla="*/ 0 w 424"/>
                    <a:gd name="T69" fmla="*/ 1 h 416"/>
                    <a:gd name="T70" fmla="*/ 0 w 424"/>
                    <a:gd name="T71" fmla="*/ 1 h 416"/>
                    <a:gd name="T72" fmla="*/ 1 w 424"/>
                    <a:gd name="T73" fmla="*/ 1 h 416"/>
                    <a:gd name="T74" fmla="*/ 1 w 424"/>
                    <a:gd name="T75" fmla="*/ 1 h 416"/>
                    <a:gd name="T76" fmla="*/ 1 w 424"/>
                    <a:gd name="T77" fmla="*/ 1 h 416"/>
                    <a:gd name="T78" fmla="*/ 1 w 424"/>
                    <a:gd name="T79" fmla="*/ 1 h 416"/>
                    <a:gd name="T80" fmla="*/ 1 w 424"/>
                    <a:gd name="T81" fmla="*/ 1 h 416"/>
                    <a:gd name="T82" fmla="*/ 1 w 424"/>
                    <a:gd name="T83" fmla="*/ 1 h 416"/>
                    <a:gd name="T84" fmla="*/ 1 w 424"/>
                    <a:gd name="T85" fmla="*/ 1 h 416"/>
                    <a:gd name="T86" fmla="*/ 1 w 424"/>
                    <a:gd name="T87" fmla="*/ 1 h 416"/>
                    <a:gd name="T88" fmla="*/ 1 w 424"/>
                    <a:gd name="T89" fmla="*/ 1 h 416"/>
                    <a:gd name="T90" fmla="*/ 1 w 424"/>
                    <a:gd name="T91" fmla="*/ 1 h 416"/>
                    <a:gd name="T92" fmla="*/ 1 w 424"/>
                    <a:gd name="T93" fmla="*/ 1 h 416"/>
                    <a:gd name="T94" fmla="*/ 1 w 424"/>
                    <a:gd name="T95" fmla="*/ 1 h 416"/>
                    <a:gd name="T96" fmla="*/ 1 w 424"/>
                    <a:gd name="T97" fmla="*/ 1 h 416"/>
                    <a:gd name="T98" fmla="*/ 1 w 424"/>
                    <a:gd name="T99" fmla="*/ 1 h 416"/>
                    <a:gd name="T100" fmla="*/ 1 w 424"/>
                    <a:gd name="T101" fmla="*/ 1 h 416"/>
                    <a:gd name="T102" fmla="*/ 1 w 424"/>
                    <a:gd name="T103" fmla="*/ 1 h 416"/>
                    <a:gd name="T104" fmla="*/ 1 w 424"/>
                    <a:gd name="T105" fmla="*/ 1 h 416"/>
                    <a:gd name="T106" fmla="*/ 1 w 424"/>
                    <a:gd name="T107" fmla="*/ 1 h 416"/>
                    <a:gd name="T108" fmla="*/ 1 w 424"/>
                    <a:gd name="T109" fmla="*/ 1 h 416"/>
                    <a:gd name="T110" fmla="*/ 1 w 424"/>
                    <a:gd name="T111" fmla="*/ 1 h 41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424"/>
                    <a:gd name="T169" fmla="*/ 0 h 416"/>
                    <a:gd name="T170" fmla="*/ 424 w 424"/>
                    <a:gd name="T171" fmla="*/ 416 h 416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424" h="416">
                      <a:moveTo>
                        <a:pt x="368" y="152"/>
                      </a:moveTo>
                      <a:lnTo>
                        <a:pt x="352" y="120"/>
                      </a:lnTo>
                      <a:lnTo>
                        <a:pt x="344" y="104"/>
                      </a:lnTo>
                      <a:lnTo>
                        <a:pt x="328" y="88"/>
                      </a:lnTo>
                      <a:lnTo>
                        <a:pt x="328" y="72"/>
                      </a:lnTo>
                      <a:lnTo>
                        <a:pt x="344" y="56"/>
                      </a:lnTo>
                      <a:lnTo>
                        <a:pt x="344" y="32"/>
                      </a:lnTo>
                      <a:lnTo>
                        <a:pt x="344" y="8"/>
                      </a:lnTo>
                      <a:lnTo>
                        <a:pt x="328" y="0"/>
                      </a:lnTo>
                      <a:lnTo>
                        <a:pt x="304" y="8"/>
                      </a:lnTo>
                      <a:lnTo>
                        <a:pt x="288" y="8"/>
                      </a:lnTo>
                      <a:lnTo>
                        <a:pt x="272" y="8"/>
                      </a:lnTo>
                      <a:lnTo>
                        <a:pt x="264" y="8"/>
                      </a:lnTo>
                      <a:lnTo>
                        <a:pt x="240" y="8"/>
                      </a:lnTo>
                      <a:lnTo>
                        <a:pt x="232" y="16"/>
                      </a:lnTo>
                      <a:lnTo>
                        <a:pt x="208" y="16"/>
                      </a:lnTo>
                      <a:lnTo>
                        <a:pt x="200" y="16"/>
                      </a:lnTo>
                      <a:lnTo>
                        <a:pt x="184" y="24"/>
                      </a:lnTo>
                      <a:lnTo>
                        <a:pt x="168" y="40"/>
                      </a:lnTo>
                      <a:lnTo>
                        <a:pt x="160" y="40"/>
                      </a:lnTo>
                      <a:lnTo>
                        <a:pt x="152" y="48"/>
                      </a:lnTo>
                      <a:lnTo>
                        <a:pt x="144" y="56"/>
                      </a:lnTo>
                      <a:lnTo>
                        <a:pt x="152" y="96"/>
                      </a:lnTo>
                      <a:lnTo>
                        <a:pt x="152" y="104"/>
                      </a:lnTo>
                      <a:lnTo>
                        <a:pt x="144" y="128"/>
                      </a:lnTo>
                      <a:lnTo>
                        <a:pt x="128" y="128"/>
                      </a:lnTo>
                      <a:lnTo>
                        <a:pt x="112" y="128"/>
                      </a:lnTo>
                      <a:lnTo>
                        <a:pt x="112" y="152"/>
                      </a:lnTo>
                      <a:lnTo>
                        <a:pt x="96" y="152"/>
                      </a:lnTo>
                      <a:lnTo>
                        <a:pt x="88" y="160"/>
                      </a:lnTo>
                      <a:lnTo>
                        <a:pt x="80" y="160"/>
                      </a:lnTo>
                      <a:lnTo>
                        <a:pt x="72" y="168"/>
                      </a:lnTo>
                      <a:lnTo>
                        <a:pt x="72" y="176"/>
                      </a:lnTo>
                      <a:lnTo>
                        <a:pt x="24" y="184"/>
                      </a:lnTo>
                      <a:lnTo>
                        <a:pt x="0" y="200"/>
                      </a:lnTo>
                      <a:lnTo>
                        <a:pt x="0" y="216"/>
                      </a:lnTo>
                      <a:lnTo>
                        <a:pt x="8" y="232"/>
                      </a:lnTo>
                      <a:lnTo>
                        <a:pt x="88" y="288"/>
                      </a:lnTo>
                      <a:lnTo>
                        <a:pt x="200" y="376"/>
                      </a:lnTo>
                      <a:lnTo>
                        <a:pt x="208" y="392"/>
                      </a:lnTo>
                      <a:lnTo>
                        <a:pt x="224" y="392"/>
                      </a:lnTo>
                      <a:lnTo>
                        <a:pt x="232" y="392"/>
                      </a:lnTo>
                      <a:lnTo>
                        <a:pt x="240" y="400"/>
                      </a:lnTo>
                      <a:lnTo>
                        <a:pt x="240" y="416"/>
                      </a:lnTo>
                      <a:lnTo>
                        <a:pt x="272" y="408"/>
                      </a:lnTo>
                      <a:lnTo>
                        <a:pt x="296" y="408"/>
                      </a:lnTo>
                      <a:lnTo>
                        <a:pt x="424" y="320"/>
                      </a:lnTo>
                      <a:lnTo>
                        <a:pt x="408" y="288"/>
                      </a:lnTo>
                      <a:lnTo>
                        <a:pt x="392" y="296"/>
                      </a:lnTo>
                      <a:lnTo>
                        <a:pt x="376" y="272"/>
                      </a:lnTo>
                      <a:lnTo>
                        <a:pt x="368" y="248"/>
                      </a:lnTo>
                      <a:lnTo>
                        <a:pt x="384" y="232"/>
                      </a:lnTo>
                      <a:lnTo>
                        <a:pt x="384" y="216"/>
                      </a:lnTo>
                      <a:lnTo>
                        <a:pt x="376" y="200"/>
                      </a:lnTo>
                      <a:lnTo>
                        <a:pt x="376" y="192"/>
                      </a:lnTo>
                      <a:lnTo>
                        <a:pt x="368" y="152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52" name="Freeform 383"/>
                <p:cNvSpPr>
                  <a:spLocks noChangeAspect="1"/>
                </p:cNvSpPr>
                <p:nvPr/>
              </p:nvSpPr>
              <p:spPr bwMode="auto">
                <a:xfrm>
                  <a:off x="2868" y="2324"/>
                  <a:ext cx="56" cy="107"/>
                </a:xfrm>
                <a:custGeom>
                  <a:avLst/>
                  <a:gdLst>
                    <a:gd name="T0" fmla="*/ 1 w 80"/>
                    <a:gd name="T1" fmla="*/ 1 h 152"/>
                    <a:gd name="T2" fmla="*/ 1 w 80"/>
                    <a:gd name="T3" fmla="*/ 1 h 152"/>
                    <a:gd name="T4" fmla="*/ 1 w 80"/>
                    <a:gd name="T5" fmla="*/ 1 h 152"/>
                    <a:gd name="T6" fmla="*/ 0 w 80"/>
                    <a:gd name="T7" fmla="*/ 1 h 152"/>
                    <a:gd name="T8" fmla="*/ 0 w 80"/>
                    <a:gd name="T9" fmla="*/ 1 h 152"/>
                    <a:gd name="T10" fmla="*/ 1 w 80"/>
                    <a:gd name="T11" fmla="*/ 1 h 152"/>
                    <a:gd name="T12" fmla="*/ 1 w 80"/>
                    <a:gd name="T13" fmla="*/ 1 h 152"/>
                    <a:gd name="T14" fmla="*/ 1 w 80"/>
                    <a:gd name="T15" fmla="*/ 1 h 152"/>
                    <a:gd name="T16" fmla="*/ 1 w 80"/>
                    <a:gd name="T17" fmla="*/ 1 h 152"/>
                    <a:gd name="T18" fmla="*/ 1 w 80"/>
                    <a:gd name="T19" fmla="*/ 1 h 152"/>
                    <a:gd name="T20" fmla="*/ 1 w 80"/>
                    <a:gd name="T21" fmla="*/ 1 h 152"/>
                    <a:gd name="T22" fmla="*/ 1 w 80"/>
                    <a:gd name="T23" fmla="*/ 1 h 152"/>
                    <a:gd name="T24" fmla="*/ 1 w 80"/>
                    <a:gd name="T25" fmla="*/ 1 h 152"/>
                    <a:gd name="T26" fmla="*/ 1 w 80"/>
                    <a:gd name="T27" fmla="*/ 1 h 152"/>
                    <a:gd name="T28" fmla="*/ 1 w 80"/>
                    <a:gd name="T29" fmla="*/ 1 h 152"/>
                    <a:gd name="T30" fmla="*/ 1 w 80"/>
                    <a:gd name="T31" fmla="*/ 1 h 152"/>
                    <a:gd name="T32" fmla="*/ 1 w 80"/>
                    <a:gd name="T33" fmla="*/ 1 h 152"/>
                    <a:gd name="T34" fmla="*/ 1 w 80"/>
                    <a:gd name="T35" fmla="*/ 1 h 152"/>
                    <a:gd name="T36" fmla="*/ 1 w 80"/>
                    <a:gd name="T37" fmla="*/ 1 h 152"/>
                    <a:gd name="T38" fmla="*/ 1 w 80"/>
                    <a:gd name="T39" fmla="*/ 1 h 152"/>
                    <a:gd name="T40" fmla="*/ 1 w 80"/>
                    <a:gd name="T41" fmla="*/ 1 h 152"/>
                    <a:gd name="T42" fmla="*/ 1 w 80"/>
                    <a:gd name="T43" fmla="*/ 1 h 152"/>
                    <a:gd name="T44" fmla="*/ 1 w 80"/>
                    <a:gd name="T45" fmla="*/ 0 h 152"/>
                    <a:gd name="T46" fmla="*/ 1 w 80"/>
                    <a:gd name="T47" fmla="*/ 0 h 152"/>
                    <a:gd name="T48" fmla="*/ 1 w 80"/>
                    <a:gd name="T49" fmla="*/ 0 h 152"/>
                    <a:gd name="T50" fmla="*/ 1 w 80"/>
                    <a:gd name="T51" fmla="*/ 0 h 152"/>
                    <a:gd name="T52" fmla="*/ 1 w 80"/>
                    <a:gd name="T53" fmla="*/ 1 h 152"/>
                    <a:gd name="T54" fmla="*/ 1 w 80"/>
                    <a:gd name="T55" fmla="*/ 1 h 152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80"/>
                    <a:gd name="T85" fmla="*/ 0 h 152"/>
                    <a:gd name="T86" fmla="*/ 80 w 80"/>
                    <a:gd name="T87" fmla="*/ 152 h 152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80" h="152">
                      <a:moveTo>
                        <a:pt x="16" y="8"/>
                      </a:moveTo>
                      <a:lnTo>
                        <a:pt x="16" y="32"/>
                      </a:lnTo>
                      <a:lnTo>
                        <a:pt x="16" y="56"/>
                      </a:lnTo>
                      <a:lnTo>
                        <a:pt x="0" y="72"/>
                      </a:lnTo>
                      <a:lnTo>
                        <a:pt x="0" y="88"/>
                      </a:lnTo>
                      <a:lnTo>
                        <a:pt x="16" y="104"/>
                      </a:lnTo>
                      <a:lnTo>
                        <a:pt x="24" y="120"/>
                      </a:lnTo>
                      <a:lnTo>
                        <a:pt x="40" y="152"/>
                      </a:lnTo>
                      <a:lnTo>
                        <a:pt x="48" y="152"/>
                      </a:lnTo>
                      <a:lnTo>
                        <a:pt x="56" y="144"/>
                      </a:lnTo>
                      <a:lnTo>
                        <a:pt x="64" y="120"/>
                      </a:lnTo>
                      <a:lnTo>
                        <a:pt x="72" y="120"/>
                      </a:lnTo>
                      <a:lnTo>
                        <a:pt x="80" y="112"/>
                      </a:lnTo>
                      <a:lnTo>
                        <a:pt x="80" y="96"/>
                      </a:lnTo>
                      <a:lnTo>
                        <a:pt x="64" y="88"/>
                      </a:lnTo>
                      <a:lnTo>
                        <a:pt x="56" y="80"/>
                      </a:lnTo>
                      <a:lnTo>
                        <a:pt x="56" y="72"/>
                      </a:lnTo>
                      <a:lnTo>
                        <a:pt x="72" y="56"/>
                      </a:lnTo>
                      <a:lnTo>
                        <a:pt x="72" y="40"/>
                      </a:lnTo>
                      <a:lnTo>
                        <a:pt x="64" y="24"/>
                      </a:lnTo>
                      <a:lnTo>
                        <a:pt x="64" y="16"/>
                      </a:lnTo>
                      <a:lnTo>
                        <a:pt x="72" y="8"/>
                      </a:lnTo>
                      <a:lnTo>
                        <a:pt x="72" y="0"/>
                      </a:lnTo>
                      <a:lnTo>
                        <a:pt x="56" y="0"/>
                      </a:lnTo>
                      <a:lnTo>
                        <a:pt x="48" y="0"/>
                      </a:lnTo>
                      <a:lnTo>
                        <a:pt x="40" y="0"/>
                      </a:lnTo>
                      <a:lnTo>
                        <a:pt x="32" y="8"/>
                      </a:lnTo>
                      <a:lnTo>
                        <a:pt x="16" y="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53" name="Freeform 384"/>
                <p:cNvSpPr>
                  <a:spLocks noChangeAspect="1"/>
                </p:cNvSpPr>
                <p:nvPr/>
              </p:nvSpPr>
              <p:spPr bwMode="auto">
                <a:xfrm>
                  <a:off x="2592" y="2346"/>
                  <a:ext cx="152" cy="130"/>
                </a:xfrm>
                <a:custGeom>
                  <a:avLst/>
                  <a:gdLst>
                    <a:gd name="T0" fmla="*/ 0 w 216"/>
                    <a:gd name="T1" fmla="*/ 1 h 184"/>
                    <a:gd name="T2" fmla="*/ 1 w 216"/>
                    <a:gd name="T3" fmla="*/ 1 h 184"/>
                    <a:gd name="T4" fmla="*/ 1 w 216"/>
                    <a:gd name="T5" fmla="*/ 1 h 184"/>
                    <a:gd name="T6" fmla="*/ 1 w 216"/>
                    <a:gd name="T7" fmla="*/ 1 h 184"/>
                    <a:gd name="T8" fmla="*/ 1 w 216"/>
                    <a:gd name="T9" fmla="*/ 1 h 184"/>
                    <a:gd name="T10" fmla="*/ 1 w 216"/>
                    <a:gd name="T11" fmla="*/ 1 h 184"/>
                    <a:gd name="T12" fmla="*/ 1 w 216"/>
                    <a:gd name="T13" fmla="*/ 1 h 184"/>
                    <a:gd name="T14" fmla="*/ 1 w 216"/>
                    <a:gd name="T15" fmla="*/ 1 h 184"/>
                    <a:gd name="T16" fmla="*/ 1 w 216"/>
                    <a:gd name="T17" fmla="*/ 1 h 184"/>
                    <a:gd name="T18" fmla="*/ 1 w 216"/>
                    <a:gd name="T19" fmla="*/ 1 h 184"/>
                    <a:gd name="T20" fmla="*/ 1 w 216"/>
                    <a:gd name="T21" fmla="*/ 1 h 184"/>
                    <a:gd name="T22" fmla="*/ 1 w 216"/>
                    <a:gd name="T23" fmla="*/ 1 h 184"/>
                    <a:gd name="T24" fmla="*/ 1 w 216"/>
                    <a:gd name="T25" fmla="*/ 1 h 184"/>
                    <a:gd name="T26" fmla="*/ 1 w 216"/>
                    <a:gd name="T27" fmla="*/ 1 h 184"/>
                    <a:gd name="T28" fmla="*/ 1 w 216"/>
                    <a:gd name="T29" fmla="*/ 1 h 184"/>
                    <a:gd name="T30" fmla="*/ 1 w 216"/>
                    <a:gd name="T31" fmla="*/ 0 h 184"/>
                    <a:gd name="T32" fmla="*/ 1 w 216"/>
                    <a:gd name="T33" fmla="*/ 1 h 184"/>
                    <a:gd name="T34" fmla="*/ 1 w 216"/>
                    <a:gd name="T35" fmla="*/ 1 h 184"/>
                    <a:gd name="T36" fmla="*/ 1 w 216"/>
                    <a:gd name="T37" fmla="*/ 1 h 184"/>
                    <a:gd name="T38" fmla="*/ 1 w 216"/>
                    <a:gd name="T39" fmla="*/ 1 h 184"/>
                    <a:gd name="T40" fmla="*/ 1 w 216"/>
                    <a:gd name="T41" fmla="*/ 1 h 184"/>
                    <a:gd name="T42" fmla="*/ 1 w 216"/>
                    <a:gd name="T43" fmla="*/ 1 h 184"/>
                    <a:gd name="T44" fmla="*/ 1 w 216"/>
                    <a:gd name="T45" fmla="*/ 1 h 184"/>
                    <a:gd name="T46" fmla="*/ 1 w 216"/>
                    <a:gd name="T47" fmla="*/ 1 h 184"/>
                    <a:gd name="T48" fmla="*/ 1 w 216"/>
                    <a:gd name="T49" fmla="*/ 1 h 184"/>
                    <a:gd name="T50" fmla="*/ 1 w 216"/>
                    <a:gd name="T51" fmla="*/ 1 h 184"/>
                    <a:gd name="T52" fmla="*/ 1 w 216"/>
                    <a:gd name="T53" fmla="*/ 1 h 184"/>
                    <a:gd name="T54" fmla="*/ 1 w 216"/>
                    <a:gd name="T55" fmla="*/ 1 h 184"/>
                    <a:gd name="T56" fmla="*/ 1 w 216"/>
                    <a:gd name="T57" fmla="*/ 1 h 184"/>
                    <a:gd name="T58" fmla="*/ 1 w 216"/>
                    <a:gd name="T59" fmla="*/ 1 h 184"/>
                    <a:gd name="T60" fmla="*/ 1 w 216"/>
                    <a:gd name="T61" fmla="*/ 1 h 184"/>
                    <a:gd name="T62" fmla="*/ 1 w 216"/>
                    <a:gd name="T63" fmla="*/ 1 h 184"/>
                    <a:gd name="T64" fmla="*/ 1 w 216"/>
                    <a:gd name="T65" fmla="*/ 1 h 184"/>
                    <a:gd name="T66" fmla="*/ 1 w 216"/>
                    <a:gd name="T67" fmla="*/ 1 h 184"/>
                    <a:gd name="T68" fmla="*/ 1 w 216"/>
                    <a:gd name="T69" fmla="*/ 1 h 184"/>
                    <a:gd name="T70" fmla="*/ 1 w 216"/>
                    <a:gd name="T71" fmla="*/ 1 h 184"/>
                    <a:gd name="T72" fmla="*/ 1 w 216"/>
                    <a:gd name="T73" fmla="*/ 1 h 184"/>
                    <a:gd name="T74" fmla="*/ 0 w 216"/>
                    <a:gd name="T75" fmla="*/ 1 h 184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216"/>
                    <a:gd name="T115" fmla="*/ 0 h 184"/>
                    <a:gd name="T116" fmla="*/ 216 w 216"/>
                    <a:gd name="T117" fmla="*/ 184 h 184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216" h="184">
                      <a:moveTo>
                        <a:pt x="0" y="184"/>
                      </a:moveTo>
                      <a:lnTo>
                        <a:pt x="16" y="176"/>
                      </a:lnTo>
                      <a:lnTo>
                        <a:pt x="24" y="168"/>
                      </a:lnTo>
                      <a:lnTo>
                        <a:pt x="40" y="152"/>
                      </a:lnTo>
                      <a:lnTo>
                        <a:pt x="48" y="136"/>
                      </a:lnTo>
                      <a:lnTo>
                        <a:pt x="40" y="112"/>
                      </a:lnTo>
                      <a:lnTo>
                        <a:pt x="48" y="96"/>
                      </a:lnTo>
                      <a:lnTo>
                        <a:pt x="56" y="80"/>
                      </a:lnTo>
                      <a:lnTo>
                        <a:pt x="56" y="72"/>
                      </a:lnTo>
                      <a:lnTo>
                        <a:pt x="80" y="56"/>
                      </a:lnTo>
                      <a:lnTo>
                        <a:pt x="88" y="56"/>
                      </a:lnTo>
                      <a:lnTo>
                        <a:pt x="104" y="48"/>
                      </a:lnTo>
                      <a:lnTo>
                        <a:pt x="104" y="32"/>
                      </a:lnTo>
                      <a:lnTo>
                        <a:pt x="120" y="16"/>
                      </a:lnTo>
                      <a:lnTo>
                        <a:pt x="120" y="8"/>
                      </a:lnTo>
                      <a:lnTo>
                        <a:pt x="128" y="0"/>
                      </a:lnTo>
                      <a:lnTo>
                        <a:pt x="136" y="8"/>
                      </a:lnTo>
                      <a:lnTo>
                        <a:pt x="144" y="16"/>
                      </a:lnTo>
                      <a:lnTo>
                        <a:pt x="152" y="16"/>
                      </a:lnTo>
                      <a:lnTo>
                        <a:pt x="168" y="16"/>
                      </a:lnTo>
                      <a:lnTo>
                        <a:pt x="184" y="16"/>
                      </a:lnTo>
                      <a:lnTo>
                        <a:pt x="192" y="24"/>
                      </a:lnTo>
                      <a:lnTo>
                        <a:pt x="208" y="24"/>
                      </a:lnTo>
                      <a:lnTo>
                        <a:pt x="216" y="64"/>
                      </a:lnTo>
                      <a:lnTo>
                        <a:pt x="216" y="72"/>
                      </a:lnTo>
                      <a:lnTo>
                        <a:pt x="208" y="96"/>
                      </a:lnTo>
                      <a:lnTo>
                        <a:pt x="192" y="96"/>
                      </a:lnTo>
                      <a:lnTo>
                        <a:pt x="176" y="96"/>
                      </a:lnTo>
                      <a:lnTo>
                        <a:pt x="176" y="120"/>
                      </a:lnTo>
                      <a:lnTo>
                        <a:pt x="160" y="120"/>
                      </a:lnTo>
                      <a:lnTo>
                        <a:pt x="152" y="128"/>
                      </a:lnTo>
                      <a:lnTo>
                        <a:pt x="144" y="128"/>
                      </a:lnTo>
                      <a:lnTo>
                        <a:pt x="136" y="136"/>
                      </a:lnTo>
                      <a:lnTo>
                        <a:pt x="136" y="144"/>
                      </a:lnTo>
                      <a:lnTo>
                        <a:pt x="88" y="152"/>
                      </a:lnTo>
                      <a:lnTo>
                        <a:pt x="64" y="168"/>
                      </a:lnTo>
                      <a:lnTo>
                        <a:pt x="64" y="184"/>
                      </a:lnTo>
                      <a:lnTo>
                        <a:pt x="0" y="184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54" name="Freeform 385"/>
                <p:cNvSpPr>
                  <a:spLocks noChangeAspect="1"/>
                </p:cNvSpPr>
                <p:nvPr/>
              </p:nvSpPr>
              <p:spPr bwMode="auto">
                <a:xfrm>
                  <a:off x="3222" y="2346"/>
                  <a:ext cx="28" cy="17"/>
                </a:xfrm>
                <a:custGeom>
                  <a:avLst/>
                  <a:gdLst>
                    <a:gd name="T0" fmla="*/ 1 w 40"/>
                    <a:gd name="T1" fmla="*/ 1 h 24"/>
                    <a:gd name="T2" fmla="*/ 1 w 40"/>
                    <a:gd name="T3" fmla="*/ 1 h 24"/>
                    <a:gd name="T4" fmla="*/ 1 w 40"/>
                    <a:gd name="T5" fmla="*/ 0 h 24"/>
                    <a:gd name="T6" fmla="*/ 1 w 40"/>
                    <a:gd name="T7" fmla="*/ 0 h 24"/>
                    <a:gd name="T8" fmla="*/ 1 w 40"/>
                    <a:gd name="T9" fmla="*/ 1 h 24"/>
                    <a:gd name="T10" fmla="*/ 1 w 40"/>
                    <a:gd name="T11" fmla="*/ 1 h 24"/>
                    <a:gd name="T12" fmla="*/ 0 w 40"/>
                    <a:gd name="T13" fmla="*/ 1 h 24"/>
                    <a:gd name="T14" fmla="*/ 0 w 40"/>
                    <a:gd name="T15" fmla="*/ 1 h 24"/>
                    <a:gd name="T16" fmla="*/ 1 w 40"/>
                    <a:gd name="T17" fmla="*/ 1 h 24"/>
                    <a:gd name="T18" fmla="*/ 1 w 40"/>
                    <a:gd name="T19" fmla="*/ 1 h 2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40"/>
                    <a:gd name="T31" fmla="*/ 0 h 24"/>
                    <a:gd name="T32" fmla="*/ 40 w 40"/>
                    <a:gd name="T33" fmla="*/ 24 h 2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40" h="24">
                      <a:moveTo>
                        <a:pt x="32" y="16"/>
                      </a:moveTo>
                      <a:lnTo>
                        <a:pt x="32" y="8"/>
                      </a:lnTo>
                      <a:lnTo>
                        <a:pt x="40" y="0"/>
                      </a:lnTo>
                      <a:lnTo>
                        <a:pt x="32" y="0"/>
                      </a:lnTo>
                      <a:lnTo>
                        <a:pt x="32" y="8"/>
                      </a:lnTo>
                      <a:lnTo>
                        <a:pt x="8" y="8"/>
                      </a:lnTo>
                      <a:lnTo>
                        <a:pt x="0" y="16"/>
                      </a:lnTo>
                      <a:lnTo>
                        <a:pt x="0" y="24"/>
                      </a:lnTo>
                      <a:lnTo>
                        <a:pt x="16" y="24"/>
                      </a:lnTo>
                      <a:lnTo>
                        <a:pt x="32" y="16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55" name="Freeform 386"/>
                <p:cNvSpPr>
                  <a:spLocks noChangeAspect="1"/>
                </p:cNvSpPr>
                <p:nvPr/>
              </p:nvSpPr>
              <p:spPr bwMode="auto">
                <a:xfrm>
                  <a:off x="2896" y="2391"/>
                  <a:ext cx="225" cy="208"/>
                </a:xfrm>
                <a:custGeom>
                  <a:avLst/>
                  <a:gdLst>
                    <a:gd name="T0" fmla="*/ 1 w 320"/>
                    <a:gd name="T1" fmla="*/ 1 h 296"/>
                    <a:gd name="T2" fmla="*/ 1 w 320"/>
                    <a:gd name="T3" fmla="*/ 1 h 296"/>
                    <a:gd name="T4" fmla="*/ 1 w 320"/>
                    <a:gd name="T5" fmla="*/ 1 h 296"/>
                    <a:gd name="T6" fmla="*/ 1 w 320"/>
                    <a:gd name="T7" fmla="*/ 1 h 296"/>
                    <a:gd name="T8" fmla="*/ 1 w 320"/>
                    <a:gd name="T9" fmla="*/ 1 h 296"/>
                    <a:gd name="T10" fmla="*/ 1 w 320"/>
                    <a:gd name="T11" fmla="*/ 1 h 296"/>
                    <a:gd name="T12" fmla="*/ 1 w 320"/>
                    <a:gd name="T13" fmla="*/ 1 h 296"/>
                    <a:gd name="T14" fmla="*/ 1 w 320"/>
                    <a:gd name="T15" fmla="*/ 1 h 296"/>
                    <a:gd name="T16" fmla="*/ 1 w 320"/>
                    <a:gd name="T17" fmla="*/ 1 h 296"/>
                    <a:gd name="T18" fmla="*/ 0 w 320"/>
                    <a:gd name="T19" fmla="*/ 1 h 296"/>
                    <a:gd name="T20" fmla="*/ 1 w 320"/>
                    <a:gd name="T21" fmla="*/ 1 h 296"/>
                    <a:gd name="T22" fmla="*/ 1 w 320"/>
                    <a:gd name="T23" fmla="*/ 1 h 296"/>
                    <a:gd name="T24" fmla="*/ 1 w 320"/>
                    <a:gd name="T25" fmla="*/ 1 h 296"/>
                    <a:gd name="T26" fmla="*/ 1 w 320"/>
                    <a:gd name="T27" fmla="*/ 1 h 296"/>
                    <a:gd name="T28" fmla="*/ 0 w 320"/>
                    <a:gd name="T29" fmla="*/ 1 h 296"/>
                    <a:gd name="T30" fmla="*/ 1 w 320"/>
                    <a:gd name="T31" fmla="*/ 1 h 296"/>
                    <a:gd name="T32" fmla="*/ 1 w 320"/>
                    <a:gd name="T33" fmla="*/ 1 h 296"/>
                    <a:gd name="T34" fmla="*/ 1 w 320"/>
                    <a:gd name="T35" fmla="*/ 1 h 296"/>
                    <a:gd name="T36" fmla="*/ 1 w 320"/>
                    <a:gd name="T37" fmla="*/ 1 h 296"/>
                    <a:gd name="T38" fmla="*/ 1 w 320"/>
                    <a:gd name="T39" fmla="*/ 1 h 296"/>
                    <a:gd name="T40" fmla="*/ 1 w 320"/>
                    <a:gd name="T41" fmla="*/ 0 h 296"/>
                    <a:gd name="T42" fmla="*/ 1 w 320"/>
                    <a:gd name="T43" fmla="*/ 1 h 296"/>
                    <a:gd name="T44" fmla="*/ 1 w 320"/>
                    <a:gd name="T45" fmla="*/ 1 h 296"/>
                    <a:gd name="T46" fmla="*/ 1 w 320"/>
                    <a:gd name="T47" fmla="*/ 1 h 296"/>
                    <a:gd name="T48" fmla="*/ 1 w 320"/>
                    <a:gd name="T49" fmla="*/ 1 h 296"/>
                    <a:gd name="T50" fmla="*/ 1 w 320"/>
                    <a:gd name="T51" fmla="*/ 1 h 296"/>
                    <a:gd name="T52" fmla="*/ 1 w 320"/>
                    <a:gd name="T53" fmla="*/ 1 h 296"/>
                    <a:gd name="T54" fmla="*/ 1 w 320"/>
                    <a:gd name="T55" fmla="*/ 1 h 296"/>
                    <a:gd name="T56" fmla="*/ 1 w 320"/>
                    <a:gd name="T57" fmla="*/ 1 h 296"/>
                    <a:gd name="T58" fmla="*/ 1 w 320"/>
                    <a:gd name="T59" fmla="*/ 1 h 296"/>
                    <a:gd name="T60" fmla="*/ 1 w 320"/>
                    <a:gd name="T61" fmla="*/ 1 h 296"/>
                    <a:gd name="T62" fmla="*/ 1 w 320"/>
                    <a:gd name="T63" fmla="*/ 1 h 296"/>
                    <a:gd name="T64" fmla="*/ 1 w 320"/>
                    <a:gd name="T65" fmla="*/ 1 h 296"/>
                    <a:gd name="T66" fmla="*/ 1 w 320"/>
                    <a:gd name="T67" fmla="*/ 1 h 296"/>
                    <a:gd name="T68" fmla="*/ 1 w 320"/>
                    <a:gd name="T69" fmla="*/ 1 h 296"/>
                    <a:gd name="T70" fmla="*/ 1 w 320"/>
                    <a:gd name="T71" fmla="*/ 1 h 296"/>
                    <a:gd name="T72" fmla="*/ 1 w 320"/>
                    <a:gd name="T73" fmla="*/ 1 h 296"/>
                    <a:gd name="T74" fmla="*/ 1 w 320"/>
                    <a:gd name="T75" fmla="*/ 1 h 296"/>
                    <a:gd name="T76" fmla="*/ 1 w 320"/>
                    <a:gd name="T77" fmla="*/ 1 h 296"/>
                    <a:gd name="T78" fmla="*/ 1 w 320"/>
                    <a:gd name="T79" fmla="*/ 1 h 296"/>
                    <a:gd name="T80" fmla="*/ 1 w 320"/>
                    <a:gd name="T81" fmla="*/ 1 h 296"/>
                    <a:gd name="T82" fmla="*/ 1 w 320"/>
                    <a:gd name="T83" fmla="*/ 1 h 296"/>
                    <a:gd name="T84" fmla="*/ 1 w 320"/>
                    <a:gd name="T85" fmla="*/ 1 h 296"/>
                    <a:gd name="T86" fmla="*/ 1 w 320"/>
                    <a:gd name="T87" fmla="*/ 1 h 29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320"/>
                    <a:gd name="T133" fmla="*/ 0 h 296"/>
                    <a:gd name="T134" fmla="*/ 320 w 320"/>
                    <a:gd name="T135" fmla="*/ 296 h 296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320" h="296">
                      <a:moveTo>
                        <a:pt x="320" y="248"/>
                      </a:moveTo>
                      <a:lnTo>
                        <a:pt x="320" y="296"/>
                      </a:lnTo>
                      <a:lnTo>
                        <a:pt x="304" y="296"/>
                      </a:lnTo>
                      <a:lnTo>
                        <a:pt x="144" y="216"/>
                      </a:lnTo>
                      <a:lnTo>
                        <a:pt x="112" y="240"/>
                      </a:lnTo>
                      <a:lnTo>
                        <a:pt x="56" y="224"/>
                      </a:lnTo>
                      <a:lnTo>
                        <a:pt x="40" y="192"/>
                      </a:lnTo>
                      <a:lnTo>
                        <a:pt x="24" y="200"/>
                      </a:lnTo>
                      <a:lnTo>
                        <a:pt x="8" y="176"/>
                      </a:lnTo>
                      <a:lnTo>
                        <a:pt x="0" y="152"/>
                      </a:lnTo>
                      <a:lnTo>
                        <a:pt x="16" y="136"/>
                      </a:lnTo>
                      <a:lnTo>
                        <a:pt x="16" y="120"/>
                      </a:lnTo>
                      <a:lnTo>
                        <a:pt x="8" y="104"/>
                      </a:lnTo>
                      <a:lnTo>
                        <a:pt x="8" y="96"/>
                      </a:lnTo>
                      <a:lnTo>
                        <a:pt x="0" y="56"/>
                      </a:lnTo>
                      <a:lnTo>
                        <a:pt x="8" y="56"/>
                      </a:lnTo>
                      <a:lnTo>
                        <a:pt x="16" y="48"/>
                      </a:lnTo>
                      <a:lnTo>
                        <a:pt x="24" y="24"/>
                      </a:lnTo>
                      <a:lnTo>
                        <a:pt x="32" y="24"/>
                      </a:lnTo>
                      <a:lnTo>
                        <a:pt x="40" y="16"/>
                      </a:lnTo>
                      <a:lnTo>
                        <a:pt x="40" y="0"/>
                      </a:lnTo>
                      <a:lnTo>
                        <a:pt x="64" y="8"/>
                      </a:lnTo>
                      <a:lnTo>
                        <a:pt x="96" y="8"/>
                      </a:lnTo>
                      <a:lnTo>
                        <a:pt x="104" y="16"/>
                      </a:lnTo>
                      <a:lnTo>
                        <a:pt x="120" y="16"/>
                      </a:lnTo>
                      <a:lnTo>
                        <a:pt x="128" y="40"/>
                      </a:lnTo>
                      <a:lnTo>
                        <a:pt x="168" y="48"/>
                      </a:lnTo>
                      <a:lnTo>
                        <a:pt x="200" y="72"/>
                      </a:lnTo>
                      <a:lnTo>
                        <a:pt x="216" y="64"/>
                      </a:lnTo>
                      <a:lnTo>
                        <a:pt x="224" y="48"/>
                      </a:lnTo>
                      <a:lnTo>
                        <a:pt x="216" y="40"/>
                      </a:lnTo>
                      <a:lnTo>
                        <a:pt x="216" y="24"/>
                      </a:lnTo>
                      <a:lnTo>
                        <a:pt x="248" y="8"/>
                      </a:lnTo>
                      <a:lnTo>
                        <a:pt x="264" y="8"/>
                      </a:lnTo>
                      <a:lnTo>
                        <a:pt x="280" y="8"/>
                      </a:lnTo>
                      <a:lnTo>
                        <a:pt x="280" y="24"/>
                      </a:lnTo>
                      <a:lnTo>
                        <a:pt x="296" y="24"/>
                      </a:lnTo>
                      <a:lnTo>
                        <a:pt x="312" y="32"/>
                      </a:lnTo>
                      <a:lnTo>
                        <a:pt x="320" y="40"/>
                      </a:lnTo>
                      <a:lnTo>
                        <a:pt x="320" y="56"/>
                      </a:lnTo>
                      <a:lnTo>
                        <a:pt x="312" y="64"/>
                      </a:lnTo>
                      <a:lnTo>
                        <a:pt x="320" y="104"/>
                      </a:lnTo>
                      <a:lnTo>
                        <a:pt x="320" y="200"/>
                      </a:lnTo>
                      <a:lnTo>
                        <a:pt x="320" y="248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56" name="Freeform 387"/>
                <p:cNvSpPr>
                  <a:spLocks noChangeAspect="1"/>
                </p:cNvSpPr>
                <p:nvPr/>
              </p:nvSpPr>
              <p:spPr bwMode="auto">
                <a:xfrm>
                  <a:off x="2513" y="2487"/>
                  <a:ext cx="186" cy="191"/>
                </a:xfrm>
                <a:custGeom>
                  <a:avLst/>
                  <a:gdLst>
                    <a:gd name="T0" fmla="*/ 1 w 264"/>
                    <a:gd name="T1" fmla="*/ 0 h 272"/>
                    <a:gd name="T2" fmla="*/ 1 w 264"/>
                    <a:gd name="T3" fmla="*/ 1 h 272"/>
                    <a:gd name="T4" fmla="*/ 1 w 264"/>
                    <a:gd name="T5" fmla="*/ 1 h 272"/>
                    <a:gd name="T6" fmla="*/ 1 w 264"/>
                    <a:gd name="T7" fmla="*/ 1 h 272"/>
                    <a:gd name="T8" fmla="*/ 1 w 264"/>
                    <a:gd name="T9" fmla="*/ 1 h 272"/>
                    <a:gd name="T10" fmla="*/ 1 w 264"/>
                    <a:gd name="T11" fmla="*/ 1 h 272"/>
                    <a:gd name="T12" fmla="*/ 1 w 264"/>
                    <a:gd name="T13" fmla="*/ 1 h 272"/>
                    <a:gd name="T14" fmla="*/ 0 w 264"/>
                    <a:gd name="T15" fmla="*/ 1 h 272"/>
                    <a:gd name="T16" fmla="*/ 1 w 264"/>
                    <a:gd name="T17" fmla="*/ 1 h 272"/>
                    <a:gd name="T18" fmla="*/ 1 w 264"/>
                    <a:gd name="T19" fmla="*/ 1 h 272"/>
                    <a:gd name="T20" fmla="*/ 1 w 264"/>
                    <a:gd name="T21" fmla="*/ 1 h 272"/>
                    <a:gd name="T22" fmla="*/ 1 w 264"/>
                    <a:gd name="T23" fmla="*/ 1 h 272"/>
                    <a:gd name="T24" fmla="*/ 1 w 264"/>
                    <a:gd name="T25" fmla="*/ 1 h 272"/>
                    <a:gd name="T26" fmla="*/ 1 w 264"/>
                    <a:gd name="T27" fmla="*/ 1 h 272"/>
                    <a:gd name="T28" fmla="*/ 1 w 264"/>
                    <a:gd name="T29" fmla="*/ 1 h 272"/>
                    <a:gd name="T30" fmla="*/ 1 w 264"/>
                    <a:gd name="T31" fmla="*/ 1 h 272"/>
                    <a:gd name="T32" fmla="*/ 1 w 264"/>
                    <a:gd name="T33" fmla="*/ 1 h 272"/>
                    <a:gd name="T34" fmla="*/ 1 w 264"/>
                    <a:gd name="T35" fmla="*/ 1 h 272"/>
                    <a:gd name="T36" fmla="*/ 1 w 264"/>
                    <a:gd name="T37" fmla="*/ 1 h 272"/>
                    <a:gd name="T38" fmla="*/ 1 w 264"/>
                    <a:gd name="T39" fmla="*/ 1 h 272"/>
                    <a:gd name="T40" fmla="*/ 1 w 264"/>
                    <a:gd name="T41" fmla="*/ 1 h 272"/>
                    <a:gd name="T42" fmla="*/ 1 w 264"/>
                    <a:gd name="T43" fmla="*/ 1 h 272"/>
                    <a:gd name="T44" fmla="*/ 1 w 264"/>
                    <a:gd name="T45" fmla="*/ 1 h 272"/>
                    <a:gd name="T46" fmla="*/ 1 w 264"/>
                    <a:gd name="T47" fmla="*/ 1 h 272"/>
                    <a:gd name="T48" fmla="*/ 1 w 264"/>
                    <a:gd name="T49" fmla="*/ 1 h 272"/>
                    <a:gd name="T50" fmla="*/ 1 w 264"/>
                    <a:gd name="T51" fmla="*/ 1 h 272"/>
                    <a:gd name="T52" fmla="*/ 1 w 264"/>
                    <a:gd name="T53" fmla="*/ 1 h 272"/>
                    <a:gd name="T54" fmla="*/ 1 w 264"/>
                    <a:gd name="T55" fmla="*/ 1 h 272"/>
                    <a:gd name="T56" fmla="*/ 1 w 264"/>
                    <a:gd name="T57" fmla="*/ 0 h 272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64"/>
                    <a:gd name="T88" fmla="*/ 0 h 272"/>
                    <a:gd name="T89" fmla="*/ 264 w 264"/>
                    <a:gd name="T90" fmla="*/ 272 h 272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64" h="272">
                      <a:moveTo>
                        <a:pt x="184" y="0"/>
                      </a:moveTo>
                      <a:lnTo>
                        <a:pt x="176" y="32"/>
                      </a:lnTo>
                      <a:lnTo>
                        <a:pt x="112" y="32"/>
                      </a:lnTo>
                      <a:lnTo>
                        <a:pt x="112" y="88"/>
                      </a:lnTo>
                      <a:lnTo>
                        <a:pt x="96" y="88"/>
                      </a:lnTo>
                      <a:lnTo>
                        <a:pt x="88" y="104"/>
                      </a:lnTo>
                      <a:lnTo>
                        <a:pt x="88" y="136"/>
                      </a:lnTo>
                      <a:lnTo>
                        <a:pt x="0" y="136"/>
                      </a:lnTo>
                      <a:lnTo>
                        <a:pt x="8" y="144"/>
                      </a:lnTo>
                      <a:lnTo>
                        <a:pt x="16" y="160"/>
                      </a:lnTo>
                      <a:lnTo>
                        <a:pt x="16" y="176"/>
                      </a:lnTo>
                      <a:lnTo>
                        <a:pt x="24" y="208"/>
                      </a:lnTo>
                      <a:lnTo>
                        <a:pt x="24" y="232"/>
                      </a:lnTo>
                      <a:lnTo>
                        <a:pt x="32" y="224"/>
                      </a:lnTo>
                      <a:lnTo>
                        <a:pt x="56" y="232"/>
                      </a:lnTo>
                      <a:lnTo>
                        <a:pt x="72" y="240"/>
                      </a:lnTo>
                      <a:lnTo>
                        <a:pt x="80" y="248"/>
                      </a:lnTo>
                      <a:lnTo>
                        <a:pt x="104" y="272"/>
                      </a:lnTo>
                      <a:lnTo>
                        <a:pt x="112" y="256"/>
                      </a:lnTo>
                      <a:lnTo>
                        <a:pt x="120" y="256"/>
                      </a:lnTo>
                      <a:lnTo>
                        <a:pt x="128" y="264"/>
                      </a:lnTo>
                      <a:lnTo>
                        <a:pt x="136" y="256"/>
                      </a:lnTo>
                      <a:lnTo>
                        <a:pt x="152" y="256"/>
                      </a:lnTo>
                      <a:lnTo>
                        <a:pt x="160" y="248"/>
                      </a:lnTo>
                      <a:lnTo>
                        <a:pt x="168" y="256"/>
                      </a:lnTo>
                      <a:lnTo>
                        <a:pt x="240" y="256"/>
                      </a:lnTo>
                      <a:lnTo>
                        <a:pt x="216" y="56"/>
                      </a:lnTo>
                      <a:lnTo>
                        <a:pt x="264" y="56"/>
                      </a:lnTo>
                      <a:lnTo>
                        <a:pt x="184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57" name="Freeform 388"/>
                <p:cNvSpPr>
                  <a:spLocks noChangeAspect="1"/>
                </p:cNvSpPr>
                <p:nvPr/>
              </p:nvSpPr>
              <p:spPr bwMode="auto">
                <a:xfrm>
                  <a:off x="2513" y="2476"/>
                  <a:ext cx="130" cy="106"/>
                </a:xfrm>
                <a:custGeom>
                  <a:avLst/>
                  <a:gdLst>
                    <a:gd name="T0" fmla="*/ 0 w 184"/>
                    <a:gd name="T1" fmla="*/ 1 h 152"/>
                    <a:gd name="T2" fmla="*/ 1 w 184"/>
                    <a:gd name="T3" fmla="*/ 1 h 152"/>
                    <a:gd name="T4" fmla="*/ 1 w 184"/>
                    <a:gd name="T5" fmla="*/ 1 h 152"/>
                    <a:gd name="T6" fmla="*/ 1 w 184"/>
                    <a:gd name="T7" fmla="*/ 1 h 152"/>
                    <a:gd name="T8" fmla="*/ 1 w 184"/>
                    <a:gd name="T9" fmla="*/ 1 h 152"/>
                    <a:gd name="T10" fmla="*/ 1 w 184"/>
                    <a:gd name="T11" fmla="*/ 1 h 152"/>
                    <a:gd name="T12" fmla="*/ 1 w 184"/>
                    <a:gd name="T13" fmla="*/ 1 h 152"/>
                    <a:gd name="T14" fmla="*/ 1 w 184"/>
                    <a:gd name="T15" fmla="*/ 1 h 152"/>
                    <a:gd name="T16" fmla="*/ 1 w 184"/>
                    <a:gd name="T17" fmla="*/ 0 h 152"/>
                    <a:gd name="T18" fmla="*/ 1 w 184"/>
                    <a:gd name="T19" fmla="*/ 0 h 152"/>
                    <a:gd name="T20" fmla="*/ 1 w 184"/>
                    <a:gd name="T21" fmla="*/ 1 h 152"/>
                    <a:gd name="T22" fmla="*/ 1 w 184"/>
                    <a:gd name="T23" fmla="*/ 1 h 152"/>
                    <a:gd name="T24" fmla="*/ 1 w 184"/>
                    <a:gd name="T25" fmla="*/ 1 h 152"/>
                    <a:gd name="T26" fmla="*/ 1 w 184"/>
                    <a:gd name="T27" fmla="*/ 1 h 152"/>
                    <a:gd name="T28" fmla="*/ 1 w 184"/>
                    <a:gd name="T29" fmla="*/ 1 h 152"/>
                    <a:gd name="T30" fmla="*/ 1 w 184"/>
                    <a:gd name="T31" fmla="*/ 1 h 152"/>
                    <a:gd name="T32" fmla="*/ 1 w 184"/>
                    <a:gd name="T33" fmla="*/ 1 h 152"/>
                    <a:gd name="T34" fmla="*/ 1 w 184"/>
                    <a:gd name="T35" fmla="*/ 1 h 152"/>
                    <a:gd name="T36" fmla="*/ 1 w 184"/>
                    <a:gd name="T37" fmla="*/ 1 h 152"/>
                    <a:gd name="T38" fmla="*/ 0 w 184"/>
                    <a:gd name="T39" fmla="*/ 1 h 152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84"/>
                    <a:gd name="T61" fmla="*/ 0 h 152"/>
                    <a:gd name="T62" fmla="*/ 184 w 184"/>
                    <a:gd name="T63" fmla="*/ 152 h 152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84" h="152">
                      <a:moveTo>
                        <a:pt x="0" y="152"/>
                      </a:moveTo>
                      <a:lnTo>
                        <a:pt x="88" y="152"/>
                      </a:lnTo>
                      <a:lnTo>
                        <a:pt x="88" y="120"/>
                      </a:lnTo>
                      <a:lnTo>
                        <a:pt x="96" y="104"/>
                      </a:lnTo>
                      <a:lnTo>
                        <a:pt x="112" y="104"/>
                      </a:lnTo>
                      <a:lnTo>
                        <a:pt x="112" y="48"/>
                      </a:lnTo>
                      <a:lnTo>
                        <a:pt x="176" y="48"/>
                      </a:lnTo>
                      <a:lnTo>
                        <a:pt x="184" y="16"/>
                      </a:lnTo>
                      <a:lnTo>
                        <a:pt x="176" y="0"/>
                      </a:lnTo>
                      <a:lnTo>
                        <a:pt x="112" y="0"/>
                      </a:lnTo>
                      <a:lnTo>
                        <a:pt x="96" y="8"/>
                      </a:lnTo>
                      <a:lnTo>
                        <a:pt x="88" y="8"/>
                      </a:lnTo>
                      <a:lnTo>
                        <a:pt x="72" y="32"/>
                      </a:lnTo>
                      <a:lnTo>
                        <a:pt x="72" y="40"/>
                      </a:lnTo>
                      <a:lnTo>
                        <a:pt x="64" y="40"/>
                      </a:lnTo>
                      <a:lnTo>
                        <a:pt x="56" y="56"/>
                      </a:lnTo>
                      <a:lnTo>
                        <a:pt x="48" y="72"/>
                      </a:lnTo>
                      <a:lnTo>
                        <a:pt x="32" y="88"/>
                      </a:lnTo>
                      <a:lnTo>
                        <a:pt x="16" y="120"/>
                      </a:lnTo>
                      <a:lnTo>
                        <a:pt x="0" y="152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  <p:sp>
              <p:nvSpPr>
                <p:cNvPr id="58" name="Freeform 389"/>
                <p:cNvSpPr>
                  <a:spLocks noChangeAspect="1"/>
                </p:cNvSpPr>
                <p:nvPr/>
              </p:nvSpPr>
              <p:spPr bwMode="auto">
                <a:xfrm>
                  <a:off x="2592" y="2363"/>
                  <a:ext cx="152" cy="113"/>
                </a:xfrm>
                <a:custGeom>
                  <a:avLst/>
                  <a:gdLst>
                    <a:gd name="T0" fmla="*/ 1 w 216"/>
                    <a:gd name="T1" fmla="*/ 0 h 160"/>
                    <a:gd name="T2" fmla="*/ 1 w 216"/>
                    <a:gd name="T3" fmla="*/ 1 h 160"/>
                    <a:gd name="T4" fmla="*/ 1 w 216"/>
                    <a:gd name="T5" fmla="*/ 1 h 160"/>
                    <a:gd name="T6" fmla="*/ 1 w 216"/>
                    <a:gd name="T7" fmla="*/ 1 h 160"/>
                    <a:gd name="T8" fmla="*/ 1 w 216"/>
                    <a:gd name="T9" fmla="*/ 1 h 160"/>
                    <a:gd name="T10" fmla="*/ 1 w 216"/>
                    <a:gd name="T11" fmla="*/ 1 h 160"/>
                    <a:gd name="T12" fmla="*/ 1 w 216"/>
                    <a:gd name="T13" fmla="*/ 1 h 160"/>
                    <a:gd name="T14" fmla="*/ 1 w 216"/>
                    <a:gd name="T15" fmla="*/ 1 h 160"/>
                    <a:gd name="T16" fmla="*/ 1 w 216"/>
                    <a:gd name="T17" fmla="*/ 1 h 160"/>
                    <a:gd name="T18" fmla="*/ 1 w 216"/>
                    <a:gd name="T19" fmla="*/ 1 h 160"/>
                    <a:gd name="T20" fmla="*/ 1 w 216"/>
                    <a:gd name="T21" fmla="*/ 1 h 160"/>
                    <a:gd name="T22" fmla="*/ 1 w 216"/>
                    <a:gd name="T23" fmla="*/ 1 h 160"/>
                    <a:gd name="T24" fmla="*/ 1 w 216"/>
                    <a:gd name="T25" fmla="*/ 1 h 160"/>
                    <a:gd name="T26" fmla="*/ 1 w 216"/>
                    <a:gd name="T27" fmla="*/ 1 h 160"/>
                    <a:gd name="T28" fmla="*/ 1 w 216"/>
                    <a:gd name="T29" fmla="*/ 1 h 160"/>
                    <a:gd name="T30" fmla="*/ 0 w 216"/>
                    <a:gd name="T31" fmla="*/ 1 h 160"/>
                    <a:gd name="T32" fmla="*/ 1 w 216"/>
                    <a:gd name="T33" fmla="*/ 0 h 160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216"/>
                    <a:gd name="T52" fmla="*/ 0 h 160"/>
                    <a:gd name="T53" fmla="*/ 216 w 216"/>
                    <a:gd name="T54" fmla="*/ 160 h 160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216" h="160">
                      <a:moveTo>
                        <a:pt x="208" y="0"/>
                      </a:moveTo>
                      <a:lnTo>
                        <a:pt x="216" y="40"/>
                      </a:lnTo>
                      <a:lnTo>
                        <a:pt x="216" y="48"/>
                      </a:lnTo>
                      <a:lnTo>
                        <a:pt x="208" y="72"/>
                      </a:lnTo>
                      <a:lnTo>
                        <a:pt x="192" y="72"/>
                      </a:lnTo>
                      <a:lnTo>
                        <a:pt x="176" y="72"/>
                      </a:lnTo>
                      <a:lnTo>
                        <a:pt x="176" y="96"/>
                      </a:lnTo>
                      <a:lnTo>
                        <a:pt x="160" y="96"/>
                      </a:lnTo>
                      <a:lnTo>
                        <a:pt x="152" y="104"/>
                      </a:lnTo>
                      <a:lnTo>
                        <a:pt x="144" y="104"/>
                      </a:lnTo>
                      <a:lnTo>
                        <a:pt x="136" y="112"/>
                      </a:lnTo>
                      <a:lnTo>
                        <a:pt x="136" y="120"/>
                      </a:lnTo>
                      <a:lnTo>
                        <a:pt x="88" y="128"/>
                      </a:lnTo>
                      <a:lnTo>
                        <a:pt x="64" y="144"/>
                      </a:lnTo>
                      <a:lnTo>
                        <a:pt x="64" y="160"/>
                      </a:lnTo>
                      <a:lnTo>
                        <a:pt x="0" y="160"/>
                      </a:lnTo>
                      <a:lnTo>
                        <a:pt x="208" y="0"/>
                      </a:lnTo>
                      <a:close/>
                    </a:path>
                  </a:pathLst>
                </a:custGeom>
                <a:grpFill/>
                <a:ln w="127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900">
                    <a:solidFill>
                      <a:srgbClr val="002897"/>
                    </a:solidFill>
                    <a:cs typeface="Arial" charset="0"/>
                  </a:endParaRPr>
                </a:p>
              </p:txBody>
            </p:sp>
          </p:grpSp>
        </p:grpSp>
      </p:grpSp>
      <p:sp>
        <p:nvSpPr>
          <p:cNvPr id="407" name="Oval 391"/>
          <p:cNvSpPr>
            <a:spLocks noChangeArrowheads="1"/>
          </p:cNvSpPr>
          <p:nvPr/>
        </p:nvSpPr>
        <p:spPr bwMode="auto">
          <a:xfrm>
            <a:off x="6520751" y="3475629"/>
            <a:ext cx="107986" cy="107986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89988" tIns="46794" rIns="89988" bIns="46794" anchor="ctr"/>
          <a:lstStyle>
            <a:lvl1pPr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28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altLang="en-US" sz="1800">
              <a:cs typeface="Arial" charset="0"/>
            </a:endParaRPr>
          </a:p>
        </p:txBody>
      </p:sp>
      <p:sp>
        <p:nvSpPr>
          <p:cNvPr id="408" name="Oval 396"/>
          <p:cNvSpPr>
            <a:spLocks noChangeArrowheads="1"/>
          </p:cNvSpPr>
          <p:nvPr/>
        </p:nvSpPr>
        <p:spPr bwMode="auto">
          <a:xfrm>
            <a:off x="6387418" y="3728010"/>
            <a:ext cx="107986" cy="107986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89988" tIns="46794" rIns="89988" bIns="46794" anchor="ctr"/>
          <a:lstStyle>
            <a:lvl1pPr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28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altLang="en-US" sz="1800">
              <a:cs typeface="Arial" charset="0"/>
            </a:endParaRPr>
          </a:p>
        </p:txBody>
      </p:sp>
      <p:sp>
        <p:nvSpPr>
          <p:cNvPr id="409" name="Oval 400"/>
          <p:cNvSpPr>
            <a:spLocks noChangeArrowheads="1"/>
          </p:cNvSpPr>
          <p:nvPr/>
        </p:nvSpPr>
        <p:spPr bwMode="auto">
          <a:xfrm>
            <a:off x="6027103" y="4193085"/>
            <a:ext cx="107986" cy="107986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89988" tIns="46794" rIns="89988" bIns="46794" anchor="ctr"/>
          <a:lstStyle>
            <a:lvl1pPr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28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altLang="en-US" sz="1800">
              <a:cs typeface="Arial" charset="0"/>
            </a:endParaRPr>
          </a:p>
        </p:txBody>
      </p:sp>
      <p:sp>
        <p:nvSpPr>
          <p:cNvPr id="410" name="Oval 401"/>
          <p:cNvSpPr>
            <a:spLocks noChangeArrowheads="1"/>
          </p:cNvSpPr>
          <p:nvPr/>
        </p:nvSpPr>
        <p:spPr bwMode="auto">
          <a:xfrm>
            <a:off x="3887431" y="3367693"/>
            <a:ext cx="107986" cy="107986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89988" tIns="46794" rIns="89988" bIns="46794" anchor="ctr"/>
          <a:lstStyle>
            <a:lvl1pPr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28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altLang="en-US" sz="1800">
              <a:cs typeface="Arial" charset="0"/>
            </a:endParaRPr>
          </a:p>
        </p:txBody>
      </p:sp>
      <p:sp>
        <p:nvSpPr>
          <p:cNvPr id="411" name="Oval 402"/>
          <p:cNvSpPr>
            <a:spLocks noChangeArrowheads="1"/>
          </p:cNvSpPr>
          <p:nvPr/>
        </p:nvSpPr>
        <p:spPr bwMode="auto">
          <a:xfrm>
            <a:off x="4047748" y="3274044"/>
            <a:ext cx="89988" cy="89988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89988" tIns="46794" rIns="89988" bIns="4679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12" name="Oval 403"/>
          <p:cNvSpPr>
            <a:spLocks noChangeArrowheads="1"/>
          </p:cNvSpPr>
          <p:nvPr/>
        </p:nvSpPr>
        <p:spPr bwMode="auto">
          <a:xfrm>
            <a:off x="4419174" y="3383566"/>
            <a:ext cx="107986" cy="107986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89988" tIns="46794" rIns="89988" bIns="46794" anchor="ctr"/>
          <a:lstStyle>
            <a:lvl1pPr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28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altLang="en-US" sz="1800">
              <a:cs typeface="Arial" charset="0"/>
            </a:endParaRPr>
          </a:p>
        </p:txBody>
      </p:sp>
      <p:sp>
        <p:nvSpPr>
          <p:cNvPr id="413" name="Oval 404"/>
          <p:cNvSpPr>
            <a:spLocks noChangeArrowheads="1"/>
          </p:cNvSpPr>
          <p:nvPr/>
        </p:nvSpPr>
        <p:spPr bwMode="auto">
          <a:xfrm>
            <a:off x="4050922" y="3001030"/>
            <a:ext cx="107986" cy="107986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89988" tIns="46794" rIns="89988" bIns="4679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14" name="Oval 405"/>
          <p:cNvSpPr>
            <a:spLocks noChangeArrowheads="1"/>
          </p:cNvSpPr>
          <p:nvPr/>
        </p:nvSpPr>
        <p:spPr bwMode="auto">
          <a:xfrm>
            <a:off x="4162033" y="2883570"/>
            <a:ext cx="89988" cy="89988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89988" tIns="46794" rIns="89988" bIns="4679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15" name="Oval 407"/>
          <p:cNvSpPr>
            <a:spLocks noChangeArrowheads="1"/>
          </p:cNvSpPr>
          <p:nvPr/>
        </p:nvSpPr>
        <p:spPr bwMode="auto">
          <a:xfrm>
            <a:off x="4550417" y="2699509"/>
            <a:ext cx="89988" cy="89988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89988" tIns="46794" rIns="89988" bIns="4679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16" name="Oval 408"/>
          <p:cNvSpPr>
            <a:spLocks noChangeArrowheads="1"/>
          </p:cNvSpPr>
          <p:nvPr/>
        </p:nvSpPr>
        <p:spPr bwMode="auto">
          <a:xfrm>
            <a:off x="2312837" y="3691501"/>
            <a:ext cx="89988" cy="89988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89988" tIns="46794" rIns="89988" bIns="4679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17" name="Oval 413"/>
          <p:cNvSpPr>
            <a:spLocks noChangeArrowheads="1"/>
          </p:cNvSpPr>
          <p:nvPr/>
        </p:nvSpPr>
        <p:spPr bwMode="auto">
          <a:xfrm>
            <a:off x="4185652" y="2748275"/>
            <a:ext cx="89988" cy="89988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89988" tIns="46794" rIns="89988" bIns="4679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18" name="Oval 414"/>
          <p:cNvSpPr>
            <a:spLocks noChangeArrowheads="1"/>
          </p:cNvSpPr>
          <p:nvPr/>
        </p:nvSpPr>
        <p:spPr bwMode="auto">
          <a:xfrm>
            <a:off x="4174731" y="3274044"/>
            <a:ext cx="89988" cy="89988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89988" tIns="46794" rIns="89988" bIns="4679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19" name="Oval 415"/>
          <p:cNvSpPr>
            <a:spLocks noChangeArrowheads="1"/>
          </p:cNvSpPr>
          <p:nvPr/>
        </p:nvSpPr>
        <p:spPr bwMode="auto">
          <a:xfrm>
            <a:off x="4200128" y="2950236"/>
            <a:ext cx="89988" cy="89988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89988" tIns="46794" rIns="89988" bIns="4679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20" name="Oval 416"/>
          <p:cNvSpPr>
            <a:spLocks noChangeArrowheads="1"/>
          </p:cNvSpPr>
          <p:nvPr/>
        </p:nvSpPr>
        <p:spPr bwMode="auto">
          <a:xfrm>
            <a:off x="6784242" y="3410552"/>
            <a:ext cx="89988" cy="89988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89988" tIns="46794" rIns="89988" bIns="4679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21" name="Oval 417"/>
          <p:cNvSpPr>
            <a:spLocks noChangeArrowheads="1"/>
          </p:cNvSpPr>
          <p:nvPr/>
        </p:nvSpPr>
        <p:spPr bwMode="auto">
          <a:xfrm>
            <a:off x="4082668" y="2626429"/>
            <a:ext cx="89988" cy="89988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89988" tIns="46794" rIns="89988" bIns="4679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22" name="Oval 418"/>
          <p:cNvSpPr>
            <a:spLocks noChangeArrowheads="1"/>
          </p:cNvSpPr>
          <p:nvPr/>
        </p:nvSpPr>
        <p:spPr bwMode="auto">
          <a:xfrm>
            <a:off x="3906479" y="2866108"/>
            <a:ext cx="89988" cy="89988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89988" tIns="46794" rIns="89988" bIns="4679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23" name="Oval 419"/>
          <p:cNvSpPr>
            <a:spLocks noChangeArrowheads="1"/>
          </p:cNvSpPr>
          <p:nvPr/>
        </p:nvSpPr>
        <p:spPr bwMode="auto">
          <a:xfrm>
            <a:off x="4519174" y="4923242"/>
            <a:ext cx="89988" cy="89988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89988" tIns="46794" rIns="89988" bIns="4679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24" name="Oval 420"/>
          <p:cNvSpPr>
            <a:spLocks noChangeArrowheads="1"/>
          </p:cNvSpPr>
          <p:nvPr/>
        </p:nvSpPr>
        <p:spPr bwMode="auto">
          <a:xfrm>
            <a:off x="3004897" y="4759751"/>
            <a:ext cx="89988" cy="89988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89988" tIns="46794" rIns="89988" bIns="4679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25" name="Oval 421"/>
          <p:cNvSpPr>
            <a:spLocks noChangeArrowheads="1"/>
          </p:cNvSpPr>
          <p:nvPr/>
        </p:nvSpPr>
        <p:spPr bwMode="auto">
          <a:xfrm>
            <a:off x="4611237" y="2342302"/>
            <a:ext cx="89988" cy="89988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89988" tIns="46794" rIns="89988" bIns="46794" anchor="ctr"/>
          <a:lstStyle>
            <a:lvl1pPr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28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altLang="en-US" sz="1800">
              <a:cs typeface="Arial" charset="0"/>
            </a:endParaRPr>
          </a:p>
        </p:txBody>
      </p:sp>
      <p:sp>
        <p:nvSpPr>
          <p:cNvPr id="426" name="Oval 397"/>
          <p:cNvSpPr>
            <a:spLocks noChangeArrowheads="1"/>
          </p:cNvSpPr>
          <p:nvPr/>
        </p:nvSpPr>
        <p:spPr bwMode="auto">
          <a:xfrm>
            <a:off x="5049330" y="3739120"/>
            <a:ext cx="107986" cy="107986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89988" tIns="46794" rIns="89988" bIns="46794" anchor="ctr"/>
          <a:lstStyle>
            <a:lvl1pPr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28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altLang="en-US" sz="1800">
              <a:cs typeface="Arial" charset="0"/>
            </a:endParaRPr>
          </a:p>
        </p:txBody>
      </p:sp>
      <p:sp>
        <p:nvSpPr>
          <p:cNvPr id="428" name="Oval 409"/>
          <p:cNvSpPr>
            <a:spLocks noChangeArrowheads="1"/>
          </p:cNvSpPr>
          <p:nvPr/>
        </p:nvSpPr>
        <p:spPr bwMode="auto">
          <a:xfrm>
            <a:off x="1477094" y="3175638"/>
            <a:ext cx="89988" cy="89988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89988" tIns="46794" rIns="89988" bIns="4679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29" name="Oval 409"/>
          <p:cNvSpPr>
            <a:spLocks noChangeArrowheads="1"/>
          </p:cNvSpPr>
          <p:nvPr/>
        </p:nvSpPr>
        <p:spPr bwMode="auto">
          <a:xfrm>
            <a:off x="1464697" y="3011393"/>
            <a:ext cx="89988" cy="89988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89988" tIns="46794" rIns="89988" bIns="4679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30" name="Oval 394"/>
          <p:cNvSpPr>
            <a:spLocks noChangeArrowheads="1"/>
          </p:cNvSpPr>
          <p:nvPr/>
        </p:nvSpPr>
        <p:spPr bwMode="auto">
          <a:xfrm>
            <a:off x="6881630" y="4903698"/>
            <a:ext cx="107986" cy="107986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89988" tIns="46794" rIns="89988" bIns="46794" anchor="ctr"/>
          <a:lstStyle>
            <a:lvl1pPr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28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altLang="en-US" sz="1800">
              <a:cs typeface="Arial" charset="0"/>
            </a:endParaRPr>
          </a:p>
        </p:txBody>
      </p:sp>
      <p:sp>
        <p:nvSpPr>
          <p:cNvPr id="431" name="Oval 394"/>
          <p:cNvSpPr>
            <a:spLocks noChangeArrowheads="1"/>
          </p:cNvSpPr>
          <p:nvPr/>
        </p:nvSpPr>
        <p:spPr bwMode="auto">
          <a:xfrm>
            <a:off x="5501885" y="3858625"/>
            <a:ext cx="107986" cy="107986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89988" tIns="46794" rIns="89988" bIns="46794" anchor="ctr"/>
          <a:lstStyle>
            <a:lvl1pPr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28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altLang="en-US" sz="1800">
              <a:cs typeface="Arial" charset="0"/>
            </a:endParaRPr>
          </a:p>
        </p:txBody>
      </p:sp>
      <p:sp>
        <p:nvSpPr>
          <p:cNvPr id="432" name="Oval 394"/>
          <p:cNvSpPr>
            <a:spLocks noChangeArrowheads="1"/>
          </p:cNvSpPr>
          <p:nvPr/>
        </p:nvSpPr>
        <p:spPr bwMode="auto">
          <a:xfrm>
            <a:off x="4533650" y="3043347"/>
            <a:ext cx="107986" cy="107986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89988" tIns="46794" rIns="89988" bIns="46794" anchor="ctr"/>
          <a:lstStyle>
            <a:lvl1pPr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28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altLang="en-US" sz="1800">
              <a:cs typeface="Arial" charset="0"/>
            </a:endParaRPr>
          </a:p>
        </p:txBody>
      </p:sp>
      <p:sp>
        <p:nvSpPr>
          <p:cNvPr id="433" name="Oval 394"/>
          <p:cNvSpPr>
            <a:spLocks noChangeArrowheads="1"/>
          </p:cNvSpPr>
          <p:nvPr/>
        </p:nvSpPr>
        <p:spPr bwMode="auto">
          <a:xfrm>
            <a:off x="1970265" y="3804154"/>
            <a:ext cx="107986" cy="107986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89988" tIns="46794" rIns="89988" bIns="46794" anchor="ctr"/>
          <a:lstStyle>
            <a:lvl1pPr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28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altLang="en-US" sz="1800">
              <a:cs typeface="Arial" charset="0"/>
            </a:endParaRPr>
          </a:p>
        </p:txBody>
      </p:sp>
      <p:sp>
        <p:nvSpPr>
          <p:cNvPr id="434" name="Oval 396"/>
          <p:cNvSpPr>
            <a:spLocks noChangeArrowheads="1"/>
          </p:cNvSpPr>
          <p:nvPr/>
        </p:nvSpPr>
        <p:spPr bwMode="auto">
          <a:xfrm>
            <a:off x="6333838" y="3583615"/>
            <a:ext cx="107986" cy="107986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89988" tIns="46794" rIns="89988" bIns="46794" anchor="ctr"/>
          <a:lstStyle>
            <a:lvl1pPr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28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altLang="en-US" sz="1800">
              <a:cs typeface="Arial" charset="0"/>
            </a:endParaRPr>
          </a:p>
        </p:txBody>
      </p:sp>
      <p:sp>
        <p:nvSpPr>
          <p:cNvPr id="435" name="Oval 394"/>
          <p:cNvSpPr>
            <a:spLocks noChangeArrowheads="1"/>
          </p:cNvSpPr>
          <p:nvPr/>
        </p:nvSpPr>
        <p:spPr bwMode="auto">
          <a:xfrm>
            <a:off x="7408775" y="5094747"/>
            <a:ext cx="107986" cy="107986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89988" tIns="46794" rIns="89988" bIns="46794" anchor="ctr"/>
          <a:lstStyle>
            <a:lvl1pPr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28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altLang="en-US" sz="1800">
              <a:cs typeface="Arial" charset="0"/>
            </a:endParaRPr>
          </a:p>
        </p:txBody>
      </p:sp>
      <p:cxnSp>
        <p:nvCxnSpPr>
          <p:cNvPr id="438" name="Gerade Verbindung 38"/>
          <p:cNvCxnSpPr/>
          <p:nvPr/>
        </p:nvCxnSpPr>
        <p:spPr bwMode="gray">
          <a:xfrm flipV="1">
            <a:off x="8314385" y="1624928"/>
            <a:ext cx="3265717" cy="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9" name="Textplatzhalter 7"/>
          <p:cNvSpPr txBox="1">
            <a:spLocks/>
          </p:cNvSpPr>
          <p:nvPr/>
        </p:nvSpPr>
        <p:spPr bwMode="gray">
          <a:xfrm>
            <a:off x="8104754" y="1089807"/>
            <a:ext cx="3761870" cy="566241"/>
          </a:xfrm>
          <a:prstGeom prst="rect">
            <a:avLst/>
          </a:prstGeom>
          <a:noFill/>
          <a:ln w="12700">
            <a:noFill/>
          </a:ln>
          <a:effectLst/>
        </p:spPr>
        <p:txBody>
          <a:bodyPr lIns="241169" tIns="133183" rIns="241169" anchor="ctr"/>
          <a:lstStyle>
            <a:lvl1pPr marL="0" indent="0" algn="ctr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spcBef>
                <a:spcPts val="600"/>
              </a:spcBef>
              <a:buSzPct val="70000"/>
              <a:buFont typeface="Wingdings" panose="05000000000000000000" pitchFamily="2" charset="2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spcBef>
                <a:spcPts val="600"/>
              </a:spcBef>
              <a:buSzPct val="70000"/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spcBef>
                <a:spcPts val="600"/>
              </a:spcBef>
              <a:buSzPct val="70000"/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spcBef>
                <a:spcPts val="600"/>
              </a:spcBef>
              <a:buSzPct val="70000"/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spcBef>
                <a:spcPts val="600"/>
              </a:spcBef>
              <a:buSzPct val="70000"/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spcBef>
                <a:spcPts val="600"/>
              </a:spcBef>
              <a:buSzPct val="70000"/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spcBef>
                <a:spcPts val="600"/>
              </a:spcBef>
              <a:buSzPct val="70000"/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spcBef>
                <a:spcPts val="600"/>
              </a:spcBef>
              <a:buSzPct val="70000"/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1600" b="1" dirty="0">
                <a:solidFill>
                  <a:srgbClr val="D90000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Our operations in numbers</a:t>
            </a:r>
          </a:p>
        </p:txBody>
      </p:sp>
      <p:sp>
        <p:nvSpPr>
          <p:cNvPr id="440" name="Textplatzhalter 7"/>
          <p:cNvSpPr txBox="1">
            <a:spLocks/>
          </p:cNvSpPr>
          <p:nvPr/>
        </p:nvSpPr>
        <p:spPr bwMode="gray">
          <a:xfrm>
            <a:off x="8104754" y="1647884"/>
            <a:ext cx="3639197" cy="885031"/>
          </a:xfrm>
          <a:prstGeom prst="rect">
            <a:avLst/>
          </a:prstGeom>
          <a:noFill/>
          <a:ln w="12700">
            <a:noFill/>
          </a:ln>
          <a:effectLst/>
        </p:spPr>
        <p:txBody>
          <a:bodyPr lIns="241169" tIns="71991" rIns="71991" bIns="71991"/>
          <a:lstStyle>
            <a:lvl1pPr mar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1pPr>
            <a:lvl2pPr marL="356400" indent="-172800" algn="l" defTabSz="914400" rtl="0" eaLnBrk="1" latinLnBrk="0" hangingPunct="1">
              <a:spcBef>
                <a:spcPts val="600"/>
              </a:spcBef>
              <a:buSzPct val="70000"/>
              <a:buFont typeface="Wingdings" panose="05000000000000000000" pitchFamily="2" charset="2"/>
              <a:buChar char="§"/>
              <a:defRPr sz="16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2pPr>
            <a:lvl3pPr marL="712800" indent="-172800" algn="l" defTabSz="914400" rtl="0" eaLnBrk="1" latinLnBrk="0" hangingPunct="1">
              <a:spcBef>
                <a:spcPts val="600"/>
              </a:spcBef>
              <a:buSzPct val="70000"/>
              <a:buFont typeface="Arial" panose="020B0604020202020204" pitchFamily="34" charset="0"/>
              <a:buChar char="‒"/>
              <a:defRPr sz="16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3pPr>
            <a:lvl4pPr marL="712800" indent="-172800" algn="l" defTabSz="914400" rtl="0" eaLnBrk="1" latinLnBrk="0" hangingPunct="1">
              <a:spcBef>
                <a:spcPts val="600"/>
              </a:spcBef>
              <a:buSzPct val="70000"/>
              <a:buFont typeface="Arial" panose="020B0604020202020204" pitchFamily="34" charset="0"/>
              <a:buChar char="‒"/>
              <a:defRPr sz="16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4pPr>
            <a:lvl5pPr marL="712800" indent="-172800" algn="l" defTabSz="914400" rtl="0" eaLnBrk="1" latinLnBrk="0" hangingPunct="1">
              <a:spcBef>
                <a:spcPts val="600"/>
              </a:spcBef>
              <a:buSzPct val="70000"/>
              <a:buFont typeface="Arial" panose="020B0604020202020204" pitchFamily="34" charset="0"/>
              <a:buChar char="‒"/>
              <a:defRPr sz="16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5pPr>
            <a:lvl6pPr marL="712800" indent="-172800" algn="l" defTabSz="914400" rtl="0" eaLnBrk="1" latinLnBrk="0" hangingPunct="1">
              <a:spcBef>
                <a:spcPts val="600"/>
              </a:spcBef>
              <a:buSzPct val="70000"/>
              <a:buFont typeface="Arial" panose="020B0604020202020204" pitchFamily="34" charset="0"/>
              <a:buChar char="‒"/>
              <a:defRPr sz="16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6pPr>
            <a:lvl7pPr marL="712800" indent="-172800" algn="l" defTabSz="914400" rtl="0" eaLnBrk="1" latinLnBrk="0" hangingPunct="1">
              <a:spcBef>
                <a:spcPts val="600"/>
              </a:spcBef>
              <a:buSzPct val="70000"/>
              <a:buFont typeface="Arial" panose="020B0604020202020204" pitchFamily="34" charset="0"/>
              <a:buChar char="‒"/>
              <a:defRPr sz="16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7pPr>
            <a:lvl8pPr marL="712800" indent="-172800" algn="l" defTabSz="914400" rtl="0" eaLnBrk="1" latinLnBrk="0" hangingPunct="1">
              <a:spcBef>
                <a:spcPts val="600"/>
              </a:spcBef>
              <a:buSzPct val="70000"/>
              <a:buFont typeface="Arial" panose="020B0604020202020204" pitchFamily="34" charset="0"/>
              <a:buChar char="‒"/>
              <a:defRPr sz="16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8pPr>
            <a:lvl9pPr marL="712800" indent="-172800" algn="l" defTabSz="914400" rtl="0" eaLnBrk="1" latinLnBrk="0" hangingPunct="1">
              <a:spcBef>
                <a:spcPts val="600"/>
              </a:spcBef>
              <a:buSzPct val="70000"/>
              <a:buFont typeface="Arial" panose="020B0604020202020204" pitchFamily="34" charset="0"/>
              <a:buChar char="‒"/>
              <a:defRPr sz="16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500" dirty="0">
                <a:solidFill>
                  <a:schemeClr val="accent1">
                    <a:lumMod val="75000"/>
                    <a:lumOff val="25000"/>
                  </a:schemeClr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We are in</a:t>
            </a:r>
            <a:r>
              <a:rPr lang="en-US" sz="1500" b="1" dirty="0">
                <a:solidFill>
                  <a:schemeClr val="accent1">
                    <a:lumMod val="75000"/>
                    <a:lumOff val="25000"/>
                  </a:schemeClr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 </a:t>
            </a:r>
            <a:r>
              <a:rPr lang="en-US" sz="1500" b="1" dirty="0">
                <a:solidFill>
                  <a:schemeClr val="tx2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26</a:t>
            </a:r>
            <a:r>
              <a:rPr lang="en-US" sz="1500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 countries, </a:t>
            </a:r>
            <a:r>
              <a:rPr lang="en-US" sz="1500" b="1" dirty="0">
                <a:solidFill>
                  <a:schemeClr val="tx2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40</a:t>
            </a:r>
            <a:r>
              <a:rPr lang="en-US" sz="1500" b="1" dirty="0">
                <a:solidFill>
                  <a:srgbClr val="FF0000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 </a:t>
            </a:r>
            <a:r>
              <a:rPr lang="en-US" sz="1500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locations.</a:t>
            </a:r>
          </a:p>
          <a:p>
            <a:r>
              <a:rPr lang="en-US" sz="1500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Were are over </a:t>
            </a:r>
            <a:r>
              <a:rPr lang="en-US" sz="1500" b="1" dirty="0">
                <a:solidFill>
                  <a:srgbClr val="D90000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1,800</a:t>
            </a:r>
            <a:r>
              <a:rPr lang="en-US" sz="1500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 professionals serving over </a:t>
            </a:r>
            <a:r>
              <a:rPr lang="en-US" sz="1500" b="1" dirty="0">
                <a:solidFill>
                  <a:srgbClr val="D90000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3,500</a:t>
            </a:r>
            <a:r>
              <a:rPr lang="en-US" sz="1500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 customers.</a:t>
            </a:r>
          </a:p>
          <a:p>
            <a:r>
              <a:rPr lang="en-US" sz="1500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Average over </a:t>
            </a:r>
            <a:r>
              <a:rPr lang="en-US" sz="1500" b="1" dirty="0">
                <a:solidFill>
                  <a:schemeClr val="tx2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$1B </a:t>
            </a:r>
            <a:r>
              <a:rPr lang="en-US" sz="1500" dirty="0"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in Marine electrical &amp; propulsions projects </a:t>
            </a:r>
            <a:r>
              <a:rPr lang="en-US" sz="1500" b="1" dirty="0">
                <a:solidFill>
                  <a:schemeClr val="tx2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annually</a:t>
            </a:r>
            <a:r>
              <a:rPr lang="en-US" sz="1500" dirty="0">
                <a:solidFill>
                  <a:schemeClr val="tx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.</a:t>
            </a:r>
          </a:p>
          <a:p>
            <a:r>
              <a:rPr lang="en-US" sz="1500" dirty="0">
                <a:solidFill>
                  <a:schemeClr val="accent2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Trusted to develop some of the worlds largest electrical propulsion systems (</a:t>
            </a:r>
            <a:r>
              <a:rPr lang="en-US" sz="1500" dirty="0">
                <a:solidFill>
                  <a:schemeClr val="tx2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&gt;</a:t>
            </a:r>
            <a:r>
              <a:rPr lang="en-US" sz="1500" b="1" dirty="0">
                <a:solidFill>
                  <a:schemeClr val="tx2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24MW</a:t>
            </a:r>
            <a:r>
              <a:rPr lang="en-US" sz="1500" dirty="0">
                <a:solidFill>
                  <a:schemeClr val="accent2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)</a:t>
            </a:r>
            <a:r>
              <a:rPr lang="en-US" sz="1500" dirty="0">
                <a:solidFill>
                  <a:schemeClr val="tx1"/>
                </a:solidFill>
                <a:latin typeface="ABBvoice" panose="020D0603020503020204" pitchFamily="34" charset="0"/>
                <a:ea typeface="ABBvoice" panose="020D0603020503020204" pitchFamily="34" charset="0"/>
                <a:cs typeface="ABBvoice" panose="020D0603020503020204" pitchFamily="34" charset="0"/>
              </a:rPr>
              <a:t>.</a:t>
            </a:r>
          </a:p>
          <a:p>
            <a:endParaRPr lang="en-US" sz="1500" dirty="0"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</a:endParaRPr>
          </a:p>
        </p:txBody>
      </p:sp>
      <p:sp>
        <p:nvSpPr>
          <p:cNvPr id="441" name="Oval 408"/>
          <p:cNvSpPr>
            <a:spLocks noChangeArrowheads="1"/>
          </p:cNvSpPr>
          <p:nvPr/>
        </p:nvSpPr>
        <p:spPr bwMode="auto">
          <a:xfrm>
            <a:off x="2221760" y="3431649"/>
            <a:ext cx="89988" cy="89988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89988" tIns="46794" rIns="89988" bIns="4679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42" name="Oval 408"/>
          <p:cNvSpPr>
            <a:spLocks noChangeArrowheads="1"/>
          </p:cNvSpPr>
          <p:nvPr/>
        </p:nvSpPr>
        <p:spPr bwMode="auto">
          <a:xfrm>
            <a:off x="2465217" y="3843881"/>
            <a:ext cx="89988" cy="89988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89988" tIns="46794" rIns="89988" bIns="4679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43" name="Oval 408"/>
          <p:cNvSpPr>
            <a:spLocks noChangeArrowheads="1"/>
          </p:cNvSpPr>
          <p:nvPr/>
        </p:nvSpPr>
        <p:spPr bwMode="auto">
          <a:xfrm>
            <a:off x="2372923" y="3545440"/>
            <a:ext cx="89988" cy="89988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89988" tIns="46794" rIns="89988" bIns="4679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44" name="Oval 408"/>
          <p:cNvSpPr>
            <a:spLocks noChangeArrowheads="1"/>
          </p:cNvSpPr>
          <p:nvPr/>
        </p:nvSpPr>
        <p:spPr bwMode="auto">
          <a:xfrm>
            <a:off x="2052977" y="3607700"/>
            <a:ext cx="103600" cy="81824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89988" tIns="46794" rIns="89988" bIns="4679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36" name="Oval 394"/>
          <p:cNvSpPr>
            <a:spLocks noChangeArrowheads="1"/>
          </p:cNvSpPr>
          <p:nvPr/>
        </p:nvSpPr>
        <p:spPr bwMode="auto">
          <a:xfrm>
            <a:off x="2177230" y="3942888"/>
            <a:ext cx="107986" cy="107986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89988" tIns="46794" rIns="89988" bIns="46794" anchor="ctr"/>
          <a:lstStyle>
            <a:lvl1pPr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28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altLang="en-US" sz="1800">
              <a:cs typeface="Arial" charset="0"/>
            </a:endParaRPr>
          </a:p>
        </p:txBody>
      </p:sp>
      <p:sp>
        <p:nvSpPr>
          <p:cNvPr id="437" name="Oval 394"/>
          <p:cNvSpPr>
            <a:spLocks noChangeArrowheads="1"/>
          </p:cNvSpPr>
          <p:nvPr/>
        </p:nvSpPr>
        <p:spPr bwMode="auto">
          <a:xfrm>
            <a:off x="2381924" y="4133935"/>
            <a:ext cx="107986" cy="107986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89988" tIns="46794" rIns="89988" bIns="46794" anchor="ctr"/>
          <a:lstStyle>
            <a:lvl1pPr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28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6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spcBef>
                <a:spcPct val="5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1400">
                <a:solidFill>
                  <a:srgbClr val="000000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altLang="en-US" sz="1800">
              <a:cs typeface="Arial" charset="0"/>
            </a:endParaRPr>
          </a:p>
        </p:txBody>
      </p:sp>
      <p:sp>
        <p:nvSpPr>
          <p:cNvPr id="446" name="Oval 416"/>
          <p:cNvSpPr>
            <a:spLocks noChangeArrowheads="1"/>
          </p:cNvSpPr>
          <p:nvPr/>
        </p:nvSpPr>
        <p:spPr bwMode="auto">
          <a:xfrm>
            <a:off x="7181643" y="2962003"/>
            <a:ext cx="89988" cy="89988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89988" tIns="46794" rIns="89988" bIns="4679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47" name="Oval 409"/>
          <p:cNvSpPr>
            <a:spLocks noChangeArrowheads="1"/>
          </p:cNvSpPr>
          <p:nvPr/>
        </p:nvSpPr>
        <p:spPr bwMode="auto">
          <a:xfrm>
            <a:off x="1588780" y="3520623"/>
            <a:ext cx="89988" cy="89988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89988" tIns="46794" rIns="89988" bIns="4679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49" name="Oval 409"/>
          <p:cNvSpPr>
            <a:spLocks noChangeArrowheads="1"/>
          </p:cNvSpPr>
          <p:nvPr/>
        </p:nvSpPr>
        <p:spPr bwMode="auto">
          <a:xfrm>
            <a:off x="3906479" y="3027985"/>
            <a:ext cx="89988" cy="89988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89988" tIns="46794" rIns="89988" bIns="4679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50" name="Oval 407"/>
          <p:cNvSpPr>
            <a:spLocks noChangeArrowheads="1"/>
          </p:cNvSpPr>
          <p:nvPr/>
        </p:nvSpPr>
        <p:spPr bwMode="auto">
          <a:xfrm>
            <a:off x="4453448" y="2685495"/>
            <a:ext cx="89988" cy="89988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89988" tIns="46794" rIns="89988" bIns="4679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51" name="Oval 407"/>
          <p:cNvSpPr>
            <a:spLocks noChangeArrowheads="1"/>
          </p:cNvSpPr>
          <p:nvPr/>
        </p:nvSpPr>
        <p:spPr bwMode="auto">
          <a:xfrm>
            <a:off x="4385865" y="2677464"/>
            <a:ext cx="89988" cy="89988"/>
          </a:xfrm>
          <a:prstGeom prst="ellipse">
            <a:avLst/>
          </a:prstGeom>
          <a:solidFill>
            <a:schemeClr val="tx2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89988" tIns="46794" rIns="89988" bIns="46794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5022E90-85C7-4704-B1B8-18BDDDF777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61088" y="3984328"/>
            <a:ext cx="3752869" cy="2046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7744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/>
              <a:t>From design to operational optimization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mplete provider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0F7C878-2F48-47C1-A60E-F6C764D931DE}" type="datetime4">
              <a:rPr lang="en-US" smtClean="0"/>
              <a:t>November 6, 2020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17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9400" y="1830161"/>
            <a:ext cx="11634030" cy="3300038"/>
          </a:xfrm>
          <a:prstGeom prst="rect">
            <a:avLst/>
          </a:prstGeom>
        </p:spPr>
      </p:pic>
      <p:sp>
        <p:nvSpPr>
          <p:cNvPr id="10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440941" y="6207919"/>
            <a:ext cx="8599905" cy="590550"/>
          </a:xfrm>
        </p:spPr>
        <p:txBody>
          <a:bodyPr/>
          <a:lstStyle/>
          <a:p>
            <a:pPr algn="ctr"/>
            <a:r>
              <a:rPr lang="en-US" dirty="0"/>
              <a:t>MARAD 08-03-2018</a:t>
            </a:r>
          </a:p>
        </p:txBody>
      </p:sp>
    </p:spTree>
    <p:extLst>
      <p:ext uri="{BB962C8B-B14F-4D97-AF65-F5344CB8AC3E}">
        <p14:creationId xmlns:p14="http://schemas.microsoft.com/office/powerpoint/2010/main" val="21574541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Placeholder 25" descr="A picture containing indoor, sitting, table, white&#10;&#10;Description automatically generated">
            <a:extLst>
              <a:ext uri="{FF2B5EF4-FFF2-40B4-BE49-F238E27FC236}">
                <a16:creationId xmlns:a16="http://schemas.microsoft.com/office/drawing/2014/main" id="{22F5764F-E892-204F-A221-093C85FF6CEF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07DA582-D9AE-2848-BF49-9B4B348B769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22137" y="2877077"/>
            <a:ext cx="2966427" cy="465451"/>
          </a:xfrm>
        </p:spPr>
        <p:txBody>
          <a:bodyPr/>
          <a:lstStyle/>
          <a:p>
            <a:r>
              <a:rPr lang="en-US"/>
              <a:t>Next Generation Awareness &amp; Maneuvering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D1552EF-DCF6-324F-8722-B2CE8865C5B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US"/>
              <a:t>ABB Ability</a:t>
            </a:r>
            <a:r>
              <a:rPr lang="en-US" baseline="30000"/>
              <a:t>TM</a:t>
            </a:r>
            <a:r>
              <a:rPr lang="en-US"/>
              <a:t> Marine Pilot Family</a:t>
            </a:r>
          </a:p>
        </p:txBody>
      </p:sp>
      <p:pic>
        <p:nvPicPr>
          <p:cNvPr id="28" name="Picture Placeholder 27">
            <a:extLst>
              <a:ext uri="{FF2B5EF4-FFF2-40B4-BE49-F238E27FC236}">
                <a16:creationId xmlns:a16="http://schemas.microsoft.com/office/drawing/2014/main" id="{C713BE72-DABD-0647-9B4A-2DAFAC7BB962}"/>
              </a:ext>
            </a:extLst>
          </p:cNvPr>
          <p:cNvPicPr>
            <a:picLocks noGrp="1" noChangeAspect="1"/>
          </p:cNvPicPr>
          <p:nvPr>
            <p:ph type="pic" sz="quarter" idx="35"/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1CC302D-3373-654B-BF38-1C1479E0BAC1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4482953" y="2996461"/>
            <a:ext cx="2966427" cy="234649"/>
          </a:xfrm>
        </p:spPr>
        <p:txBody>
          <a:bodyPr/>
          <a:lstStyle/>
          <a:p>
            <a:r>
              <a:rPr lang="en-US"/>
              <a:t>Precision &amp; Reliability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6F1819E-F5C7-BC48-98CC-919456AE6461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en-US"/>
              <a:t>Sub system control and monitoring</a:t>
            </a:r>
          </a:p>
        </p:txBody>
      </p:sp>
      <p:pic>
        <p:nvPicPr>
          <p:cNvPr id="30" name="Picture Placeholder 29" descr="A black sign with white text&#10;&#10;Description automatically generated">
            <a:extLst>
              <a:ext uri="{FF2B5EF4-FFF2-40B4-BE49-F238E27FC236}">
                <a16:creationId xmlns:a16="http://schemas.microsoft.com/office/drawing/2014/main" id="{6A05D79D-19F5-6A46-86F5-FF600163E1D4}"/>
              </a:ext>
            </a:extLst>
          </p:cNvPr>
          <p:cNvPicPr>
            <a:picLocks noGrp="1" noChangeAspect="1"/>
          </p:cNvPicPr>
          <p:nvPr>
            <p:ph type="pic" sz="quarter" idx="38"/>
          </p:nvPr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18E5CD6-E18B-4847-BFCB-7E24278F455C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443774" y="3006948"/>
            <a:ext cx="2966427" cy="234649"/>
          </a:xfrm>
        </p:spPr>
        <p:txBody>
          <a:bodyPr/>
          <a:lstStyle/>
          <a:p>
            <a:r>
              <a:rPr lang="en-US"/>
              <a:t>The Power of Integratio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48C0B98-2D69-474A-8CDC-59CBA9986F0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r>
              <a:rPr lang="en-US"/>
              <a:t>Single view for all systems &amp; equipment</a:t>
            </a:r>
          </a:p>
        </p:txBody>
      </p:sp>
      <p:pic>
        <p:nvPicPr>
          <p:cNvPr id="32" name="Picture Placeholder 31" descr="A screen shot of a monitor&#10;&#10;Description automatically generated">
            <a:extLst>
              <a:ext uri="{FF2B5EF4-FFF2-40B4-BE49-F238E27FC236}">
                <a16:creationId xmlns:a16="http://schemas.microsoft.com/office/drawing/2014/main" id="{D72B72C7-BFF5-824F-A9A8-69D96159D9AB}"/>
              </a:ext>
            </a:extLst>
          </p:cNvPr>
          <p:cNvPicPr>
            <a:picLocks noGrp="1" noChangeAspect="1"/>
          </p:cNvPicPr>
          <p:nvPr>
            <p:ph type="pic" sz="quarter" idx="41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7DC9152D-9A39-0841-8143-2846E66C2EB5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525312" y="5457540"/>
            <a:ext cx="2966427" cy="234649"/>
          </a:xfrm>
        </p:spPr>
        <p:txBody>
          <a:bodyPr/>
          <a:lstStyle/>
          <a:p>
            <a:r>
              <a:rPr lang="en-US"/>
              <a:t>Real Time Vessel Advic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E38BF74F-407B-CA4F-A133-79FA4DEA187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US"/>
              <a:t>Advisory</a:t>
            </a:r>
          </a:p>
        </p:txBody>
      </p:sp>
      <p:pic>
        <p:nvPicPr>
          <p:cNvPr id="34" name="Picture Placeholder 33" descr="A small boat in a body of water&#10;&#10;Description automatically generated">
            <a:extLst>
              <a:ext uri="{FF2B5EF4-FFF2-40B4-BE49-F238E27FC236}">
                <a16:creationId xmlns:a16="http://schemas.microsoft.com/office/drawing/2014/main" id="{91B2AF8F-16E4-1041-913C-04C8B8517D29}"/>
              </a:ext>
            </a:extLst>
          </p:cNvPr>
          <p:cNvPicPr>
            <a:picLocks noGrp="1" noChangeAspect="1"/>
          </p:cNvPicPr>
          <p:nvPr>
            <p:ph type="pic" sz="quarter" idx="44"/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0D2111F1-F2A2-B54C-A6F9-B104A4362111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4486128" y="5447050"/>
            <a:ext cx="2966427" cy="234649"/>
          </a:xfrm>
        </p:spPr>
        <p:txBody>
          <a:bodyPr/>
          <a:lstStyle/>
          <a:p>
            <a:r>
              <a:rPr lang="en-US"/>
              <a:t>24/7 Service &amp; Support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C7DBA447-1CD3-F143-854F-2A186B06E3DF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/>
        <p:txBody>
          <a:bodyPr/>
          <a:lstStyle/>
          <a:p>
            <a:r>
              <a:rPr lang="en-US"/>
              <a:t>Smart Asset Management and Security</a:t>
            </a:r>
          </a:p>
        </p:txBody>
      </p:sp>
      <p:pic>
        <p:nvPicPr>
          <p:cNvPr id="36" name="Picture Placeholder 35">
            <a:extLst>
              <a:ext uri="{FF2B5EF4-FFF2-40B4-BE49-F238E27FC236}">
                <a16:creationId xmlns:a16="http://schemas.microsoft.com/office/drawing/2014/main" id="{7E2CBC1D-F1F8-E34B-A23B-CB04793F71EE}"/>
              </a:ext>
            </a:extLst>
          </p:cNvPr>
          <p:cNvPicPr>
            <a:picLocks noGrp="1" noChangeAspect="1"/>
          </p:cNvPicPr>
          <p:nvPr>
            <p:ph type="pic" sz="quarter" idx="47"/>
          </p:nvPr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7A5059BA-3B5B-8442-98F2-012F2B11C1BE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8446948" y="5457538"/>
            <a:ext cx="2966427" cy="234649"/>
          </a:xfrm>
        </p:spPr>
        <p:txBody>
          <a:bodyPr/>
          <a:lstStyle/>
          <a:p>
            <a:r>
              <a:rPr lang="en-US"/>
              <a:t>Digital Journey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B0A3DD3A-94F7-9843-9462-43425603297F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/>
        <p:txBody>
          <a:bodyPr/>
          <a:lstStyle/>
          <a:p>
            <a:r>
              <a:rPr lang="en-US"/>
              <a:t>Transforming &amp; empowering operations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1D4737E3-0DF1-7E47-B090-18A6590E6929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C7DC414-1294-E246-9BD9-1B76ABEA25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BB Marine Digital Portfoli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194D90-CDF1-6442-A804-BBEB542B1AD9}"/>
              </a:ext>
            </a:extLst>
          </p:cNvPr>
          <p:cNvSpPr>
            <a:spLocks noGrp="1"/>
          </p:cNvSpPr>
          <p:nvPr>
            <p:ph type="dt" sz="half" idx="50"/>
          </p:nvPr>
        </p:nvSpPr>
        <p:spPr/>
        <p:txBody>
          <a:bodyPr/>
          <a:lstStyle/>
          <a:p>
            <a:fld id="{FFAB2352-921F-4DD8-A99A-A1474F6943FF}" type="datetime4">
              <a:rPr lang="en-US" smtClean="0"/>
              <a:t>November 6, 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07549CA-EFAF-DC4B-AC37-FC2A13F86651}"/>
              </a:ext>
            </a:extLst>
          </p:cNvPr>
          <p:cNvSpPr>
            <a:spLocks noGrp="1"/>
          </p:cNvSpPr>
          <p:nvPr>
            <p:ph type="ftr" sz="quarter" idx="51"/>
          </p:nvPr>
        </p:nvSpPr>
        <p:spPr/>
        <p:txBody>
          <a:bodyPr/>
          <a:lstStyle/>
          <a:p>
            <a:pPr lvl="8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7CAAC7-DC2C-E144-AC23-C7785A07C822}"/>
              </a:ext>
            </a:extLst>
          </p:cNvPr>
          <p:cNvSpPr>
            <a:spLocks noGrp="1"/>
          </p:cNvSpPr>
          <p:nvPr>
            <p:ph type="sldNum" sz="quarter" idx="52"/>
          </p:nvPr>
        </p:nvSpPr>
        <p:spPr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42518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154AAD2-0FA1-40C3-BDB9-1741228A7DD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70479A72-920A-415B-8469-E7772A79C549}" type="datetime4">
              <a:rPr lang="en-US" smtClean="0"/>
              <a:t>November 6, 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AC3271-A931-471E-A9DC-A2357A91E9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956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C5AA860-A0E0-428C-82E2-B5465490BA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D0A4D31-2D93-4C6C-930E-205B4533ACA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04723B6-2C37-4C03-92C2-AA6C4A469955}" type="datetime4">
              <a:rPr lang="en-US" smtClean="0"/>
              <a:t>November 6, 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62BB69-5596-4787-A2AB-29CE7517955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2E3B60-DD54-4E96-BF60-BF7D62DCA6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2E0701D-D219-4F61-8B6C-FE2A87EEC51E}"/>
              </a:ext>
            </a:extLst>
          </p:cNvPr>
          <p:cNvSpPr/>
          <p:nvPr/>
        </p:nvSpPr>
        <p:spPr>
          <a:xfrm>
            <a:off x="7292629" y="1720219"/>
            <a:ext cx="4119145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/>
              <a:t>ABB Marine &amp; Ports</a:t>
            </a:r>
          </a:p>
          <a:p>
            <a:endParaRPr lang="en-US" sz="2000" b="1" dirty="0"/>
          </a:p>
          <a:p>
            <a:r>
              <a:rPr lang="en-US" sz="2000" dirty="0"/>
              <a:t>Ed Schwarz</a:t>
            </a:r>
          </a:p>
          <a:p>
            <a:r>
              <a:rPr lang="en-US" sz="2000" dirty="0"/>
              <a:t>Vice President of New Builds</a:t>
            </a:r>
          </a:p>
          <a:p>
            <a:endParaRPr lang="en-US" sz="20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528CAED-595A-4B44-901E-D93EE88F833E}"/>
              </a:ext>
            </a:extLst>
          </p:cNvPr>
          <p:cNvSpPr/>
          <p:nvPr/>
        </p:nvSpPr>
        <p:spPr>
          <a:xfrm>
            <a:off x="683020" y="1674159"/>
            <a:ext cx="411914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/>
              <a:t>ABB Marine &amp; Ports</a:t>
            </a:r>
          </a:p>
          <a:p>
            <a:endParaRPr lang="en-US" sz="20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1657D76-E74A-4D08-885C-37B68C339FF6}"/>
              </a:ext>
            </a:extLst>
          </p:cNvPr>
          <p:cNvSpPr/>
          <p:nvPr/>
        </p:nvSpPr>
        <p:spPr>
          <a:xfrm>
            <a:off x="640348" y="2326253"/>
            <a:ext cx="530325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/>
              <a:t>At the forefront of driving the evolution of sustainable shipping.</a:t>
            </a:r>
          </a:p>
        </p:txBody>
      </p:sp>
      <p:pic>
        <p:nvPicPr>
          <p:cNvPr id="13" name="Picture 12" descr="A person standing next to a forest&#10;&#10;Description automatically generated">
            <a:extLst>
              <a:ext uri="{FF2B5EF4-FFF2-40B4-BE49-F238E27FC236}">
                <a16:creationId xmlns:a16="http://schemas.microsoft.com/office/drawing/2014/main" id="{A8727473-1B7C-4CD4-8154-F29D749870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69413" y="3302461"/>
            <a:ext cx="2887691" cy="229237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6F4896A-CB2D-4F61-9A8E-7143B9292BD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5208" y="3660324"/>
            <a:ext cx="4030802" cy="1576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5474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Exponential changes are expected in near team fu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lobal megatrends transforming shipping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04723B6-2C37-4C03-92C2-AA6C4A469955}" type="datetime4">
              <a:rPr lang="en-US" smtClean="0"/>
              <a:t>November 6, 2020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3</a:t>
            </a:fld>
            <a:endParaRPr lang="en-US" dirty="0"/>
          </a:p>
        </p:txBody>
      </p:sp>
      <p:cxnSp>
        <p:nvCxnSpPr>
          <p:cNvPr id="22" name="Straight Connector 10"/>
          <p:cNvCxnSpPr/>
          <p:nvPr/>
        </p:nvCxnSpPr>
        <p:spPr bwMode="gray">
          <a:xfrm>
            <a:off x="279400" y="2186113"/>
            <a:ext cx="367347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3" name="Straight Connector 27"/>
          <p:cNvCxnSpPr/>
          <p:nvPr/>
        </p:nvCxnSpPr>
        <p:spPr bwMode="gray">
          <a:xfrm>
            <a:off x="4256080" y="2186113"/>
            <a:ext cx="367347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4" name="Straight Connector 28"/>
          <p:cNvCxnSpPr/>
          <p:nvPr/>
        </p:nvCxnSpPr>
        <p:spPr bwMode="gray">
          <a:xfrm>
            <a:off x="8232759" y="2186113"/>
            <a:ext cx="367347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5" name="Text Placeholder 7"/>
          <p:cNvSpPr txBox="1">
            <a:spLocks/>
          </p:cNvSpPr>
          <p:nvPr/>
        </p:nvSpPr>
        <p:spPr bwMode="gray">
          <a:xfrm>
            <a:off x="279400" y="1816571"/>
            <a:ext cx="3673475" cy="379065"/>
          </a:xfrm>
          <a:prstGeom prst="rect">
            <a:avLst/>
          </a:prstGeom>
        </p:spPr>
        <p:txBody>
          <a:bodyPr vert="horz" lIns="72000" tIns="72000" rIns="72000" bIns="72000" rtlCol="0" anchor="b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ABBvoiceOffice" panose="020D0603020503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dirty="0"/>
              <a:t>Digitalization</a:t>
            </a:r>
          </a:p>
        </p:txBody>
      </p:sp>
      <p:sp>
        <p:nvSpPr>
          <p:cNvPr id="26" name="Text Placeholder 7"/>
          <p:cNvSpPr txBox="1">
            <a:spLocks/>
          </p:cNvSpPr>
          <p:nvPr/>
        </p:nvSpPr>
        <p:spPr bwMode="gray">
          <a:xfrm>
            <a:off x="4256079" y="1816571"/>
            <a:ext cx="3673475" cy="379065"/>
          </a:xfrm>
          <a:prstGeom prst="rect">
            <a:avLst/>
          </a:prstGeom>
        </p:spPr>
        <p:txBody>
          <a:bodyPr vert="horz" lIns="72000" tIns="72000" rIns="72000" bIns="72000" rtlCol="0" anchor="b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ABBvoiceOffice" panose="020D0603020503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dirty="0"/>
              <a:t>Urbanization</a:t>
            </a:r>
          </a:p>
        </p:txBody>
      </p:sp>
      <p:sp>
        <p:nvSpPr>
          <p:cNvPr id="27" name="Text Placeholder 7"/>
          <p:cNvSpPr txBox="1">
            <a:spLocks/>
          </p:cNvSpPr>
          <p:nvPr/>
        </p:nvSpPr>
        <p:spPr bwMode="gray">
          <a:xfrm>
            <a:off x="8232759" y="1816571"/>
            <a:ext cx="3673475" cy="379065"/>
          </a:xfrm>
          <a:prstGeom prst="rect">
            <a:avLst/>
          </a:prstGeom>
        </p:spPr>
        <p:txBody>
          <a:bodyPr vert="horz" lIns="72000" tIns="72000" rIns="72000" bIns="72000" rtlCol="0" anchor="b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ABBvoiceOffice" panose="020D0603020503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dirty="0"/>
              <a:t>Carbon Free Resources</a:t>
            </a:r>
          </a:p>
        </p:txBody>
      </p:sp>
      <p:cxnSp>
        <p:nvCxnSpPr>
          <p:cNvPr id="31" name="Straight Connector 10"/>
          <p:cNvCxnSpPr/>
          <p:nvPr/>
        </p:nvCxnSpPr>
        <p:spPr bwMode="gray">
          <a:xfrm>
            <a:off x="279400" y="4271387"/>
            <a:ext cx="367347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" name="Straight Connector 27"/>
          <p:cNvCxnSpPr/>
          <p:nvPr/>
        </p:nvCxnSpPr>
        <p:spPr bwMode="gray">
          <a:xfrm>
            <a:off x="4256080" y="4271387"/>
            <a:ext cx="367347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3" name="Straight Connector 28"/>
          <p:cNvCxnSpPr/>
          <p:nvPr/>
        </p:nvCxnSpPr>
        <p:spPr bwMode="gray">
          <a:xfrm>
            <a:off x="8232759" y="4271387"/>
            <a:ext cx="367347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34" name="Text Placeholder 7"/>
          <p:cNvSpPr txBox="1">
            <a:spLocks/>
          </p:cNvSpPr>
          <p:nvPr/>
        </p:nvSpPr>
        <p:spPr bwMode="gray">
          <a:xfrm>
            <a:off x="279400" y="3901845"/>
            <a:ext cx="3673475" cy="379065"/>
          </a:xfrm>
          <a:prstGeom prst="rect">
            <a:avLst/>
          </a:prstGeom>
        </p:spPr>
        <p:txBody>
          <a:bodyPr vert="horz" lIns="72000" tIns="72000" rIns="72000" bIns="72000" rtlCol="0" anchor="b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ABBvoiceOffice" panose="020D0603020503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/>
              <a:t>Automation and Robotics</a:t>
            </a:r>
            <a:endParaRPr lang="en-US" dirty="0"/>
          </a:p>
        </p:txBody>
      </p:sp>
      <p:sp>
        <p:nvSpPr>
          <p:cNvPr id="35" name="Text Placeholder 7"/>
          <p:cNvSpPr txBox="1">
            <a:spLocks/>
          </p:cNvSpPr>
          <p:nvPr/>
        </p:nvSpPr>
        <p:spPr bwMode="gray">
          <a:xfrm>
            <a:off x="4256079" y="3901845"/>
            <a:ext cx="3673475" cy="379065"/>
          </a:xfrm>
          <a:prstGeom prst="rect">
            <a:avLst/>
          </a:prstGeom>
        </p:spPr>
        <p:txBody>
          <a:bodyPr vert="horz" lIns="72000" tIns="72000" rIns="72000" bIns="72000" rtlCol="0" anchor="b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ABBvoiceOffice" panose="020D0603020503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/>
              <a:t>Global Economic Shift</a:t>
            </a:r>
            <a:endParaRPr lang="en-US" dirty="0"/>
          </a:p>
        </p:txBody>
      </p:sp>
      <p:sp>
        <p:nvSpPr>
          <p:cNvPr id="36" name="Text Placeholder 7"/>
          <p:cNvSpPr txBox="1">
            <a:spLocks/>
          </p:cNvSpPr>
          <p:nvPr/>
        </p:nvSpPr>
        <p:spPr bwMode="gray">
          <a:xfrm>
            <a:off x="8232759" y="3901845"/>
            <a:ext cx="3673475" cy="379065"/>
          </a:xfrm>
          <a:prstGeom prst="rect">
            <a:avLst/>
          </a:prstGeom>
        </p:spPr>
        <p:txBody>
          <a:bodyPr vert="horz" lIns="72000" tIns="72000" rIns="72000" bIns="72000" rtlCol="0" anchor="b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ABBvoiceOffice" panose="020D0603020503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US" dirty="0"/>
              <a:t>Environment</a:t>
            </a:r>
          </a:p>
        </p:txBody>
      </p:sp>
      <p:pic>
        <p:nvPicPr>
          <p:cNvPr id="37" name="Picture 2"/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136" b="28701"/>
          <a:stretch/>
        </p:blipFill>
        <p:spPr bwMode="auto">
          <a:xfrm>
            <a:off x="279400" y="2322575"/>
            <a:ext cx="3679068" cy="1481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3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" t="35203" r="-249" b="8475"/>
          <a:stretch/>
        </p:blipFill>
        <p:spPr bwMode="auto">
          <a:xfrm>
            <a:off x="4251280" y="2322575"/>
            <a:ext cx="3668677" cy="148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4"/>
          <p:cNvPicPr>
            <a:picLocks noChangeAspect="1" noChangeArrowheads="1"/>
          </p:cNvPicPr>
          <p:nvPr/>
        </p:nvPicPr>
        <p:blipFill rotWithShape="1"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251" b="23073"/>
          <a:stretch/>
        </p:blipFill>
        <p:spPr bwMode="auto">
          <a:xfrm>
            <a:off x="8212769" y="2336459"/>
            <a:ext cx="3693465" cy="1472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Picture 5"/>
          <p:cNvPicPr>
            <a:picLocks noChangeAspect="1" noChangeArrowheads="1"/>
          </p:cNvPicPr>
          <p:nvPr/>
        </p:nvPicPr>
        <p:blipFill rotWithShape="1"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149" b="23615"/>
          <a:stretch/>
        </p:blipFill>
        <p:spPr bwMode="auto">
          <a:xfrm>
            <a:off x="8232759" y="4452980"/>
            <a:ext cx="3684660" cy="1435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Picture 9"/>
          <p:cNvPicPr>
            <a:picLocks noChangeAspect="1" noChangeArrowheads="1"/>
          </p:cNvPicPr>
          <p:nvPr/>
        </p:nvPicPr>
        <p:blipFill rotWithShape="1"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938" b="30689"/>
          <a:stretch/>
        </p:blipFill>
        <p:spPr bwMode="auto">
          <a:xfrm>
            <a:off x="4260084" y="4452980"/>
            <a:ext cx="3669471" cy="14447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" name="Picture 11"/>
          <p:cNvPicPr>
            <a:picLocks noChangeAspect="1" noChangeArrowheads="1"/>
          </p:cNvPicPr>
          <p:nvPr/>
        </p:nvPicPr>
        <p:blipFill rotWithShape="1"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444" r="1955" b="15443"/>
          <a:stretch/>
        </p:blipFill>
        <p:spPr bwMode="auto">
          <a:xfrm>
            <a:off x="284151" y="4446827"/>
            <a:ext cx="3674317" cy="1481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86630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48C92559-F808-4C96-AC4F-905C3BE1A71D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CDC9744-C20F-40CD-8F7B-16D8EBC34D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FFEB1A-90DA-40AE-AFB7-1D8D678E4BD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04723B6-2C37-4C03-92C2-AA6C4A469955}" type="datetime4">
              <a:rPr lang="en-US" smtClean="0"/>
              <a:t>November 6, 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BE940F-C210-4CC5-90DB-E97CF22E1B1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D55D00-541E-424B-BCDC-0982962EC45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2A56912-D22B-411F-BA4E-6CA499F079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280" y="637075"/>
            <a:ext cx="11787851" cy="5504452"/>
          </a:xfrm>
          <a:prstGeom prst="rect">
            <a:avLst/>
          </a:prstGeom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B0F8A16-5DA0-4456-85E9-87E574EE6604}"/>
              </a:ext>
            </a:extLst>
          </p:cNvPr>
          <p:cNvSpPr/>
          <p:nvPr/>
        </p:nvSpPr>
        <p:spPr bwMode="gray">
          <a:xfrm>
            <a:off x="5166804" y="4208016"/>
            <a:ext cx="1287262" cy="914400"/>
          </a:xfrm>
          <a:prstGeom prst="roundRect">
            <a:avLst/>
          </a:prstGeom>
          <a:noFill/>
          <a:ln w="381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sz="1400" dirty="0" err="1"/>
          </a:p>
        </p:txBody>
      </p:sp>
    </p:spTree>
    <p:extLst>
      <p:ext uri="{BB962C8B-B14F-4D97-AF65-F5344CB8AC3E}">
        <p14:creationId xmlns:p14="http://schemas.microsoft.com/office/powerpoint/2010/main" val="2009311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Title 3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/>
              <a:t>Next generation vessels will be Electric. Digital. Connected. 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5422D65A-8D52-A14A-AE76-8F86115C0E38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2034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7" y="2034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gray">
          <a:xfrm>
            <a:off x="0" y="447"/>
            <a:ext cx="158729" cy="15872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srgbClr val="FFFFFF"/>
              </a:solidFill>
              <a:latin typeface="ABBvoice" panose="020D0603020503020204" pitchFamily="34" charset="0"/>
              <a:ea typeface="ABBvoice" panose="020D0603020503020204" pitchFamily="34" charset="0"/>
              <a:cs typeface="ABBvoice" panose="020D0603020503020204" pitchFamily="34" charset="0"/>
              <a:sym typeface="ABBvoice" panose="020D0603020503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D57EA700-11D5-45C2-92B4-616284A70DB0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-1" y="12637"/>
            <a:ext cx="12190413" cy="6857107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F7030ADA-A3AA-4702-B7FE-B18826FDBCE1}"/>
              </a:ext>
            </a:extLst>
          </p:cNvPr>
          <p:cNvSpPr/>
          <p:nvPr/>
        </p:nvSpPr>
        <p:spPr bwMode="gray">
          <a:xfrm>
            <a:off x="274418" y="4827708"/>
            <a:ext cx="3599531" cy="1799766"/>
          </a:xfrm>
          <a:prstGeom prst="rect">
            <a:avLst/>
          </a:prstGeom>
          <a:solidFill>
            <a:srgbClr val="FEFFFE">
              <a:alpha val="60000"/>
            </a:srgbClr>
          </a:solidFill>
          <a:ln w="9525">
            <a:solidFill>
              <a:schemeClr val="accent2"/>
            </a:solidFill>
          </a:ln>
          <a:effectLst>
            <a:glow rad="127000">
              <a:schemeClr val="bg1">
                <a:lumMod val="50000"/>
                <a:alpha val="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tabLst>
                <a:tab pos="614302" algn="l"/>
              </a:tabLst>
            </a:pPr>
            <a:r>
              <a:rPr lang="en-US" sz="2000" b="1">
                <a:solidFill>
                  <a:schemeClr val="tx2"/>
                </a:solidFill>
              </a:rPr>
              <a:t>SAFE</a:t>
            </a:r>
            <a:endParaRPr lang="en-US" sz="1400" b="1">
              <a:solidFill>
                <a:schemeClr val="tx2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E1F1518-8856-4C20-9ED7-6C710F091629}"/>
              </a:ext>
            </a:extLst>
          </p:cNvPr>
          <p:cNvSpPr txBox="1"/>
          <p:nvPr/>
        </p:nvSpPr>
        <p:spPr bwMode="gray">
          <a:xfrm>
            <a:off x="987109" y="5211784"/>
            <a:ext cx="2879625" cy="1415687"/>
          </a:xfrm>
          <a:prstGeom prst="rect">
            <a:avLst/>
          </a:prstGeom>
          <a:noFill/>
        </p:spPr>
        <p:txBody>
          <a:bodyPr wrap="square" lIns="71991" tIns="71991" rIns="71991" bIns="71991" rtlCol="0">
            <a:noAutofit/>
          </a:bodyPr>
          <a:lstStyle/>
          <a:p>
            <a:r>
              <a:rPr lang="en-US" sz="1400">
                <a:cs typeface="Calibri"/>
              </a:rPr>
              <a:t>Proven power and propulsion solutions combined with the latest digital technology enable safer vessel operations,  protecting people and assets.  </a:t>
            </a:r>
            <a:endParaRPr lang="en-US" sz="140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576AC8D-86EA-4366-8F2A-F2CF064189BD}"/>
              </a:ext>
            </a:extLst>
          </p:cNvPr>
          <p:cNvSpPr/>
          <p:nvPr/>
        </p:nvSpPr>
        <p:spPr bwMode="gray">
          <a:xfrm>
            <a:off x="4297410" y="4827708"/>
            <a:ext cx="3599531" cy="1799766"/>
          </a:xfrm>
          <a:prstGeom prst="rect">
            <a:avLst/>
          </a:prstGeom>
          <a:solidFill>
            <a:srgbClr val="FEFFFE">
              <a:alpha val="60000"/>
            </a:srgbClr>
          </a:solidFill>
          <a:ln w="9525">
            <a:solidFill>
              <a:schemeClr val="accent2"/>
            </a:solidFill>
          </a:ln>
          <a:effectLst>
            <a:glow rad="127000">
              <a:schemeClr val="bg1">
                <a:lumMod val="50000"/>
                <a:alpha val="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tabLst>
                <a:tab pos="707954" algn="l"/>
              </a:tabLst>
            </a:pPr>
            <a:r>
              <a:rPr lang="en-US" sz="2000" b="1">
                <a:solidFill>
                  <a:schemeClr val="tx2"/>
                </a:solidFill>
              </a:rPr>
              <a:t>EFFICIEN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9C026B2-6C57-47AB-9CBA-8ECFC0272BF3}"/>
              </a:ext>
            </a:extLst>
          </p:cNvPr>
          <p:cNvSpPr/>
          <p:nvPr/>
        </p:nvSpPr>
        <p:spPr bwMode="gray">
          <a:xfrm>
            <a:off x="8320403" y="4827706"/>
            <a:ext cx="3599531" cy="1799766"/>
          </a:xfrm>
          <a:prstGeom prst="rect">
            <a:avLst/>
          </a:prstGeom>
          <a:solidFill>
            <a:srgbClr val="FEFFFE">
              <a:alpha val="60000"/>
            </a:srgbClr>
          </a:solidFill>
          <a:ln w="9525">
            <a:solidFill>
              <a:schemeClr val="accent2"/>
            </a:solidFill>
          </a:ln>
          <a:effectLst>
            <a:glow rad="127000">
              <a:schemeClr val="bg1">
                <a:lumMod val="50000"/>
                <a:alpha val="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tabLst>
                <a:tab pos="747638" algn="l"/>
              </a:tabLst>
            </a:pPr>
            <a:r>
              <a:rPr lang="en-US" sz="2000" b="1">
                <a:solidFill>
                  <a:schemeClr val="tx2"/>
                </a:solidFill>
              </a:rPr>
              <a:t>SUSTAINABL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9672452-A628-4D33-AB79-AB80A55C3757}"/>
              </a:ext>
            </a:extLst>
          </p:cNvPr>
          <p:cNvSpPr txBox="1"/>
          <p:nvPr/>
        </p:nvSpPr>
        <p:spPr bwMode="gray">
          <a:xfrm>
            <a:off x="9040309" y="5241823"/>
            <a:ext cx="2879625" cy="1385647"/>
          </a:xfrm>
          <a:prstGeom prst="rect">
            <a:avLst/>
          </a:prstGeom>
          <a:noFill/>
        </p:spPr>
        <p:txBody>
          <a:bodyPr wrap="square" lIns="71991" tIns="71991" rIns="71991" bIns="71991" rtlCol="0">
            <a:noAutofit/>
          </a:bodyPr>
          <a:lstStyle>
            <a:defPPr>
              <a:defRPr lang="en-US"/>
            </a:defPPr>
            <a:lvl1pPr>
              <a:defRPr sz="1300">
                <a:cs typeface="Calibri"/>
              </a:defRPr>
            </a:lvl1pPr>
          </a:lstStyle>
          <a:p>
            <a:r>
              <a:rPr lang="en-US" sz="1400"/>
              <a:t>We are committed to supporting the shipping industry’s low carbon future through technologies that power the world without consuming the earth.</a:t>
            </a:r>
          </a:p>
          <a:p>
            <a:endParaRPr lang="en-US" sz="1400"/>
          </a:p>
          <a:p>
            <a:endParaRPr lang="en-US" sz="140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A18B969-F95A-4170-8981-E1203CADE66E}"/>
              </a:ext>
            </a:extLst>
          </p:cNvPr>
          <p:cNvSpPr txBox="1"/>
          <p:nvPr/>
        </p:nvSpPr>
        <p:spPr bwMode="gray">
          <a:xfrm>
            <a:off x="5010653" y="5227431"/>
            <a:ext cx="2879625" cy="1400040"/>
          </a:xfrm>
          <a:prstGeom prst="rect">
            <a:avLst/>
          </a:prstGeom>
          <a:noFill/>
        </p:spPr>
        <p:txBody>
          <a:bodyPr wrap="square" lIns="71991" tIns="71991" rIns="71991" bIns="71991" rtlCol="0">
            <a:noAutofit/>
          </a:bodyPr>
          <a:lstStyle/>
          <a:p>
            <a:r>
              <a:rPr lang="en-US" sz="1400">
                <a:cs typeface="Calibri"/>
              </a:rPr>
              <a:t>Pioneering solutions that optimize operational efficiency by enhancing productivity and reducing cost throughout the lifetime of the vessel.</a:t>
            </a:r>
          </a:p>
          <a:p>
            <a:endParaRPr lang="en-US" sz="1400">
              <a:cs typeface="Calibri"/>
            </a:endParaRPr>
          </a:p>
          <a:p>
            <a:endParaRPr lang="en-US" sz="140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294FDE4-BAE8-4E97-B48E-47F266BF7DC1}"/>
              </a:ext>
            </a:extLst>
          </p:cNvPr>
          <p:cNvSpPr/>
          <p:nvPr/>
        </p:nvSpPr>
        <p:spPr bwMode="gray">
          <a:xfrm>
            <a:off x="242183" y="426743"/>
            <a:ext cx="550899" cy="1583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>
                <a:solidFill>
                  <a:srgbClr val="FF000F"/>
                </a:solidFill>
              </a:rPr>
              <a:t>—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7F7DA761-F70E-EC41-B60B-2205B3A07AE3}"/>
              </a:ext>
            </a:extLst>
          </p:cNvPr>
          <p:cNvSpPr txBox="1">
            <a:spLocks/>
          </p:cNvSpPr>
          <p:nvPr/>
        </p:nvSpPr>
        <p:spPr bwMode="gray">
          <a:xfrm>
            <a:off x="338692" y="627814"/>
            <a:ext cx="11518500" cy="395948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vert="horz" lIns="0" tIns="0" rIns="0" bIns="0" rtlCol="0" anchor="t">
            <a:noAutofit/>
          </a:bodyPr>
          <a:lstStyle>
            <a:lvl1pPr algn="l" defTabSz="914491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Future vessels are - Electric. Digital. Connected. 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3DFB4702-B90C-6A4C-B3ED-8F7C5A6AF48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59253" y="5457039"/>
            <a:ext cx="623552" cy="623552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5631746D-1AC7-B14F-9DEA-641F16B7E2B8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15233" b="71715" l="21064" r="78113">
                        <a14:backgroundMark x1="21778" y1="14222" x2="22444" y2="13778"/>
                      </a14:backgroundRemoval>
                    </a14:imgEffect>
                  </a14:imgLayer>
                </a14:imgProps>
              </a:ext>
            </a:extLst>
          </a:blip>
          <a:srcRect l="26173" t="22648" r="28978" b="34177"/>
          <a:stretch/>
        </p:blipFill>
        <p:spPr>
          <a:xfrm>
            <a:off x="4355395" y="5464752"/>
            <a:ext cx="631712" cy="608125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93E233AD-9576-DC40-9C39-D79F6471809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492245" y="5540244"/>
            <a:ext cx="457140" cy="457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4712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DD5DFA9-238B-478D-A4BF-8F02D4F7271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0F7C878-2F48-47C1-A60E-F6C764D931DE}" type="datetime4">
              <a:rPr lang="en-US" smtClean="0"/>
              <a:t>November 6, 2020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56F50F-B2F4-41C5-8948-31836FCC16D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89C053-2114-4BAD-9BBF-15CC0CEFEC4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8" name="Online Media 7" title="Grid to propeller: ABB's solution for plug-in sustainability">
            <a:hlinkClick r:id="" action="ppaction://media"/>
            <a:extLst>
              <a:ext uri="{FF2B5EF4-FFF2-40B4-BE49-F238E27FC236}">
                <a16:creationId xmlns:a16="http://schemas.microsoft.com/office/drawing/2014/main" id="{6AE6EA01-C472-4B4A-9AB2-509BAF1F55C5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1267967" y="783692"/>
            <a:ext cx="9142810" cy="5142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60713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 19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e-DE" dirty="0"/>
              <a:t> </a:t>
            </a:r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de-DE" sz="2600" b="1" dirty="0">
                <a:solidFill>
                  <a:schemeClr val="tx1"/>
                </a:solidFill>
                <a:latin typeface="+mj-lt"/>
                <a:cs typeface="+mj-cs"/>
              </a:rPr>
              <a:t>Typical solution for electrical plug-in ferry- utility to propeller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86614" y="1173058"/>
            <a:ext cx="8128514" cy="4910501"/>
          </a:xfrm>
          <a:prstGeom prst="rect">
            <a:avLst/>
          </a:prstGeom>
        </p:spPr>
      </p:pic>
      <p:sp>
        <p:nvSpPr>
          <p:cNvPr id="17" name="Rounded Rectangle 16"/>
          <p:cNvSpPr/>
          <p:nvPr/>
        </p:nvSpPr>
        <p:spPr>
          <a:xfrm>
            <a:off x="1846734" y="1173058"/>
            <a:ext cx="1440160" cy="3624094"/>
          </a:xfrm>
          <a:prstGeom prst="roundRect">
            <a:avLst/>
          </a:prstGeom>
          <a:solidFill>
            <a:srgbClr val="92D050">
              <a:alpha val="4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accent1"/>
              </a:buClr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9192826" y="1173057"/>
            <a:ext cx="1440160" cy="3624094"/>
          </a:xfrm>
          <a:prstGeom prst="roundRect">
            <a:avLst/>
          </a:prstGeom>
          <a:solidFill>
            <a:srgbClr val="92D050">
              <a:alpha val="4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accent1"/>
              </a:buClr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3538922" y="1173059"/>
            <a:ext cx="5112568" cy="3386221"/>
          </a:xfrm>
          <a:prstGeom prst="roundRect">
            <a:avLst/>
          </a:prstGeom>
          <a:solidFill>
            <a:schemeClr val="accent5">
              <a:lumMod val="90000"/>
              <a:alpha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Clr>
                <a:schemeClr val="accent1"/>
              </a:buClr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Oval 1"/>
          <p:cNvSpPr/>
          <p:nvPr/>
        </p:nvSpPr>
        <p:spPr bwMode="gray">
          <a:xfrm>
            <a:off x="2408469" y="4393648"/>
            <a:ext cx="1488820" cy="1008572"/>
          </a:xfrm>
          <a:prstGeom prst="ellipse">
            <a:avLst/>
          </a:prstGeom>
          <a:solidFill>
            <a:schemeClr val="tx2">
              <a:alpha val="3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nb-NO" sz="1600" b="1" dirty="0" err="1">
                <a:solidFill>
                  <a:schemeClr val="tx1"/>
                </a:solidFill>
              </a:rPr>
              <a:t>Charging</a:t>
            </a:r>
            <a:r>
              <a:rPr lang="nb-NO" sz="1600" b="1" dirty="0">
                <a:solidFill>
                  <a:schemeClr val="tx1"/>
                </a:solidFill>
              </a:rPr>
              <a:t> </a:t>
            </a:r>
            <a:r>
              <a:rPr lang="nb-NO" sz="1600" b="1" dirty="0" err="1">
                <a:solidFill>
                  <a:schemeClr val="tx1"/>
                </a:solidFill>
              </a:rPr>
              <a:t>plug</a:t>
            </a:r>
            <a:endParaRPr lang="nb-NO" sz="1600" b="1" dirty="0">
              <a:solidFill>
                <a:schemeClr val="tx1"/>
              </a:solidFill>
            </a:endParaRPr>
          </a:p>
        </p:txBody>
      </p:sp>
      <p:sp>
        <p:nvSpPr>
          <p:cNvPr id="11" name="Oval 10"/>
          <p:cNvSpPr/>
          <p:nvPr/>
        </p:nvSpPr>
        <p:spPr bwMode="gray">
          <a:xfrm>
            <a:off x="8617922" y="4338459"/>
            <a:ext cx="1488820" cy="1008572"/>
          </a:xfrm>
          <a:prstGeom prst="ellipse">
            <a:avLst/>
          </a:prstGeom>
          <a:solidFill>
            <a:schemeClr val="tx2">
              <a:alpha val="3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nb-NO" sz="1600" b="1" dirty="0" err="1">
                <a:solidFill>
                  <a:schemeClr val="tx1"/>
                </a:solidFill>
              </a:rPr>
              <a:t>Charging</a:t>
            </a:r>
            <a:r>
              <a:rPr lang="nb-NO" sz="1600" b="1" dirty="0">
                <a:solidFill>
                  <a:schemeClr val="tx1"/>
                </a:solidFill>
              </a:rPr>
              <a:t> </a:t>
            </a:r>
            <a:r>
              <a:rPr lang="nb-NO" sz="1600" b="1" dirty="0" err="1">
                <a:solidFill>
                  <a:schemeClr val="tx1"/>
                </a:solidFill>
              </a:rPr>
              <a:t>plug</a:t>
            </a:r>
            <a:endParaRPr lang="nb-NO" sz="1600" b="1" dirty="0">
              <a:solidFill>
                <a:schemeClr val="tx1"/>
              </a:solidFill>
            </a:endParaRPr>
          </a:p>
        </p:txBody>
      </p:sp>
      <p:sp>
        <p:nvSpPr>
          <p:cNvPr id="12" name="Oval 11"/>
          <p:cNvSpPr/>
          <p:nvPr/>
        </p:nvSpPr>
        <p:spPr bwMode="gray">
          <a:xfrm>
            <a:off x="3658845" y="5060786"/>
            <a:ext cx="1488820" cy="1008572"/>
          </a:xfrm>
          <a:prstGeom prst="ellipse">
            <a:avLst/>
          </a:prstGeom>
          <a:solidFill>
            <a:schemeClr val="tx2">
              <a:alpha val="3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nb-NO" sz="1600" b="1" dirty="0">
                <a:solidFill>
                  <a:schemeClr val="tx1"/>
                </a:solidFill>
              </a:rPr>
              <a:t>Battery </a:t>
            </a:r>
          </a:p>
          <a:p>
            <a:pPr algn="ctr"/>
            <a:r>
              <a:rPr lang="nb-NO" sz="1600" b="1" dirty="0">
                <a:solidFill>
                  <a:schemeClr val="tx1"/>
                </a:solidFill>
              </a:rPr>
              <a:t>700kWh</a:t>
            </a:r>
          </a:p>
        </p:txBody>
      </p:sp>
      <p:sp>
        <p:nvSpPr>
          <p:cNvPr id="13" name="Oval 12"/>
          <p:cNvSpPr/>
          <p:nvPr/>
        </p:nvSpPr>
        <p:spPr bwMode="gray">
          <a:xfrm>
            <a:off x="9836612" y="3670894"/>
            <a:ext cx="1620930" cy="1008572"/>
          </a:xfrm>
          <a:prstGeom prst="ellipse">
            <a:avLst/>
          </a:prstGeom>
          <a:solidFill>
            <a:schemeClr val="tx2">
              <a:alpha val="3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nb-NO" sz="1600" b="1" dirty="0">
                <a:solidFill>
                  <a:schemeClr val="tx1"/>
                </a:solidFill>
              </a:rPr>
              <a:t>Alt. Battery </a:t>
            </a:r>
          </a:p>
          <a:p>
            <a:pPr algn="ctr"/>
            <a:r>
              <a:rPr lang="nb-NO" sz="1600" b="1" dirty="0">
                <a:solidFill>
                  <a:schemeClr val="tx1"/>
                </a:solidFill>
              </a:rPr>
              <a:t>1000kWh</a:t>
            </a:r>
          </a:p>
        </p:txBody>
      </p:sp>
      <p:sp>
        <p:nvSpPr>
          <p:cNvPr id="16" name="Oval 15"/>
          <p:cNvSpPr/>
          <p:nvPr/>
        </p:nvSpPr>
        <p:spPr bwMode="gray">
          <a:xfrm>
            <a:off x="112542" y="1127462"/>
            <a:ext cx="1848058" cy="1008572"/>
          </a:xfrm>
          <a:prstGeom prst="ellipse">
            <a:avLst/>
          </a:prstGeom>
          <a:solidFill>
            <a:schemeClr val="tx2">
              <a:alpha val="3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nb-NO" sz="1600" b="1" dirty="0">
                <a:solidFill>
                  <a:schemeClr val="tx1"/>
                </a:solidFill>
              </a:rPr>
              <a:t>22kV </a:t>
            </a:r>
            <a:r>
              <a:rPr lang="nb-NO" sz="1600" b="1" dirty="0" err="1">
                <a:solidFill>
                  <a:schemeClr val="tx1"/>
                </a:solidFill>
              </a:rPr>
              <a:t>power</a:t>
            </a:r>
            <a:r>
              <a:rPr lang="nb-NO" sz="1600" b="1" dirty="0">
                <a:solidFill>
                  <a:schemeClr val="tx1"/>
                </a:solidFill>
              </a:rPr>
              <a:t> grid</a:t>
            </a:r>
          </a:p>
        </p:txBody>
      </p:sp>
      <p:sp>
        <p:nvSpPr>
          <p:cNvPr id="24" name="Oval 23"/>
          <p:cNvSpPr/>
          <p:nvPr/>
        </p:nvSpPr>
        <p:spPr bwMode="gray">
          <a:xfrm>
            <a:off x="112542" y="2623642"/>
            <a:ext cx="1848058" cy="1008572"/>
          </a:xfrm>
          <a:prstGeom prst="ellipse">
            <a:avLst/>
          </a:prstGeom>
          <a:solidFill>
            <a:schemeClr val="tx2">
              <a:alpha val="3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nb-NO" sz="1400" b="1" dirty="0">
                <a:solidFill>
                  <a:schemeClr val="tx1"/>
                </a:solidFill>
              </a:rPr>
              <a:t>690V AC or 1000V DC </a:t>
            </a:r>
            <a:r>
              <a:rPr lang="nb-NO" sz="1400" b="1" dirty="0" err="1">
                <a:solidFill>
                  <a:schemeClr val="tx1"/>
                </a:solidFill>
              </a:rPr>
              <a:t>charging</a:t>
            </a:r>
            <a:r>
              <a:rPr lang="nb-NO" sz="1400" b="1" dirty="0">
                <a:solidFill>
                  <a:schemeClr val="tx1"/>
                </a:solidFill>
              </a:rPr>
              <a:t> </a:t>
            </a:r>
            <a:r>
              <a:rPr lang="nb-NO" sz="1400" b="1" dirty="0" err="1">
                <a:solidFill>
                  <a:schemeClr val="tx1"/>
                </a:solidFill>
              </a:rPr>
              <a:t>station</a:t>
            </a:r>
            <a:endParaRPr lang="nb-NO" sz="1400" b="1" dirty="0">
              <a:solidFill>
                <a:schemeClr val="tx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49317" y="4105411"/>
            <a:ext cx="507875" cy="307313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5907" y="3502263"/>
            <a:ext cx="389347" cy="235592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35065" y="4086335"/>
            <a:ext cx="507875" cy="307313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79292" y="3552988"/>
            <a:ext cx="389347" cy="235592"/>
          </a:xfrm>
          <a:prstGeom prst="rect">
            <a:avLst/>
          </a:prstGeom>
        </p:spPr>
      </p:pic>
      <p:sp>
        <p:nvSpPr>
          <p:cNvPr id="29" name="Oval 28"/>
          <p:cNvSpPr/>
          <p:nvPr/>
        </p:nvSpPr>
        <p:spPr bwMode="gray">
          <a:xfrm>
            <a:off x="7545506" y="5039121"/>
            <a:ext cx="1488820" cy="1008572"/>
          </a:xfrm>
          <a:prstGeom prst="ellipse">
            <a:avLst/>
          </a:prstGeom>
          <a:solidFill>
            <a:schemeClr val="tx2">
              <a:alpha val="3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nb-NO" sz="1600" b="1" dirty="0">
                <a:solidFill>
                  <a:schemeClr val="tx1"/>
                </a:solidFill>
              </a:rPr>
              <a:t>Battery </a:t>
            </a:r>
          </a:p>
          <a:p>
            <a:pPr algn="ctr"/>
            <a:r>
              <a:rPr lang="nb-NO" sz="1600" b="1" dirty="0">
                <a:solidFill>
                  <a:schemeClr val="tx1"/>
                </a:solidFill>
              </a:rPr>
              <a:t>700kWh</a:t>
            </a:r>
          </a:p>
        </p:txBody>
      </p:sp>
      <p:sp>
        <p:nvSpPr>
          <p:cNvPr id="30" name="Oval 29"/>
          <p:cNvSpPr/>
          <p:nvPr/>
        </p:nvSpPr>
        <p:spPr bwMode="gray">
          <a:xfrm>
            <a:off x="976309" y="3788579"/>
            <a:ext cx="1524519" cy="1008572"/>
          </a:xfrm>
          <a:prstGeom prst="ellipse">
            <a:avLst/>
          </a:prstGeom>
          <a:solidFill>
            <a:schemeClr val="tx2">
              <a:alpha val="3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nb-NO" sz="1600" b="1" dirty="0">
                <a:solidFill>
                  <a:schemeClr val="tx1"/>
                </a:solidFill>
              </a:rPr>
              <a:t>Alt. Battery </a:t>
            </a:r>
          </a:p>
          <a:p>
            <a:pPr algn="ctr"/>
            <a:r>
              <a:rPr lang="nb-NO" sz="1600" b="1" dirty="0">
                <a:solidFill>
                  <a:schemeClr val="tx1"/>
                </a:solidFill>
              </a:rPr>
              <a:t>1000kWh</a:t>
            </a:r>
          </a:p>
        </p:txBody>
      </p:sp>
    </p:spTree>
    <p:extLst>
      <p:ext uri="{BB962C8B-B14F-4D97-AF65-F5344CB8AC3E}">
        <p14:creationId xmlns:p14="http://schemas.microsoft.com/office/powerpoint/2010/main" val="38612515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Thousands of hours of automation engineering go into new vessel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Next generation electric power and propulsion relies on automati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F9C19AF-AEEF-4951-9229-7E9EBFDC8F25}" type="datetime4">
              <a:rPr lang="en-US" smtClean="0">
                <a:solidFill>
                  <a:srgbClr val="A0A0A0"/>
                </a:solidFill>
              </a:rPr>
              <a:pPr/>
              <a:t>November 6, 2020</a:t>
            </a:fld>
            <a:endParaRPr lang="en-US" dirty="0">
              <a:solidFill>
                <a:srgbClr val="A0A0A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>
                <a:solidFill>
                  <a:srgbClr val="A0A0A0"/>
                </a:solidFill>
              </a:rPr>
              <a:t>Slide </a:t>
            </a:r>
            <a:fld id="{619F89D8-7AE3-494A-97F3-03D680869632}" type="slidenum">
              <a:rPr lang="en-US" smtClean="0">
                <a:solidFill>
                  <a:srgbClr val="A0A0A0"/>
                </a:solidFill>
              </a:rPr>
              <a:pPr/>
              <a:t>8</a:t>
            </a:fld>
            <a:endParaRPr lang="en-US" dirty="0">
              <a:solidFill>
                <a:srgbClr val="A0A0A0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930" b="24558"/>
          <a:stretch/>
        </p:blipFill>
        <p:spPr>
          <a:xfrm>
            <a:off x="337995" y="1814052"/>
            <a:ext cx="11569843" cy="4100052"/>
          </a:xfrm>
          <a:prstGeom prst="rect">
            <a:avLst/>
          </a:prstGeom>
        </p:spPr>
      </p:pic>
      <p:sp>
        <p:nvSpPr>
          <p:cNvPr id="10" name="Oval 9"/>
          <p:cNvSpPr/>
          <p:nvPr/>
        </p:nvSpPr>
        <p:spPr>
          <a:xfrm>
            <a:off x="818629" y="4376010"/>
            <a:ext cx="1315013" cy="1287938"/>
          </a:xfrm>
          <a:prstGeom prst="ellipse">
            <a:avLst/>
          </a:prstGeom>
          <a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1" name="Rectangle 10"/>
          <p:cNvSpPr/>
          <p:nvPr/>
        </p:nvSpPr>
        <p:spPr>
          <a:xfrm>
            <a:off x="818629" y="4887852"/>
            <a:ext cx="1315012" cy="261610"/>
          </a:xfrm>
          <a:prstGeom prst="rect">
            <a:avLst/>
          </a:prstGeom>
          <a:solidFill>
            <a:schemeClr val="accent1">
              <a:alpha val="39000"/>
            </a:schemeClr>
          </a:solidFill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100" dirty="0">
                <a:solidFill>
                  <a:schemeClr val="bg1"/>
                </a:solidFill>
              </a:rPr>
              <a:t>Onboard DC grid</a:t>
            </a:r>
          </a:p>
        </p:txBody>
      </p:sp>
      <p:sp>
        <p:nvSpPr>
          <p:cNvPr id="12" name="Oval 11"/>
          <p:cNvSpPr/>
          <p:nvPr/>
        </p:nvSpPr>
        <p:spPr>
          <a:xfrm>
            <a:off x="7443133" y="4376010"/>
            <a:ext cx="1315013" cy="1287938"/>
          </a:xfrm>
          <a:prstGeom prst="ellipse">
            <a:avLst/>
          </a:prstGeom>
          <a:blipFill rotWithShape="1">
            <a:blip r:embed="rId4"/>
            <a:stretch>
              <a:fillRect/>
            </a:stretch>
          </a:blip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3" name="Rectangle 12"/>
          <p:cNvSpPr/>
          <p:nvPr/>
        </p:nvSpPr>
        <p:spPr>
          <a:xfrm>
            <a:off x="7663235" y="4932971"/>
            <a:ext cx="863589" cy="261610"/>
          </a:xfrm>
          <a:prstGeom prst="rect">
            <a:avLst/>
          </a:prstGeom>
          <a:solidFill>
            <a:schemeClr val="accent1">
              <a:alpha val="39000"/>
            </a:schemeClr>
          </a:solidFill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Charging</a:t>
            </a:r>
          </a:p>
        </p:txBody>
      </p:sp>
      <p:sp>
        <p:nvSpPr>
          <p:cNvPr id="14" name="Oval 13"/>
          <p:cNvSpPr/>
          <p:nvPr/>
        </p:nvSpPr>
        <p:spPr>
          <a:xfrm>
            <a:off x="10042170" y="4376010"/>
            <a:ext cx="1315013" cy="1287938"/>
          </a:xfrm>
          <a:prstGeom prst="ellipse">
            <a:avLst/>
          </a:prstGeom>
          <a:blipFill rotWithShape="1">
            <a:blip r:embed="rId5">
              <a:duotone>
                <a:schemeClr val="accent4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a:blipFill>
          <a:ln>
            <a:solidFill>
              <a:schemeClr val="tx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5" name="Rectangle 14"/>
          <p:cNvSpPr/>
          <p:nvPr/>
        </p:nvSpPr>
        <p:spPr>
          <a:xfrm>
            <a:off x="10141872" y="4924325"/>
            <a:ext cx="1215311" cy="261610"/>
          </a:xfrm>
          <a:prstGeom prst="rect">
            <a:avLst/>
          </a:prstGeom>
          <a:solidFill>
            <a:schemeClr val="accent1">
              <a:alpha val="39000"/>
            </a:schemeClr>
          </a:solidFill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Energy Storage</a:t>
            </a:r>
          </a:p>
        </p:txBody>
      </p:sp>
      <p:sp>
        <p:nvSpPr>
          <p:cNvPr id="16" name="Oval 15"/>
          <p:cNvSpPr/>
          <p:nvPr/>
        </p:nvSpPr>
        <p:spPr>
          <a:xfrm>
            <a:off x="2985819" y="4377332"/>
            <a:ext cx="1201712" cy="1240335"/>
          </a:xfrm>
          <a:prstGeom prst="ellipse">
            <a:avLst/>
          </a:prstGeom>
          <a:blipFill rotWithShape="1">
            <a:blip r:embed="rId6" cstate="email">
              <a:duotone>
                <a:srgbClr val="666666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28575" cap="flat" cmpd="sng" algn="ctr">
            <a:solidFill>
              <a:srgbClr val="FFFFFF">
                <a:lumMod val="95000"/>
              </a:srgbClr>
            </a:solidFill>
            <a:prstDash val="solid"/>
          </a:ln>
          <a:effectLst/>
        </p:spPr>
      </p:sp>
      <p:sp>
        <p:nvSpPr>
          <p:cNvPr id="17" name="Rectangle 16"/>
          <p:cNvSpPr/>
          <p:nvPr/>
        </p:nvSpPr>
        <p:spPr>
          <a:xfrm>
            <a:off x="3054546" y="4838148"/>
            <a:ext cx="1090310" cy="261610"/>
          </a:xfrm>
          <a:prstGeom prst="rect">
            <a:avLst/>
          </a:prstGeom>
          <a:solidFill>
            <a:schemeClr val="accent1">
              <a:alpha val="39000"/>
            </a:schemeClr>
          </a:solidFill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Dynamic AC</a:t>
            </a:r>
          </a:p>
        </p:txBody>
      </p:sp>
    </p:spTree>
    <p:extLst>
      <p:ext uri="{BB962C8B-B14F-4D97-AF65-F5344CB8AC3E}">
        <p14:creationId xmlns:p14="http://schemas.microsoft.com/office/powerpoint/2010/main" val="1008969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ergy Storage – at the Leading (not Bleeding) Edg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04723B6-2C37-4C03-92C2-AA6C4A469955}" type="datetime4">
              <a:rPr lang="en-US" smtClean="0"/>
              <a:t>November 6, 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en-US"/>
              <a:t>Slide </a:t>
            </a:r>
            <a:fld id="{619F89D8-7AE3-494A-97F3-03D680869632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2" name="Subtitle 1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/>
              <a:t>Total number of ships with batteries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201716" y="5843570"/>
            <a:ext cx="3285808" cy="224229"/>
          </a:xfrm>
          <a:prstGeom prst="rect">
            <a:avLst/>
          </a:prstGeom>
          <a:noFill/>
        </p:spPr>
        <p:txBody>
          <a:bodyPr wrap="square" lIns="71982" tIns="71982" rIns="71982" bIns="71982" rtlCol="0">
            <a:noAutofit/>
          </a:bodyPr>
          <a:lstStyle/>
          <a:p>
            <a:r>
              <a:rPr lang="en-US" sz="1100"/>
              <a:t>* Source Maritime Battery Forum</a:t>
            </a:r>
          </a:p>
        </p:txBody>
      </p:sp>
      <p:pic>
        <p:nvPicPr>
          <p:cNvPr id="14" name="Content Placeholder 13">
            <a:extLst>
              <a:ext uri="{FF2B5EF4-FFF2-40B4-BE49-F238E27FC236}">
                <a16:creationId xmlns:a16="http://schemas.microsoft.com/office/drawing/2014/main" id="{609ACFB9-9C4E-4508-A6AF-688EF17794E0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5603" y="1702024"/>
            <a:ext cx="9743774" cy="4203320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6721FB53-545B-4FAD-A24B-28C69694B528}"/>
              </a:ext>
            </a:extLst>
          </p:cNvPr>
          <p:cNvCxnSpPr>
            <a:cxnSpLocks/>
          </p:cNvCxnSpPr>
          <p:nvPr/>
        </p:nvCxnSpPr>
        <p:spPr bwMode="gray">
          <a:xfrm>
            <a:off x="9203798" y="900053"/>
            <a:ext cx="0" cy="1186044"/>
          </a:xfrm>
          <a:prstGeom prst="straightConnector1">
            <a:avLst/>
          </a:prstGeom>
          <a:ln>
            <a:solidFill>
              <a:schemeClr val="bg2"/>
            </a:solidFill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3502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pm7VdUTXGFYfxBEx8ZJw"/>
</p:tagLst>
</file>

<file path=ppt/theme/theme1.xml><?xml version="1.0" encoding="utf-8"?>
<a:theme xmlns:a="http://schemas.openxmlformats.org/drawingml/2006/main" name="ABB Master">
  <a:themeElements>
    <a:clrScheme name="ABB">
      <a:dk1>
        <a:srgbClr val="000000"/>
      </a:dk1>
      <a:lt1>
        <a:srgbClr val="FFFFFF"/>
      </a:lt1>
      <a:dk2>
        <a:srgbClr val="D90000"/>
      </a:dk2>
      <a:lt2>
        <a:srgbClr val="FF000F"/>
      </a:lt2>
      <a:accent1>
        <a:srgbClr val="3C3C3C"/>
      </a:accent1>
      <a:accent2>
        <a:srgbClr val="505050"/>
      </a:accent2>
      <a:accent3>
        <a:srgbClr val="6E6E6E"/>
      </a:accent3>
      <a:accent4>
        <a:srgbClr val="A0A0A0"/>
      </a:accent4>
      <a:accent5>
        <a:srgbClr val="D2D2D2"/>
      </a:accent5>
      <a:accent6>
        <a:srgbClr val="F0F0F0"/>
      </a:accent6>
      <a:hlink>
        <a:srgbClr val="D90000"/>
      </a:hlink>
      <a:folHlink>
        <a:srgbClr val="FF000F"/>
      </a:folHlink>
    </a:clrScheme>
    <a:fontScheme name="ABBvoiceOffice">
      <a:majorFont>
        <a:latin typeface="ABBvoiceOffice"/>
        <a:ea typeface="ABBvoiceOffice"/>
        <a:cs typeface="ABBvoiceOffice"/>
      </a:majorFont>
      <a:minorFont>
        <a:latin typeface="ABBvoiceOffice"/>
        <a:ea typeface="ABBvoiceOffice"/>
        <a:cs typeface="ABBvoiceOffic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2"/>
        </a:solidFill>
        <a:ln>
          <a:noFill/>
        </a:ln>
      </a:spPr>
      <a:bodyPr lIns="72000" tIns="72000" rIns="72000" bIns="72000"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72000" tIns="72000" rIns="72000" bIns="72000" rtlCol="0">
        <a:noAutofit/>
      </a:bodyPr>
      <a:lstStyle>
        <a:defPPr algn="l">
          <a:defRPr sz="1400" b="1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ABB">
      <a:dk1>
        <a:srgbClr val="000000"/>
      </a:dk1>
      <a:lt1>
        <a:srgbClr val="FFFFFF"/>
      </a:lt1>
      <a:dk2>
        <a:srgbClr val="D90000"/>
      </a:dk2>
      <a:lt2>
        <a:srgbClr val="FF000F"/>
      </a:lt2>
      <a:accent1>
        <a:srgbClr val="1E1E1E"/>
      </a:accent1>
      <a:accent2>
        <a:srgbClr val="3C3C3C"/>
      </a:accent2>
      <a:accent3>
        <a:srgbClr val="6E6E6E"/>
      </a:accent3>
      <a:accent4>
        <a:srgbClr val="A0A0A0"/>
      </a:accent4>
      <a:accent5>
        <a:srgbClr val="D2D2D2"/>
      </a:accent5>
      <a:accent6>
        <a:srgbClr val="F0F0F0"/>
      </a:accent6>
      <a:hlink>
        <a:srgbClr val="D90000"/>
      </a:hlink>
      <a:folHlink>
        <a:srgbClr val="FF000F"/>
      </a:folHlink>
    </a:clrScheme>
    <a:fontScheme name="ABBvoiceOffice">
      <a:majorFont>
        <a:latin typeface="ABBvoiceOffice"/>
        <a:ea typeface="ABBvoiceOffice"/>
        <a:cs typeface="ABBvoiceOffice"/>
      </a:majorFont>
      <a:minorFont>
        <a:latin typeface="ABBvoiceOffice"/>
        <a:ea typeface="ABBvoiceOffice"/>
        <a:cs typeface="ABBvoiceOffic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ABB">
      <a:dk1>
        <a:srgbClr val="000000"/>
      </a:dk1>
      <a:lt1>
        <a:srgbClr val="FFFFFF"/>
      </a:lt1>
      <a:dk2>
        <a:srgbClr val="D90000"/>
      </a:dk2>
      <a:lt2>
        <a:srgbClr val="FF000F"/>
      </a:lt2>
      <a:accent1>
        <a:srgbClr val="1E1E1E"/>
      </a:accent1>
      <a:accent2>
        <a:srgbClr val="3C3C3C"/>
      </a:accent2>
      <a:accent3>
        <a:srgbClr val="6E6E6E"/>
      </a:accent3>
      <a:accent4>
        <a:srgbClr val="A0A0A0"/>
      </a:accent4>
      <a:accent5>
        <a:srgbClr val="D2D2D2"/>
      </a:accent5>
      <a:accent6>
        <a:srgbClr val="F0F0F0"/>
      </a:accent6>
      <a:hlink>
        <a:srgbClr val="D90000"/>
      </a:hlink>
      <a:folHlink>
        <a:srgbClr val="FF000F"/>
      </a:folHlink>
    </a:clrScheme>
    <a:fontScheme name="ABBvoiceOffice">
      <a:majorFont>
        <a:latin typeface="ABBvoiceOffice"/>
        <a:ea typeface="ABBvoiceOffice"/>
        <a:cs typeface="ABBvoiceOffice"/>
      </a:majorFont>
      <a:minorFont>
        <a:latin typeface="ABBvoiceOffice"/>
        <a:ea typeface="ABBvoiceOffice"/>
        <a:cs typeface="ABBvoiceOffic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3583</TotalTime>
  <Words>755</Words>
  <Application>Microsoft Office PowerPoint</Application>
  <PresentationFormat>Custom</PresentationFormat>
  <Paragraphs>177</Paragraphs>
  <Slides>19</Slides>
  <Notes>9</Notes>
  <HiddenSlides>4</HiddenSlides>
  <MMClips>1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6" baseType="lpstr">
      <vt:lpstr>ABBvoice</vt:lpstr>
      <vt:lpstr>Symbol</vt:lpstr>
      <vt:lpstr>Wingdings</vt:lpstr>
      <vt:lpstr>ABBvoiceOffice</vt:lpstr>
      <vt:lpstr>Arial</vt:lpstr>
      <vt:lpstr>ABB Master</vt:lpstr>
      <vt:lpstr>think-cell Slide</vt:lpstr>
      <vt:lpstr>ABB Marine &amp; Ports</vt:lpstr>
      <vt:lpstr>Introduction</vt:lpstr>
      <vt:lpstr>Global megatrends transforming shipping</vt:lpstr>
      <vt:lpstr>PowerPoint Presentation</vt:lpstr>
      <vt:lpstr>Next generation vessels will be Electric. Digital. Connected. </vt:lpstr>
      <vt:lpstr>PowerPoint Presentation</vt:lpstr>
      <vt:lpstr> </vt:lpstr>
      <vt:lpstr>Next generation electric power and propulsion relies on automation</vt:lpstr>
      <vt:lpstr>Energy Storage – at the Leading (not Bleeding) Edge</vt:lpstr>
      <vt:lpstr>Energy Storage System </vt:lpstr>
      <vt:lpstr>Shore Charging Main Considerations</vt:lpstr>
      <vt:lpstr>Shore Charging Considerations</vt:lpstr>
      <vt:lpstr>Shore Connection / Charging Approach</vt:lpstr>
      <vt:lpstr>Shore power to drive new electrical vessels </vt:lpstr>
      <vt:lpstr>Maid of the Mist</vt:lpstr>
      <vt:lpstr>Marine &amp; Ports</vt:lpstr>
      <vt:lpstr>Complete provider</vt:lpstr>
      <vt:lpstr>ABB Marine Digital Portfolio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BB</dc:creator>
  <cp:lastModifiedBy>Edward Schwarz</cp:lastModifiedBy>
  <cp:revision>746</cp:revision>
  <cp:lastPrinted>2019-01-17T18:44:35Z</cp:lastPrinted>
  <dcterms:created xsi:type="dcterms:W3CDTF">2016-10-27T06:56:12Z</dcterms:created>
  <dcterms:modified xsi:type="dcterms:W3CDTF">2020-11-06T15:47:38Z</dcterms:modified>
</cp:coreProperties>
</file>